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Lst>
  <p:notesMasterIdLst>
    <p:notesMasterId r:id="rId62"/>
  </p:notesMasterIdLst>
  <p:sldIdLst>
    <p:sldId id="256" r:id="rId2"/>
    <p:sldId id="257" r:id="rId3"/>
    <p:sldId id="258" r:id="rId4"/>
    <p:sldId id="259" r:id="rId5"/>
    <p:sldId id="260" r:id="rId6"/>
    <p:sldId id="261" r:id="rId7"/>
    <p:sldId id="262" r:id="rId8"/>
    <p:sldId id="263" r:id="rId9"/>
    <p:sldId id="264" r:id="rId10"/>
    <p:sldId id="265" r:id="rId11"/>
    <p:sldId id="266" r:id="rId12"/>
    <p:sldId id="267" r:id="rId13"/>
    <p:sldId id="268" r:id="rId14"/>
    <p:sldId id="322" r:id="rId15"/>
    <p:sldId id="270" r:id="rId16"/>
    <p:sldId id="272" r:id="rId17"/>
    <p:sldId id="273" r:id="rId18"/>
    <p:sldId id="274" r:id="rId19"/>
    <p:sldId id="275" r:id="rId20"/>
    <p:sldId id="276" r:id="rId21"/>
    <p:sldId id="277" r:id="rId22"/>
    <p:sldId id="278" r:id="rId23"/>
    <p:sldId id="279" r:id="rId24"/>
    <p:sldId id="281" r:id="rId25"/>
    <p:sldId id="282" r:id="rId26"/>
    <p:sldId id="283" r:id="rId27"/>
    <p:sldId id="284" r:id="rId28"/>
    <p:sldId id="285" r:id="rId29"/>
    <p:sldId id="286" r:id="rId30"/>
    <p:sldId id="287" r:id="rId31"/>
    <p:sldId id="321" r:id="rId32"/>
    <p:sldId id="288" r:id="rId33"/>
    <p:sldId id="289" r:id="rId34"/>
    <p:sldId id="290" r:id="rId35"/>
    <p:sldId id="291" r:id="rId36"/>
    <p:sldId id="292" r:id="rId37"/>
    <p:sldId id="293" r:id="rId38"/>
    <p:sldId id="294" r:id="rId39"/>
    <p:sldId id="295" r:id="rId40"/>
    <p:sldId id="296" r:id="rId41"/>
    <p:sldId id="297" r:id="rId42"/>
    <p:sldId id="298" r:id="rId43"/>
    <p:sldId id="299" r:id="rId44"/>
    <p:sldId id="300" r:id="rId45"/>
    <p:sldId id="301" r:id="rId46"/>
    <p:sldId id="302" r:id="rId47"/>
    <p:sldId id="325" r:id="rId48"/>
    <p:sldId id="324" r:id="rId49"/>
    <p:sldId id="308" r:id="rId50"/>
    <p:sldId id="309" r:id="rId51"/>
    <p:sldId id="310" r:id="rId52"/>
    <p:sldId id="311" r:id="rId53"/>
    <p:sldId id="312" r:id="rId54"/>
    <p:sldId id="313" r:id="rId55"/>
    <p:sldId id="314" r:id="rId56"/>
    <p:sldId id="315" r:id="rId57"/>
    <p:sldId id="316" r:id="rId58"/>
    <p:sldId id="317" r:id="rId59"/>
    <p:sldId id="318" r:id="rId60"/>
    <p:sldId id="319" r:id="rId61"/>
  </p:sldIdLst>
  <p:sldSz cx="12192000" cy="6858000"/>
  <p:notesSz cx="6797675" cy="9926638"/>
  <p:embeddedFontLst>
    <p:embeddedFont>
      <p:font typeface="Playfair Display" charset="0"/>
      <p:regular r:id="rId63"/>
      <p:bold r:id="rId64"/>
      <p:italic r:id="rId65"/>
      <p:boldItalic r:id="rId66"/>
    </p:embeddedFont>
    <p:embeddedFont>
      <p:font typeface="Calibri" pitchFamily="34" charset="0"/>
      <p:regular r:id="rId67"/>
      <p:bold r:id="rId68"/>
      <p:italic r:id="rId69"/>
      <p:boldItalic r:id="rId70"/>
    </p:embeddedFont>
    <p:embeddedFont>
      <p:font typeface="Georgia" pitchFamily="18" charset="0"/>
      <p:regular r:id="rId71"/>
      <p:bold r:id="rId72"/>
      <p:italic r:id="rId73"/>
      <p:boldItalic r:id="rId74"/>
    </p:embeddedFont>
    <p:embeddedFont>
      <p:font typeface="Helvetica Neue" charset="0"/>
      <p:regular r:id="rId75"/>
      <p:bold r:id="rId76"/>
      <p:italic r:id="rId77"/>
      <p:boldItalic r:id="rId78"/>
    </p:embeddedFont>
    <p:embeddedFont>
      <p:font typeface="Calibri Light" pitchFamily="34" charset="0"/>
      <p:regular r:id="rId79"/>
      <p:italic r:id="rId80"/>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xmlns="">
        <p15:guide id="1" orient="horz" pos="3022">
          <p15:clr>
            <a:srgbClr val="A4A3A4"/>
          </p15:clr>
        </p15:guide>
        <p15:guide id="2" pos="3840">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go="http://customooxmlschemas.google.com/" r:id="rId81" roundtripDataSignature="AMtx7mjC2JCT4N/aV+cc+w9a+2/b2SU0fQ=="/>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A15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69ACAC3E-0D2C-4581-8A32-55E05A6F8F9E}">
  <a:tblStyle styleId="{69ACAC3E-0D2C-4581-8A32-55E05A6F8F9E}" styleName="Table_0">
    <a:wholeTbl>
      <a:tcTxStyle b="off" i="off">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b="off" i="off"/>
      <a:tcStyle>
        <a:tcBdr/>
      </a:tcStyle>
    </a:band1H>
    <a:band2H>
      <a:tcTxStyle b="off" i="off"/>
      <a:tcStyle>
        <a:tcBdr/>
      </a:tcStyle>
    </a:band2H>
    <a:band1V>
      <a:tcTxStyle b="off" i="off"/>
      <a:tcStyle>
        <a:tcBdr/>
      </a:tcStyle>
    </a:band1V>
    <a:band2V>
      <a:tcTxStyle b="off" i="off"/>
      <a:tcStyle>
        <a:tcBdr/>
      </a:tcStyle>
    </a:band2V>
    <a:lastCol>
      <a:tcTxStyle b="off" i="off"/>
      <a:tcStyle>
        <a:tcBdr/>
      </a:tcStyle>
    </a:lastCol>
    <a:firstCol>
      <a:tcTxStyle b="off" i="off"/>
      <a:tcStyle>
        <a:tcBdr/>
      </a:tcStyle>
    </a:firstCol>
    <a:lastRow>
      <a:tcTxStyle b="off" i="off"/>
      <a:tcStyle>
        <a:tcBdr/>
      </a:tcStyle>
    </a:lastRow>
    <a:seCell>
      <a:tcTxStyle b="off" i="off"/>
      <a:tcStyle>
        <a:tcBdr/>
      </a:tcStyle>
    </a:seCell>
    <a:swCell>
      <a:tcTxStyle b="off" i="off"/>
      <a:tcStyle>
        <a:tcBdr/>
      </a:tcStyle>
    </a:swCell>
    <a:firstRow>
      <a:tcTxStyle b="off" i="off"/>
      <a:tcStyle>
        <a:tcBdr/>
      </a:tcStyle>
    </a:firstRow>
    <a:neCell>
      <a:tcTxStyle b="off" i="off"/>
      <a:tcStyle>
        <a:tcBdr/>
      </a:tcStyle>
    </a:neCell>
    <a:nwCell>
      <a:tcTxStyle b="off" i="off"/>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5" d="100"/>
          <a:sy n="65" d="100"/>
        </p:scale>
        <p:origin x="-826" y="322"/>
      </p:cViewPr>
      <p:guideLst>
        <p:guide orient="horz" pos="3022"/>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font" Target="fonts/font1.fntdata"/><Relationship Id="rId68" Type="http://schemas.openxmlformats.org/officeDocument/2006/relationships/font" Target="fonts/font6.fntdata"/><Relationship Id="rId76" Type="http://schemas.openxmlformats.org/officeDocument/2006/relationships/font" Target="fonts/font14.fntdata"/><Relationship Id="rId84"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font" Target="fonts/font9.fntdata"/><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font" Target="fonts/font4.fntdata"/><Relationship Id="rId74" Type="http://schemas.openxmlformats.org/officeDocument/2006/relationships/font" Target="fonts/font12.fntdata"/><Relationship Id="rId79" Type="http://schemas.openxmlformats.org/officeDocument/2006/relationships/font" Target="fonts/font17.fntdata"/><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presProps" Target="presProps.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font" Target="fonts/font2.fntdata"/><Relationship Id="rId69" Type="http://schemas.openxmlformats.org/officeDocument/2006/relationships/font" Target="fonts/font7.fntdata"/><Relationship Id="rId77" Type="http://schemas.openxmlformats.org/officeDocument/2006/relationships/font" Target="fonts/font15.fntdata"/><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font" Target="fonts/font10.fntdata"/><Relationship Id="rId80" Type="http://schemas.openxmlformats.org/officeDocument/2006/relationships/font" Target="fonts/font18.fntdata"/><Relationship Id="rId85"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font" Target="fonts/font5.fntdata"/><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notesMaster" Target="notesMasters/notesMaster1.xml"/><Relationship Id="rId70" Type="http://schemas.openxmlformats.org/officeDocument/2006/relationships/font" Target="fonts/font8.fntdata"/><Relationship Id="rId75" Type="http://schemas.openxmlformats.org/officeDocument/2006/relationships/font" Target="fonts/font13.fntdata"/><Relationship Id="rId83"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font" Target="fonts/font3.fntdata"/><Relationship Id="rId73" Type="http://schemas.openxmlformats.org/officeDocument/2006/relationships/font" Target="fonts/font11.fntdata"/><Relationship Id="rId78" Type="http://schemas.openxmlformats.org/officeDocument/2006/relationships/font" Target="fonts/font16.fntdata"/><Relationship Id="rId81" Type="http://customschemas.google.com/relationships/presentationmetadata" Target="metadata"/></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DBAC7C-62B3-404C-8EB4-D8B3CF876E44}" type="doc">
      <dgm:prSet loTypeId="urn:microsoft.com/office/officeart/2005/8/layout/hierarchy4" loCatId="" qsTypeId="urn:microsoft.com/office/officeart/2005/8/quickstyle/simple3" qsCatId="simple" csTypeId="urn:microsoft.com/office/officeart/2005/8/colors/colorful3" csCatId="colorful" phldr="1"/>
      <dgm:spPr/>
      <dgm:t>
        <a:bodyPr/>
        <a:lstStyle/>
        <a:p>
          <a:endParaRPr lang="es-ES"/>
        </a:p>
      </dgm:t>
    </dgm:pt>
    <dgm:pt modelId="{CFEED240-8561-7D47-AD2E-1F6D5F9199A4}">
      <dgm:prSet phldrT="[Texto]" custT="1"/>
      <dgm:spPr>
        <a:pattFill prst="ltDnDiag">
          <a:fgClr>
            <a:schemeClr val="accent4">
              <a:lumMod val="40000"/>
              <a:lumOff val="60000"/>
            </a:schemeClr>
          </a:fgClr>
          <a:bgClr>
            <a:schemeClr val="bg1"/>
          </a:bgClr>
        </a:pattFill>
      </dgm:spPr>
      <dgm:t>
        <a:bodyPr/>
        <a:lstStyle/>
        <a:p>
          <a:r>
            <a:rPr lang="es-ES" sz="1600" b="0" i="0" dirty="0">
              <a:latin typeface="Playfair Display" panose="00000500000000000000" pitchFamily="2" charset="0"/>
              <a:cs typeface="Calibri Light" panose="020F0302020204030204" pitchFamily="34" charset="0"/>
            </a:rPr>
            <a:t>Desarrollo de Software</a:t>
          </a:r>
        </a:p>
      </dgm:t>
    </dgm:pt>
    <dgm:pt modelId="{2C86C1D7-4B44-BB47-87A1-8C85B85803A8}" type="parTrans" cxnId="{E9CF57E8-8FF9-7B4A-BF5D-23D3D6C7886C}">
      <dgm:prSet/>
      <dgm:spPr/>
      <dgm:t>
        <a:bodyPr/>
        <a:lstStyle/>
        <a:p>
          <a:endParaRPr lang="es-ES" b="0" i="0">
            <a:latin typeface="Calibri Light" panose="020F0302020204030204" pitchFamily="34" charset="0"/>
            <a:cs typeface="Calibri Light" panose="020F0302020204030204" pitchFamily="34" charset="0"/>
          </a:endParaRPr>
        </a:p>
      </dgm:t>
    </dgm:pt>
    <dgm:pt modelId="{57AFAC75-1E5B-294A-B482-BF234446E47C}" type="sibTrans" cxnId="{E9CF57E8-8FF9-7B4A-BF5D-23D3D6C7886C}">
      <dgm:prSet/>
      <dgm:spPr/>
      <dgm:t>
        <a:bodyPr/>
        <a:lstStyle/>
        <a:p>
          <a:endParaRPr lang="es-ES" b="0" i="0">
            <a:latin typeface="Calibri Light" panose="020F0302020204030204" pitchFamily="34" charset="0"/>
            <a:cs typeface="Calibri Light" panose="020F0302020204030204" pitchFamily="34" charset="0"/>
          </a:endParaRPr>
        </a:p>
      </dgm:t>
    </dgm:pt>
    <dgm:pt modelId="{E60CBA13-BB3A-0948-99A6-458B557C49EB}">
      <dgm:prSet phldrT="[Texto]" custT="1"/>
      <dgm:spPr>
        <a:pattFill prst="ltUpDiag">
          <a:fgClr>
            <a:srgbClr val="79C5B3">
              <a:lumMod val="40000"/>
              <a:lumOff val="60000"/>
            </a:srgbClr>
          </a:fgClr>
          <a:bgClr>
            <a:schemeClr val="bg1"/>
          </a:bgClr>
        </a:pattFill>
      </dgm:spPr>
      <dgm:t>
        <a:bodyPr/>
        <a:lstStyle/>
        <a:p>
          <a:r>
            <a:rPr lang="es-ES" sz="750" b="0" i="0" dirty="0">
              <a:latin typeface="+mj-lt"/>
              <a:cs typeface="Calibri Light" panose="020F0302020204030204" pitchFamily="34" charset="0"/>
            </a:rPr>
            <a:t>Gobierno</a:t>
          </a:r>
        </a:p>
      </dgm:t>
    </dgm:pt>
    <dgm:pt modelId="{4122D7C7-51C7-6246-8C50-EF8F04D7BDF7}" type="parTrans" cxnId="{0960E575-3B32-FF4B-82ED-F36A953D8BDF}">
      <dgm:prSet/>
      <dgm:spPr/>
      <dgm:t>
        <a:bodyPr/>
        <a:lstStyle/>
        <a:p>
          <a:endParaRPr lang="es-ES" b="0" i="0">
            <a:latin typeface="Calibri Light" panose="020F0302020204030204" pitchFamily="34" charset="0"/>
            <a:cs typeface="Calibri Light" panose="020F0302020204030204" pitchFamily="34" charset="0"/>
          </a:endParaRPr>
        </a:p>
      </dgm:t>
    </dgm:pt>
    <dgm:pt modelId="{E63F3FBB-2890-A241-A427-007ED17C66F0}" type="sibTrans" cxnId="{0960E575-3B32-FF4B-82ED-F36A953D8BDF}">
      <dgm:prSet/>
      <dgm:spPr/>
      <dgm:t>
        <a:bodyPr/>
        <a:lstStyle/>
        <a:p>
          <a:endParaRPr lang="es-ES" b="0" i="0">
            <a:latin typeface="Calibri Light" panose="020F0302020204030204" pitchFamily="34" charset="0"/>
            <a:cs typeface="Calibri Light" panose="020F0302020204030204" pitchFamily="34" charset="0"/>
          </a:endParaRPr>
        </a:p>
      </dgm:t>
    </dgm:pt>
    <dgm:pt modelId="{BBF13F2A-C706-8641-98F9-084337784A06}">
      <dgm:prSet phldrT="[Texto]"/>
      <dgm:spPr>
        <a:pattFill prst="ltDnDiag">
          <a:fgClr>
            <a:schemeClr val="accent6">
              <a:lumMod val="20000"/>
              <a:lumOff val="80000"/>
            </a:schemeClr>
          </a:fgClr>
          <a:bgClr>
            <a:schemeClr val="bg1"/>
          </a:bgClr>
        </a:pattFill>
      </dgm:spPr>
      <dgm:t>
        <a:bodyPr/>
        <a:lstStyle/>
        <a:p>
          <a:r>
            <a:rPr lang="es-ES" b="0" i="0" dirty="0">
              <a:latin typeface="+mj-lt"/>
              <a:cs typeface="Calibri Light" panose="020F0302020204030204" pitchFamily="34" charset="0"/>
            </a:rPr>
            <a:t>Estrategia y métricas</a:t>
          </a:r>
        </a:p>
      </dgm:t>
    </dgm:pt>
    <dgm:pt modelId="{DC7723F2-02C7-064C-B2DD-48E86079E640}" type="parTrans" cxnId="{580F4238-6785-7B42-8374-B6EDE82689C7}">
      <dgm:prSet/>
      <dgm:spPr/>
      <dgm:t>
        <a:bodyPr/>
        <a:lstStyle/>
        <a:p>
          <a:endParaRPr lang="es-ES" b="0" i="0">
            <a:latin typeface="Calibri Light" panose="020F0302020204030204" pitchFamily="34" charset="0"/>
            <a:cs typeface="Calibri Light" panose="020F0302020204030204" pitchFamily="34" charset="0"/>
          </a:endParaRPr>
        </a:p>
      </dgm:t>
    </dgm:pt>
    <dgm:pt modelId="{BCCEE889-EF45-9A42-B27F-74276746718B}" type="sibTrans" cxnId="{580F4238-6785-7B42-8374-B6EDE82689C7}">
      <dgm:prSet/>
      <dgm:spPr/>
      <dgm:t>
        <a:bodyPr/>
        <a:lstStyle/>
        <a:p>
          <a:endParaRPr lang="es-ES" b="0" i="0">
            <a:latin typeface="Calibri Light" panose="020F0302020204030204" pitchFamily="34" charset="0"/>
            <a:cs typeface="Calibri Light" panose="020F0302020204030204" pitchFamily="34" charset="0"/>
          </a:endParaRPr>
        </a:p>
      </dgm:t>
    </dgm:pt>
    <dgm:pt modelId="{09E11559-4CA4-5045-B482-FF720DE4E633}">
      <dgm:prSet phldrT="[Texto]"/>
      <dgm:spPr>
        <a:pattFill prst="ltDnDiag">
          <a:fgClr>
            <a:schemeClr val="accent6">
              <a:lumMod val="20000"/>
              <a:lumOff val="80000"/>
            </a:schemeClr>
          </a:fgClr>
          <a:bgClr>
            <a:schemeClr val="bg1"/>
          </a:bgClr>
        </a:pattFill>
      </dgm:spPr>
      <dgm:t>
        <a:bodyPr/>
        <a:lstStyle/>
        <a:p>
          <a:r>
            <a:rPr lang="es-ES" b="0" i="0" dirty="0">
              <a:latin typeface="+mj-lt"/>
              <a:cs typeface="Calibri Light" panose="020F0302020204030204" pitchFamily="34" charset="0"/>
            </a:rPr>
            <a:t>Educación y orientación</a:t>
          </a:r>
        </a:p>
      </dgm:t>
    </dgm:pt>
    <dgm:pt modelId="{BFA24AFB-8FB9-344A-81C1-6FB76283E611}" type="parTrans" cxnId="{4EC75F68-EAF4-2140-ACFD-48D2CE353695}">
      <dgm:prSet/>
      <dgm:spPr/>
      <dgm:t>
        <a:bodyPr/>
        <a:lstStyle/>
        <a:p>
          <a:endParaRPr lang="es-ES" b="0" i="0">
            <a:latin typeface="Calibri Light" panose="020F0302020204030204" pitchFamily="34" charset="0"/>
            <a:cs typeface="Calibri Light" panose="020F0302020204030204" pitchFamily="34" charset="0"/>
          </a:endParaRPr>
        </a:p>
      </dgm:t>
    </dgm:pt>
    <dgm:pt modelId="{605500EA-59C1-AE41-BC82-159C69E9681B}" type="sibTrans" cxnId="{4EC75F68-EAF4-2140-ACFD-48D2CE353695}">
      <dgm:prSet/>
      <dgm:spPr/>
      <dgm:t>
        <a:bodyPr/>
        <a:lstStyle/>
        <a:p>
          <a:endParaRPr lang="es-ES" b="0" i="0">
            <a:latin typeface="Calibri Light" panose="020F0302020204030204" pitchFamily="34" charset="0"/>
            <a:cs typeface="Calibri Light" panose="020F0302020204030204" pitchFamily="34" charset="0"/>
          </a:endParaRPr>
        </a:p>
      </dgm:t>
    </dgm:pt>
    <dgm:pt modelId="{BB588C78-847A-9F4C-9841-33CAF807AB75}">
      <dgm:prSet phldrT="[Texto]" custT="1"/>
      <dgm:spPr>
        <a:pattFill prst="ltUpDiag">
          <a:fgClr>
            <a:srgbClr val="79C5B3">
              <a:lumMod val="40000"/>
              <a:lumOff val="60000"/>
            </a:srgbClr>
          </a:fgClr>
          <a:bgClr>
            <a:schemeClr val="bg1"/>
          </a:bgClr>
        </a:pattFill>
      </dgm:spPr>
      <dgm:t>
        <a:bodyPr/>
        <a:lstStyle/>
        <a:p>
          <a:r>
            <a:rPr lang="es-ES" sz="750" b="0" i="0" dirty="0">
              <a:latin typeface="+mj-lt"/>
              <a:cs typeface="Calibri Light" panose="020F0302020204030204" pitchFamily="34" charset="0"/>
            </a:rPr>
            <a:t>Construcción</a:t>
          </a:r>
        </a:p>
      </dgm:t>
    </dgm:pt>
    <dgm:pt modelId="{DD65C539-1282-904A-87A4-E5F7D82DEA3D}" type="parTrans" cxnId="{E5A83438-B483-FC4F-9A23-4BCA3E667DD6}">
      <dgm:prSet/>
      <dgm:spPr/>
      <dgm:t>
        <a:bodyPr/>
        <a:lstStyle/>
        <a:p>
          <a:endParaRPr lang="es-ES" b="0" i="0">
            <a:latin typeface="Calibri Light" panose="020F0302020204030204" pitchFamily="34" charset="0"/>
            <a:cs typeface="Calibri Light" panose="020F0302020204030204" pitchFamily="34" charset="0"/>
          </a:endParaRPr>
        </a:p>
      </dgm:t>
    </dgm:pt>
    <dgm:pt modelId="{AE29AD48-D9B5-204D-9B5F-03DD1D598202}" type="sibTrans" cxnId="{E5A83438-B483-FC4F-9A23-4BCA3E667DD6}">
      <dgm:prSet/>
      <dgm:spPr/>
      <dgm:t>
        <a:bodyPr/>
        <a:lstStyle/>
        <a:p>
          <a:endParaRPr lang="es-ES" b="0" i="0">
            <a:latin typeface="Calibri Light" panose="020F0302020204030204" pitchFamily="34" charset="0"/>
            <a:cs typeface="Calibri Light" panose="020F0302020204030204" pitchFamily="34" charset="0"/>
          </a:endParaRPr>
        </a:p>
      </dgm:t>
    </dgm:pt>
    <dgm:pt modelId="{81ACF974-A43C-F543-8BC9-AF148864C24D}">
      <dgm:prSet phldrT="[Texto]"/>
      <dgm:spPr>
        <a:pattFill prst="ltDnDiag">
          <a:fgClr>
            <a:schemeClr val="accent6">
              <a:lumMod val="20000"/>
              <a:lumOff val="80000"/>
            </a:schemeClr>
          </a:fgClr>
          <a:bgClr>
            <a:schemeClr val="bg1"/>
          </a:bgClr>
        </a:pattFill>
      </dgm:spPr>
      <dgm:t>
        <a:bodyPr/>
        <a:lstStyle/>
        <a:p>
          <a:r>
            <a:rPr lang="es-ES" b="0" i="0" dirty="0">
              <a:latin typeface="+mj-lt"/>
              <a:cs typeface="Calibri Light" panose="020F0302020204030204" pitchFamily="34" charset="0"/>
            </a:rPr>
            <a:t>Evaluación de las amenazas</a:t>
          </a:r>
        </a:p>
      </dgm:t>
    </dgm:pt>
    <dgm:pt modelId="{888523B5-CCA9-5D4E-AA13-8DB1B97906D9}" type="parTrans" cxnId="{F5B36B73-B383-1F43-83CD-BA0EB3CF3A90}">
      <dgm:prSet/>
      <dgm:spPr/>
      <dgm:t>
        <a:bodyPr/>
        <a:lstStyle/>
        <a:p>
          <a:endParaRPr lang="es-ES" b="0" i="0">
            <a:latin typeface="Calibri Light" panose="020F0302020204030204" pitchFamily="34" charset="0"/>
            <a:cs typeface="Calibri Light" panose="020F0302020204030204" pitchFamily="34" charset="0"/>
          </a:endParaRPr>
        </a:p>
      </dgm:t>
    </dgm:pt>
    <dgm:pt modelId="{2A26981C-76FA-1343-B69A-41AE2024BE58}" type="sibTrans" cxnId="{F5B36B73-B383-1F43-83CD-BA0EB3CF3A90}">
      <dgm:prSet/>
      <dgm:spPr/>
      <dgm:t>
        <a:bodyPr/>
        <a:lstStyle/>
        <a:p>
          <a:endParaRPr lang="es-ES" b="0" i="0">
            <a:latin typeface="Calibri Light" panose="020F0302020204030204" pitchFamily="34" charset="0"/>
            <a:cs typeface="Calibri Light" panose="020F0302020204030204" pitchFamily="34" charset="0"/>
          </a:endParaRPr>
        </a:p>
      </dgm:t>
    </dgm:pt>
    <dgm:pt modelId="{1FDA1D43-8549-9244-8592-B6E36E3C672A}">
      <dgm:prSet phldrT="[Texto]"/>
      <dgm:spPr>
        <a:pattFill prst="ltDnDiag">
          <a:fgClr>
            <a:schemeClr val="accent6">
              <a:lumMod val="20000"/>
              <a:lumOff val="80000"/>
            </a:schemeClr>
          </a:fgClr>
          <a:bgClr>
            <a:schemeClr val="bg1"/>
          </a:bgClr>
        </a:pattFill>
      </dgm:spPr>
      <dgm:t>
        <a:bodyPr/>
        <a:lstStyle/>
        <a:p>
          <a:r>
            <a:rPr lang="es-ES" b="0" i="0" dirty="0">
              <a:latin typeface="+mj-lt"/>
              <a:cs typeface="Calibri Light" panose="020F0302020204030204" pitchFamily="34" charset="0"/>
            </a:rPr>
            <a:t>Política y cumplimiento</a:t>
          </a:r>
        </a:p>
      </dgm:t>
    </dgm:pt>
    <dgm:pt modelId="{459A95EC-45B0-284E-AD2E-9AC22472C79A}" type="parTrans" cxnId="{906E201B-EF0E-C944-BA99-61DCAB7BAB82}">
      <dgm:prSet/>
      <dgm:spPr/>
      <dgm:t>
        <a:bodyPr/>
        <a:lstStyle/>
        <a:p>
          <a:endParaRPr lang="es-ES" b="0" i="0">
            <a:latin typeface="Calibri Light" panose="020F0302020204030204" pitchFamily="34" charset="0"/>
            <a:cs typeface="Calibri Light" panose="020F0302020204030204" pitchFamily="34" charset="0"/>
          </a:endParaRPr>
        </a:p>
      </dgm:t>
    </dgm:pt>
    <dgm:pt modelId="{05D81B15-7244-5646-A359-A7DC1D432341}" type="sibTrans" cxnId="{906E201B-EF0E-C944-BA99-61DCAB7BAB82}">
      <dgm:prSet/>
      <dgm:spPr/>
      <dgm:t>
        <a:bodyPr/>
        <a:lstStyle/>
        <a:p>
          <a:endParaRPr lang="es-ES" b="0" i="0">
            <a:latin typeface="Calibri Light" panose="020F0302020204030204" pitchFamily="34" charset="0"/>
            <a:cs typeface="Calibri Light" panose="020F0302020204030204" pitchFamily="34" charset="0"/>
          </a:endParaRPr>
        </a:p>
      </dgm:t>
    </dgm:pt>
    <dgm:pt modelId="{C02DB8F9-36EF-5B4A-8F6A-5F34EF87D72E}">
      <dgm:prSet phldrT="[Texto]"/>
      <dgm:spPr>
        <a:pattFill prst="ltDnDiag">
          <a:fgClr>
            <a:schemeClr val="accent6">
              <a:lumMod val="20000"/>
              <a:lumOff val="80000"/>
            </a:schemeClr>
          </a:fgClr>
          <a:bgClr>
            <a:schemeClr val="bg1"/>
          </a:bgClr>
        </a:pattFill>
      </dgm:spPr>
      <dgm:t>
        <a:bodyPr/>
        <a:lstStyle/>
        <a:p>
          <a:r>
            <a:rPr lang="es-ES" b="0" i="0" dirty="0">
              <a:latin typeface="+mj-lt"/>
              <a:cs typeface="Calibri Light" panose="020F0302020204030204" pitchFamily="34" charset="0"/>
            </a:rPr>
            <a:t>Requisitos de seguridad</a:t>
          </a:r>
        </a:p>
      </dgm:t>
    </dgm:pt>
    <dgm:pt modelId="{1E665909-2E07-4449-BC09-83D8366B8419}" type="parTrans" cxnId="{70F77E30-249C-524F-AA6E-A6A43A70C9EA}">
      <dgm:prSet/>
      <dgm:spPr/>
      <dgm:t>
        <a:bodyPr/>
        <a:lstStyle/>
        <a:p>
          <a:endParaRPr lang="es-ES" b="0" i="0">
            <a:latin typeface="Calibri Light" panose="020F0302020204030204" pitchFamily="34" charset="0"/>
            <a:cs typeface="Calibri Light" panose="020F0302020204030204" pitchFamily="34" charset="0"/>
          </a:endParaRPr>
        </a:p>
      </dgm:t>
    </dgm:pt>
    <dgm:pt modelId="{64A1C276-7726-AC4F-8AAE-E6CCF60D7842}" type="sibTrans" cxnId="{70F77E30-249C-524F-AA6E-A6A43A70C9EA}">
      <dgm:prSet/>
      <dgm:spPr/>
      <dgm:t>
        <a:bodyPr/>
        <a:lstStyle/>
        <a:p>
          <a:endParaRPr lang="es-ES" b="0" i="0">
            <a:latin typeface="Calibri Light" panose="020F0302020204030204" pitchFamily="34" charset="0"/>
            <a:cs typeface="Calibri Light" panose="020F0302020204030204" pitchFamily="34" charset="0"/>
          </a:endParaRPr>
        </a:p>
      </dgm:t>
    </dgm:pt>
    <dgm:pt modelId="{E8EB2CF5-8DC6-9B49-9B19-EAC2587B64A3}">
      <dgm:prSet phldrT="[Texto]"/>
      <dgm:spPr>
        <a:pattFill prst="ltDnDiag">
          <a:fgClr>
            <a:schemeClr val="accent6">
              <a:lumMod val="20000"/>
              <a:lumOff val="80000"/>
            </a:schemeClr>
          </a:fgClr>
          <a:bgClr>
            <a:schemeClr val="bg1"/>
          </a:bgClr>
        </a:pattFill>
      </dgm:spPr>
      <dgm:t>
        <a:bodyPr/>
        <a:lstStyle/>
        <a:p>
          <a:r>
            <a:rPr lang="es-ES" b="0" i="0" dirty="0">
              <a:latin typeface="+mj-lt"/>
              <a:cs typeface="Calibri Light" panose="020F0302020204030204" pitchFamily="34" charset="0"/>
            </a:rPr>
            <a:t>Arquitectura de seguridad</a:t>
          </a:r>
        </a:p>
      </dgm:t>
    </dgm:pt>
    <dgm:pt modelId="{5382F6E9-94A6-0940-A34F-1FBFB5F3B8E4}" type="parTrans" cxnId="{1ADF6623-B4A2-8742-93A0-BFDDCCD914FC}">
      <dgm:prSet/>
      <dgm:spPr/>
      <dgm:t>
        <a:bodyPr/>
        <a:lstStyle/>
        <a:p>
          <a:endParaRPr lang="es-ES" b="0" i="0">
            <a:latin typeface="Calibri Light" panose="020F0302020204030204" pitchFamily="34" charset="0"/>
            <a:cs typeface="Calibri Light" panose="020F0302020204030204" pitchFamily="34" charset="0"/>
          </a:endParaRPr>
        </a:p>
      </dgm:t>
    </dgm:pt>
    <dgm:pt modelId="{21A3B061-4BFC-EB42-BF0A-327674129915}" type="sibTrans" cxnId="{1ADF6623-B4A2-8742-93A0-BFDDCCD914FC}">
      <dgm:prSet/>
      <dgm:spPr/>
      <dgm:t>
        <a:bodyPr/>
        <a:lstStyle/>
        <a:p>
          <a:endParaRPr lang="es-ES" b="0" i="0">
            <a:latin typeface="Calibri Light" panose="020F0302020204030204" pitchFamily="34" charset="0"/>
            <a:cs typeface="Calibri Light" panose="020F0302020204030204" pitchFamily="34" charset="0"/>
          </a:endParaRPr>
        </a:p>
      </dgm:t>
    </dgm:pt>
    <dgm:pt modelId="{199177A7-5A6D-F44F-8006-562D55AB0B19}">
      <dgm:prSet phldrT="[Texto]" custT="1"/>
      <dgm:spPr>
        <a:pattFill prst="ltUpDiag">
          <a:fgClr>
            <a:srgbClr val="79C5B3">
              <a:lumMod val="40000"/>
              <a:lumOff val="60000"/>
            </a:srgbClr>
          </a:fgClr>
          <a:bgClr>
            <a:schemeClr val="bg1"/>
          </a:bgClr>
        </a:pattFill>
      </dgm:spPr>
      <dgm:t>
        <a:bodyPr/>
        <a:lstStyle/>
        <a:p>
          <a:r>
            <a:rPr lang="es-ES" sz="750" b="0" i="0" dirty="0">
              <a:latin typeface="+mj-lt"/>
              <a:cs typeface="Calibri Light" panose="020F0302020204030204" pitchFamily="34" charset="0"/>
            </a:rPr>
            <a:t>Verificación</a:t>
          </a:r>
        </a:p>
      </dgm:t>
    </dgm:pt>
    <dgm:pt modelId="{968D5746-9C54-EE4B-B47C-A1C7D91D8E5D}" type="parTrans" cxnId="{5AFFC873-2AEF-5141-955F-B6E28A79E0AC}">
      <dgm:prSet/>
      <dgm:spPr/>
      <dgm:t>
        <a:bodyPr/>
        <a:lstStyle/>
        <a:p>
          <a:endParaRPr lang="es-ES" b="0" i="0">
            <a:latin typeface="Calibri Light" panose="020F0302020204030204" pitchFamily="34" charset="0"/>
            <a:cs typeface="Calibri Light" panose="020F0302020204030204" pitchFamily="34" charset="0"/>
          </a:endParaRPr>
        </a:p>
      </dgm:t>
    </dgm:pt>
    <dgm:pt modelId="{EEBCEFF8-95FF-A746-9005-25FBB4003752}" type="sibTrans" cxnId="{5AFFC873-2AEF-5141-955F-B6E28A79E0AC}">
      <dgm:prSet/>
      <dgm:spPr/>
      <dgm:t>
        <a:bodyPr/>
        <a:lstStyle/>
        <a:p>
          <a:endParaRPr lang="es-ES" b="0" i="0">
            <a:latin typeface="Calibri Light" panose="020F0302020204030204" pitchFamily="34" charset="0"/>
            <a:cs typeface="Calibri Light" panose="020F0302020204030204" pitchFamily="34" charset="0"/>
          </a:endParaRPr>
        </a:p>
      </dgm:t>
    </dgm:pt>
    <dgm:pt modelId="{8E82BB61-49AA-3842-82DA-332136669410}">
      <dgm:prSet phldrT="[Texto]"/>
      <dgm:spPr>
        <a:pattFill prst="ltDnDiag">
          <a:fgClr>
            <a:schemeClr val="accent6">
              <a:lumMod val="20000"/>
              <a:lumOff val="80000"/>
            </a:schemeClr>
          </a:fgClr>
          <a:bgClr>
            <a:schemeClr val="bg1"/>
          </a:bgClr>
        </a:pattFill>
      </dgm:spPr>
      <dgm:t>
        <a:bodyPr/>
        <a:lstStyle/>
        <a:p>
          <a:r>
            <a:rPr lang="es-ES" b="0" i="0" dirty="0">
              <a:latin typeface="+mj-lt"/>
              <a:cs typeface="Calibri Light" panose="020F0302020204030204" pitchFamily="34" charset="0"/>
            </a:rPr>
            <a:t>Revisión de diseño</a:t>
          </a:r>
        </a:p>
      </dgm:t>
    </dgm:pt>
    <dgm:pt modelId="{38BDEF45-7DE0-3243-A96F-B2EB5A741EDE}" type="parTrans" cxnId="{4A8A4E29-0300-DC4E-B2A4-8562C3E93FDA}">
      <dgm:prSet/>
      <dgm:spPr/>
      <dgm:t>
        <a:bodyPr/>
        <a:lstStyle/>
        <a:p>
          <a:endParaRPr lang="es-ES" b="0" i="0">
            <a:latin typeface="Calibri Light" panose="020F0302020204030204" pitchFamily="34" charset="0"/>
            <a:cs typeface="Calibri Light" panose="020F0302020204030204" pitchFamily="34" charset="0"/>
          </a:endParaRPr>
        </a:p>
      </dgm:t>
    </dgm:pt>
    <dgm:pt modelId="{FECE0995-8559-6141-9821-7A506E383083}" type="sibTrans" cxnId="{4A8A4E29-0300-DC4E-B2A4-8562C3E93FDA}">
      <dgm:prSet/>
      <dgm:spPr/>
      <dgm:t>
        <a:bodyPr/>
        <a:lstStyle/>
        <a:p>
          <a:endParaRPr lang="es-ES" b="0" i="0">
            <a:latin typeface="Calibri Light" panose="020F0302020204030204" pitchFamily="34" charset="0"/>
            <a:cs typeface="Calibri Light" panose="020F0302020204030204" pitchFamily="34" charset="0"/>
          </a:endParaRPr>
        </a:p>
      </dgm:t>
    </dgm:pt>
    <dgm:pt modelId="{B9C3DC19-3A18-854A-A0B3-72058CF96C97}">
      <dgm:prSet phldrT="[Texto]"/>
      <dgm:spPr>
        <a:pattFill prst="ltDnDiag">
          <a:fgClr>
            <a:schemeClr val="accent6">
              <a:lumMod val="20000"/>
              <a:lumOff val="80000"/>
            </a:schemeClr>
          </a:fgClr>
          <a:bgClr>
            <a:schemeClr val="bg1"/>
          </a:bgClr>
        </a:pattFill>
      </dgm:spPr>
      <dgm:t>
        <a:bodyPr/>
        <a:lstStyle/>
        <a:p>
          <a:r>
            <a:rPr lang="es-ES" b="0" i="0" dirty="0">
              <a:latin typeface="+mj-lt"/>
              <a:cs typeface="Calibri Light" panose="020F0302020204030204" pitchFamily="34" charset="0"/>
            </a:rPr>
            <a:t>Revisión de código</a:t>
          </a:r>
        </a:p>
      </dgm:t>
    </dgm:pt>
    <dgm:pt modelId="{4C64073E-63E6-6143-86CA-CD6A3D0FB7DE}" type="parTrans" cxnId="{B23683D0-6B57-2C49-99F1-2BD9E57A6E08}">
      <dgm:prSet/>
      <dgm:spPr/>
      <dgm:t>
        <a:bodyPr/>
        <a:lstStyle/>
        <a:p>
          <a:endParaRPr lang="es-ES" b="0" i="0">
            <a:latin typeface="Calibri Light" panose="020F0302020204030204" pitchFamily="34" charset="0"/>
            <a:cs typeface="Calibri Light" panose="020F0302020204030204" pitchFamily="34" charset="0"/>
          </a:endParaRPr>
        </a:p>
      </dgm:t>
    </dgm:pt>
    <dgm:pt modelId="{1CB39EF5-914E-574D-A497-E84F2AE1C201}" type="sibTrans" cxnId="{B23683D0-6B57-2C49-99F1-2BD9E57A6E08}">
      <dgm:prSet/>
      <dgm:spPr/>
      <dgm:t>
        <a:bodyPr/>
        <a:lstStyle/>
        <a:p>
          <a:endParaRPr lang="es-ES" b="0" i="0">
            <a:latin typeface="Calibri Light" panose="020F0302020204030204" pitchFamily="34" charset="0"/>
            <a:cs typeface="Calibri Light" panose="020F0302020204030204" pitchFamily="34" charset="0"/>
          </a:endParaRPr>
        </a:p>
      </dgm:t>
    </dgm:pt>
    <dgm:pt modelId="{1D53C27F-CAEB-054F-95A3-D5859551526D}">
      <dgm:prSet phldrT="[Texto]"/>
      <dgm:spPr>
        <a:pattFill prst="ltDnDiag">
          <a:fgClr>
            <a:schemeClr val="accent6">
              <a:lumMod val="20000"/>
              <a:lumOff val="80000"/>
            </a:schemeClr>
          </a:fgClr>
          <a:bgClr>
            <a:schemeClr val="bg1"/>
          </a:bgClr>
        </a:pattFill>
      </dgm:spPr>
      <dgm:t>
        <a:bodyPr/>
        <a:lstStyle/>
        <a:p>
          <a:r>
            <a:rPr lang="es-ES" b="0" i="0" dirty="0">
              <a:latin typeface="+mj-lt"/>
              <a:cs typeface="Calibri Light" panose="020F0302020204030204" pitchFamily="34" charset="0"/>
            </a:rPr>
            <a:t>Pruebas de seguridad</a:t>
          </a:r>
        </a:p>
      </dgm:t>
    </dgm:pt>
    <dgm:pt modelId="{297F924D-9D5D-364E-9829-EB55BD4A989B}" type="parTrans" cxnId="{8DDFA905-A669-3949-84D4-EC2D16A19437}">
      <dgm:prSet/>
      <dgm:spPr/>
      <dgm:t>
        <a:bodyPr/>
        <a:lstStyle/>
        <a:p>
          <a:endParaRPr lang="es-ES" b="0" i="0">
            <a:latin typeface="Calibri Light" panose="020F0302020204030204" pitchFamily="34" charset="0"/>
            <a:cs typeface="Calibri Light" panose="020F0302020204030204" pitchFamily="34" charset="0"/>
          </a:endParaRPr>
        </a:p>
      </dgm:t>
    </dgm:pt>
    <dgm:pt modelId="{9C27D907-8F2E-D246-8934-7DEDBF7BC4DD}" type="sibTrans" cxnId="{8DDFA905-A669-3949-84D4-EC2D16A19437}">
      <dgm:prSet/>
      <dgm:spPr/>
      <dgm:t>
        <a:bodyPr/>
        <a:lstStyle/>
        <a:p>
          <a:endParaRPr lang="es-ES" b="0" i="0">
            <a:latin typeface="Calibri Light" panose="020F0302020204030204" pitchFamily="34" charset="0"/>
            <a:cs typeface="Calibri Light" panose="020F0302020204030204" pitchFamily="34" charset="0"/>
          </a:endParaRPr>
        </a:p>
      </dgm:t>
    </dgm:pt>
    <dgm:pt modelId="{9339F2D9-A8F2-1E4C-A25F-AFA2ECDE52E0}">
      <dgm:prSet phldrT="[Texto]" custT="1"/>
      <dgm:spPr>
        <a:pattFill prst="ltUpDiag">
          <a:fgClr>
            <a:srgbClr val="79C5B3">
              <a:lumMod val="40000"/>
              <a:lumOff val="60000"/>
            </a:srgbClr>
          </a:fgClr>
          <a:bgClr>
            <a:schemeClr val="bg1"/>
          </a:bgClr>
        </a:pattFill>
      </dgm:spPr>
      <dgm:t>
        <a:bodyPr/>
        <a:lstStyle/>
        <a:p>
          <a:r>
            <a:rPr lang="es-ES" sz="750" b="0" i="0" dirty="0">
              <a:latin typeface="+mj-lt"/>
              <a:cs typeface="Calibri Light" panose="020F0302020204030204" pitchFamily="34" charset="0"/>
            </a:rPr>
            <a:t>Implantación</a:t>
          </a:r>
        </a:p>
      </dgm:t>
    </dgm:pt>
    <dgm:pt modelId="{7188D9E1-A937-D243-B075-07AC926E5D44}" type="parTrans" cxnId="{1FA6A37E-3950-2149-AE8C-7A54789E0FFA}">
      <dgm:prSet/>
      <dgm:spPr/>
      <dgm:t>
        <a:bodyPr/>
        <a:lstStyle/>
        <a:p>
          <a:endParaRPr lang="es-ES" b="0" i="0">
            <a:latin typeface="Calibri Light" panose="020F0302020204030204" pitchFamily="34" charset="0"/>
            <a:cs typeface="Calibri Light" panose="020F0302020204030204" pitchFamily="34" charset="0"/>
          </a:endParaRPr>
        </a:p>
      </dgm:t>
    </dgm:pt>
    <dgm:pt modelId="{392B69BA-EDB8-CD46-9F6A-8A547226CFBE}" type="sibTrans" cxnId="{1FA6A37E-3950-2149-AE8C-7A54789E0FFA}">
      <dgm:prSet/>
      <dgm:spPr/>
      <dgm:t>
        <a:bodyPr/>
        <a:lstStyle/>
        <a:p>
          <a:endParaRPr lang="es-ES" b="0" i="0">
            <a:latin typeface="Calibri Light" panose="020F0302020204030204" pitchFamily="34" charset="0"/>
            <a:cs typeface="Calibri Light" panose="020F0302020204030204" pitchFamily="34" charset="0"/>
          </a:endParaRPr>
        </a:p>
      </dgm:t>
    </dgm:pt>
    <dgm:pt modelId="{CD8F4929-DBA1-8446-8279-F30737B12D10}">
      <dgm:prSet phldrT="[Texto]"/>
      <dgm:spPr>
        <a:pattFill prst="ltDnDiag">
          <a:fgClr>
            <a:schemeClr val="accent6">
              <a:lumMod val="20000"/>
              <a:lumOff val="80000"/>
            </a:schemeClr>
          </a:fgClr>
          <a:bgClr>
            <a:schemeClr val="bg1"/>
          </a:bgClr>
        </a:pattFill>
      </dgm:spPr>
      <dgm:t>
        <a:bodyPr/>
        <a:lstStyle/>
        <a:p>
          <a:r>
            <a:rPr lang="es-ES" b="0" i="0" dirty="0">
              <a:latin typeface="+mj-lt"/>
              <a:cs typeface="Calibri Light" panose="020F0302020204030204" pitchFamily="34" charset="0"/>
            </a:rPr>
            <a:t>Gestión de vulnerabilidades</a:t>
          </a:r>
        </a:p>
      </dgm:t>
    </dgm:pt>
    <dgm:pt modelId="{934F8A8F-2EF2-E244-A3C1-C020E366DB30}" type="parTrans" cxnId="{6C9416B3-FEB1-1046-9661-3FFD26B848B5}">
      <dgm:prSet/>
      <dgm:spPr/>
      <dgm:t>
        <a:bodyPr/>
        <a:lstStyle/>
        <a:p>
          <a:endParaRPr lang="es-ES" b="0" i="0">
            <a:latin typeface="Calibri Light" panose="020F0302020204030204" pitchFamily="34" charset="0"/>
            <a:cs typeface="Calibri Light" panose="020F0302020204030204" pitchFamily="34" charset="0"/>
          </a:endParaRPr>
        </a:p>
      </dgm:t>
    </dgm:pt>
    <dgm:pt modelId="{BEC6F83E-7E1C-7644-9DB8-4F5D5E4F6B0B}" type="sibTrans" cxnId="{6C9416B3-FEB1-1046-9661-3FFD26B848B5}">
      <dgm:prSet/>
      <dgm:spPr/>
      <dgm:t>
        <a:bodyPr/>
        <a:lstStyle/>
        <a:p>
          <a:endParaRPr lang="es-ES" b="0" i="0">
            <a:latin typeface="Calibri Light" panose="020F0302020204030204" pitchFamily="34" charset="0"/>
            <a:cs typeface="Calibri Light" panose="020F0302020204030204" pitchFamily="34" charset="0"/>
          </a:endParaRPr>
        </a:p>
      </dgm:t>
    </dgm:pt>
    <dgm:pt modelId="{827D66C2-9D38-C543-BAD5-0A0000CC255F}">
      <dgm:prSet phldrT="[Texto]"/>
      <dgm:spPr>
        <a:pattFill prst="ltDnDiag">
          <a:fgClr>
            <a:schemeClr val="accent6">
              <a:lumMod val="20000"/>
              <a:lumOff val="80000"/>
            </a:schemeClr>
          </a:fgClr>
          <a:bgClr>
            <a:schemeClr val="bg1"/>
          </a:bgClr>
        </a:pattFill>
      </dgm:spPr>
      <dgm:t>
        <a:bodyPr/>
        <a:lstStyle/>
        <a:p>
          <a:r>
            <a:rPr lang="es-ES" b="0" i="0" dirty="0">
              <a:latin typeface="+mj-lt"/>
              <a:cs typeface="Calibri Light" panose="020F0302020204030204" pitchFamily="34" charset="0"/>
            </a:rPr>
            <a:t>Bastionado del entorno</a:t>
          </a:r>
        </a:p>
      </dgm:t>
    </dgm:pt>
    <dgm:pt modelId="{36413742-CDD1-9E45-8F49-5054BED6C6CE}" type="parTrans" cxnId="{66ACED01-262F-6B4F-B17F-94B533EA74AF}">
      <dgm:prSet/>
      <dgm:spPr/>
      <dgm:t>
        <a:bodyPr/>
        <a:lstStyle/>
        <a:p>
          <a:endParaRPr lang="es-ES" b="0" i="0">
            <a:latin typeface="Calibri Light" panose="020F0302020204030204" pitchFamily="34" charset="0"/>
            <a:cs typeface="Calibri Light" panose="020F0302020204030204" pitchFamily="34" charset="0"/>
          </a:endParaRPr>
        </a:p>
      </dgm:t>
    </dgm:pt>
    <dgm:pt modelId="{DB9E5AB7-3D38-2047-B008-6BC073501AE4}" type="sibTrans" cxnId="{66ACED01-262F-6B4F-B17F-94B533EA74AF}">
      <dgm:prSet/>
      <dgm:spPr/>
      <dgm:t>
        <a:bodyPr/>
        <a:lstStyle/>
        <a:p>
          <a:endParaRPr lang="es-ES" b="0" i="0">
            <a:latin typeface="Calibri Light" panose="020F0302020204030204" pitchFamily="34" charset="0"/>
            <a:cs typeface="Calibri Light" panose="020F0302020204030204" pitchFamily="34" charset="0"/>
          </a:endParaRPr>
        </a:p>
      </dgm:t>
    </dgm:pt>
    <dgm:pt modelId="{9C476BB7-B623-1E4B-B50C-0003B95CA253}">
      <dgm:prSet phldrT="[Texto]"/>
      <dgm:spPr>
        <a:pattFill prst="ltDnDiag">
          <a:fgClr>
            <a:schemeClr val="accent6">
              <a:lumMod val="20000"/>
              <a:lumOff val="80000"/>
            </a:schemeClr>
          </a:fgClr>
          <a:bgClr>
            <a:schemeClr val="bg1"/>
          </a:bgClr>
        </a:pattFill>
      </dgm:spPr>
      <dgm:t>
        <a:bodyPr/>
        <a:lstStyle/>
        <a:p>
          <a:r>
            <a:rPr lang="es-ES" b="0" i="0" dirty="0">
              <a:latin typeface="+mj-lt"/>
              <a:cs typeface="Calibri Light" panose="020F0302020204030204" pitchFamily="34" charset="0"/>
            </a:rPr>
            <a:t>Habilitación operativa</a:t>
          </a:r>
        </a:p>
      </dgm:t>
    </dgm:pt>
    <dgm:pt modelId="{98B2B15A-7853-514E-9D71-5733892C2E10}" type="parTrans" cxnId="{EF4FEA97-D76F-3743-96DE-ECDF66B07989}">
      <dgm:prSet/>
      <dgm:spPr/>
      <dgm:t>
        <a:bodyPr/>
        <a:lstStyle/>
        <a:p>
          <a:endParaRPr lang="es-ES" b="0" i="0">
            <a:latin typeface="Calibri Light" panose="020F0302020204030204" pitchFamily="34" charset="0"/>
            <a:cs typeface="Calibri Light" panose="020F0302020204030204" pitchFamily="34" charset="0"/>
          </a:endParaRPr>
        </a:p>
      </dgm:t>
    </dgm:pt>
    <dgm:pt modelId="{B6ED91E1-11AC-4B41-A5E4-CA7EAE4024F3}" type="sibTrans" cxnId="{EF4FEA97-D76F-3743-96DE-ECDF66B07989}">
      <dgm:prSet/>
      <dgm:spPr/>
      <dgm:t>
        <a:bodyPr/>
        <a:lstStyle/>
        <a:p>
          <a:endParaRPr lang="es-ES" b="0" i="0">
            <a:latin typeface="Calibri Light" panose="020F0302020204030204" pitchFamily="34" charset="0"/>
            <a:cs typeface="Calibri Light" panose="020F0302020204030204" pitchFamily="34" charset="0"/>
          </a:endParaRPr>
        </a:p>
      </dgm:t>
    </dgm:pt>
    <dgm:pt modelId="{E854DCAD-E517-154F-939B-45DC6B92602E}">
      <dgm:prSet phldrT="[Texto]" custT="1"/>
      <dgm:spPr>
        <a:pattFill prst="ltUpDiag">
          <a:fgClr>
            <a:schemeClr val="tx1">
              <a:lumMod val="10000"/>
              <a:lumOff val="90000"/>
            </a:schemeClr>
          </a:fgClr>
          <a:bgClr>
            <a:schemeClr val="bg1"/>
          </a:bgClr>
        </a:pattFill>
      </dgm:spPr>
      <dgm:t>
        <a:bodyPr/>
        <a:lstStyle/>
        <a:p>
          <a:r>
            <a:rPr lang="es-ES" sz="1800" b="0" i="0" dirty="0">
              <a:latin typeface="Playfair Display" panose="00000500000000000000" pitchFamily="2" charset="0"/>
              <a:cs typeface="Calibri Light" panose="020F0302020204030204" pitchFamily="34" charset="0"/>
            </a:rPr>
            <a:t>Metodología</a:t>
          </a:r>
          <a:endParaRPr lang="es-ES" sz="2800" b="0" i="0" dirty="0">
            <a:latin typeface="Playfair Display" panose="00000500000000000000" pitchFamily="2" charset="0"/>
            <a:cs typeface="Calibri Light" panose="020F0302020204030204" pitchFamily="34" charset="0"/>
          </a:endParaRPr>
        </a:p>
      </dgm:t>
    </dgm:pt>
    <dgm:pt modelId="{FA93F1EB-12BE-A345-891D-18D91F26BD05}" type="parTrans" cxnId="{D05C36B7-0FEA-7F45-90CD-73480FFF96BC}">
      <dgm:prSet/>
      <dgm:spPr/>
      <dgm:t>
        <a:bodyPr/>
        <a:lstStyle/>
        <a:p>
          <a:endParaRPr lang="es-ES" b="0" i="0">
            <a:latin typeface="Calibri Light" panose="020F0302020204030204" pitchFamily="34" charset="0"/>
            <a:cs typeface="Calibri Light" panose="020F0302020204030204" pitchFamily="34" charset="0"/>
          </a:endParaRPr>
        </a:p>
      </dgm:t>
    </dgm:pt>
    <dgm:pt modelId="{342DEC39-4FEF-D44E-847A-C90188F3B0E6}" type="sibTrans" cxnId="{D05C36B7-0FEA-7F45-90CD-73480FFF96BC}">
      <dgm:prSet/>
      <dgm:spPr/>
      <dgm:t>
        <a:bodyPr/>
        <a:lstStyle/>
        <a:p>
          <a:endParaRPr lang="es-ES" b="0" i="0">
            <a:latin typeface="Calibri Light" panose="020F0302020204030204" pitchFamily="34" charset="0"/>
            <a:cs typeface="Calibri Light" panose="020F0302020204030204" pitchFamily="34" charset="0"/>
          </a:endParaRPr>
        </a:p>
      </dgm:t>
    </dgm:pt>
    <dgm:pt modelId="{E49B5DE2-1C08-5F47-82C2-5A81B31DEE1C}" type="pres">
      <dgm:prSet presAssocID="{9DDBAC7C-62B3-404C-8EB4-D8B3CF876E44}" presName="Name0" presStyleCnt="0">
        <dgm:presLayoutVars>
          <dgm:chPref val="1"/>
          <dgm:dir/>
          <dgm:animOne val="branch"/>
          <dgm:animLvl val="lvl"/>
          <dgm:resizeHandles/>
        </dgm:presLayoutVars>
      </dgm:prSet>
      <dgm:spPr/>
      <dgm:t>
        <a:bodyPr/>
        <a:lstStyle/>
        <a:p>
          <a:endParaRPr lang="es-ES"/>
        </a:p>
      </dgm:t>
    </dgm:pt>
    <dgm:pt modelId="{385EA35C-4652-6B47-A90F-B43477CD344F}" type="pres">
      <dgm:prSet presAssocID="{E854DCAD-E517-154F-939B-45DC6B92602E}" presName="vertOne" presStyleCnt="0"/>
      <dgm:spPr/>
    </dgm:pt>
    <dgm:pt modelId="{3AD2E11C-A497-C24E-9BE8-61D91115E20A}" type="pres">
      <dgm:prSet presAssocID="{E854DCAD-E517-154F-939B-45DC6B92602E}" presName="txOne" presStyleLbl="node0" presStyleIdx="0" presStyleCnt="1">
        <dgm:presLayoutVars>
          <dgm:chPref val="3"/>
        </dgm:presLayoutVars>
      </dgm:prSet>
      <dgm:spPr/>
      <dgm:t>
        <a:bodyPr/>
        <a:lstStyle/>
        <a:p>
          <a:endParaRPr lang="es-ES"/>
        </a:p>
      </dgm:t>
    </dgm:pt>
    <dgm:pt modelId="{1A3EA22F-E50F-534F-BE6A-568C1C5E1F36}" type="pres">
      <dgm:prSet presAssocID="{E854DCAD-E517-154F-939B-45DC6B92602E}" presName="parTransOne" presStyleCnt="0"/>
      <dgm:spPr/>
    </dgm:pt>
    <dgm:pt modelId="{AAD767CE-7180-1C47-8F0D-DAEC3DD94C6E}" type="pres">
      <dgm:prSet presAssocID="{E854DCAD-E517-154F-939B-45DC6B92602E}" presName="horzOne" presStyleCnt="0"/>
      <dgm:spPr/>
    </dgm:pt>
    <dgm:pt modelId="{80476D76-EB51-B34A-B251-8D554D98C790}" type="pres">
      <dgm:prSet presAssocID="{CFEED240-8561-7D47-AD2E-1F6D5F9199A4}" presName="vertTwo" presStyleCnt="0"/>
      <dgm:spPr/>
    </dgm:pt>
    <dgm:pt modelId="{B433234F-BEBA-2B40-AE45-7E056C848BDE}" type="pres">
      <dgm:prSet presAssocID="{CFEED240-8561-7D47-AD2E-1F6D5F9199A4}" presName="txTwo" presStyleLbl="node2" presStyleIdx="0" presStyleCnt="1">
        <dgm:presLayoutVars>
          <dgm:chPref val="3"/>
        </dgm:presLayoutVars>
      </dgm:prSet>
      <dgm:spPr/>
      <dgm:t>
        <a:bodyPr/>
        <a:lstStyle/>
        <a:p>
          <a:endParaRPr lang="es-ES"/>
        </a:p>
      </dgm:t>
    </dgm:pt>
    <dgm:pt modelId="{99C09623-8A6B-0244-87B9-872B259A6DBE}" type="pres">
      <dgm:prSet presAssocID="{CFEED240-8561-7D47-AD2E-1F6D5F9199A4}" presName="parTransTwo" presStyleCnt="0"/>
      <dgm:spPr/>
    </dgm:pt>
    <dgm:pt modelId="{8DEB135D-5935-784E-8322-C94E59D99BC1}" type="pres">
      <dgm:prSet presAssocID="{CFEED240-8561-7D47-AD2E-1F6D5F9199A4}" presName="horzTwo" presStyleCnt="0"/>
      <dgm:spPr/>
    </dgm:pt>
    <dgm:pt modelId="{C919CA70-0BE8-4A4C-896C-EC5B63600B5D}" type="pres">
      <dgm:prSet presAssocID="{E60CBA13-BB3A-0948-99A6-458B557C49EB}" presName="vertThree" presStyleCnt="0"/>
      <dgm:spPr/>
    </dgm:pt>
    <dgm:pt modelId="{6E2AE09C-B0B4-D347-8B0E-0A81CE18FE97}" type="pres">
      <dgm:prSet presAssocID="{E60CBA13-BB3A-0948-99A6-458B557C49EB}" presName="txThree" presStyleLbl="node3" presStyleIdx="0" presStyleCnt="4">
        <dgm:presLayoutVars>
          <dgm:chPref val="3"/>
        </dgm:presLayoutVars>
      </dgm:prSet>
      <dgm:spPr/>
      <dgm:t>
        <a:bodyPr/>
        <a:lstStyle/>
        <a:p>
          <a:endParaRPr lang="es-ES"/>
        </a:p>
      </dgm:t>
    </dgm:pt>
    <dgm:pt modelId="{9AA53590-96A1-5142-8E38-98E4EB86838F}" type="pres">
      <dgm:prSet presAssocID="{E60CBA13-BB3A-0948-99A6-458B557C49EB}" presName="parTransThree" presStyleCnt="0"/>
      <dgm:spPr/>
    </dgm:pt>
    <dgm:pt modelId="{F6B59AFD-404E-644D-8A20-407CF845158B}" type="pres">
      <dgm:prSet presAssocID="{E60CBA13-BB3A-0948-99A6-458B557C49EB}" presName="horzThree" presStyleCnt="0"/>
      <dgm:spPr/>
    </dgm:pt>
    <dgm:pt modelId="{C8586929-6A3F-E94E-B138-B3F8CB50D28F}" type="pres">
      <dgm:prSet presAssocID="{BBF13F2A-C706-8641-98F9-084337784A06}" presName="vertFour" presStyleCnt="0">
        <dgm:presLayoutVars>
          <dgm:chPref val="3"/>
        </dgm:presLayoutVars>
      </dgm:prSet>
      <dgm:spPr/>
    </dgm:pt>
    <dgm:pt modelId="{D08CBBE7-714B-084E-981F-F610A359F70C}" type="pres">
      <dgm:prSet presAssocID="{BBF13F2A-C706-8641-98F9-084337784A06}" presName="txFour" presStyleLbl="node4" presStyleIdx="0" presStyleCnt="12">
        <dgm:presLayoutVars>
          <dgm:chPref val="3"/>
        </dgm:presLayoutVars>
      </dgm:prSet>
      <dgm:spPr/>
      <dgm:t>
        <a:bodyPr/>
        <a:lstStyle/>
        <a:p>
          <a:endParaRPr lang="es-ES"/>
        </a:p>
      </dgm:t>
    </dgm:pt>
    <dgm:pt modelId="{5D2D73EC-A90C-DB4C-9E10-DA4ACEB62F22}" type="pres">
      <dgm:prSet presAssocID="{BBF13F2A-C706-8641-98F9-084337784A06}" presName="horzFour" presStyleCnt="0"/>
      <dgm:spPr/>
    </dgm:pt>
    <dgm:pt modelId="{C5783253-FD71-5348-8E74-69C20D3CEC35}" type="pres">
      <dgm:prSet presAssocID="{BCCEE889-EF45-9A42-B27F-74276746718B}" presName="sibSpaceFour" presStyleCnt="0"/>
      <dgm:spPr/>
    </dgm:pt>
    <dgm:pt modelId="{783C87D2-DB40-4145-A99D-D59A9BAC0E39}" type="pres">
      <dgm:prSet presAssocID="{1FDA1D43-8549-9244-8592-B6E36E3C672A}" presName="vertFour" presStyleCnt="0">
        <dgm:presLayoutVars>
          <dgm:chPref val="3"/>
        </dgm:presLayoutVars>
      </dgm:prSet>
      <dgm:spPr/>
    </dgm:pt>
    <dgm:pt modelId="{49A41C37-E5A8-C444-902F-F99D208A0829}" type="pres">
      <dgm:prSet presAssocID="{1FDA1D43-8549-9244-8592-B6E36E3C672A}" presName="txFour" presStyleLbl="node4" presStyleIdx="1" presStyleCnt="12">
        <dgm:presLayoutVars>
          <dgm:chPref val="3"/>
        </dgm:presLayoutVars>
      </dgm:prSet>
      <dgm:spPr/>
      <dgm:t>
        <a:bodyPr/>
        <a:lstStyle/>
        <a:p>
          <a:endParaRPr lang="es-ES"/>
        </a:p>
      </dgm:t>
    </dgm:pt>
    <dgm:pt modelId="{4F650CD4-DB09-8D47-A9A5-BEEB1CE3BE34}" type="pres">
      <dgm:prSet presAssocID="{1FDA1D43-8549-9244-8592-B6E36E3C672A}" presName="horzFour" presStyleCnt="0"/>
      <dgm:spPr/>
    </dgm:pt>
    <dgm:pt modelId="{FB41E87A-512D-1242-87BE-B7BA9ED764D8}" type="pres">
      <dgm:prSet presAssocID="{05D81B15-7244-5646-A359-A7DC1D432341}" presName="sibSpaceFour" presStyleCnt="0"/>
      <dgm:spPr/>
    </dgm:pt>
    <dgm:pt modelId="{89C00865-AFD6-5B40-B206-BD7654D168CB}" type="pres">
      <dgm:prSet presAssocID="{09E11559-4CA4-5045-B482-FF720DE4E633}" presName="vertFour" presStyleCnt="0">
        <dgm:presLayoutVars>
          <dgm:chPref val="3"/>
        </dgm:presLayoutVars>
      </dgm:prSet>
      <dgm:spPr/>
    </dgm:pt>
    <dgm:pt modelId="{FECE3F80-E6D2-5F47-8F77-76CFDEF6A5FC}" type="pres">
      <dgm:prSet presAssocID="{09E11559-4CA4-5045-B482-FF720DE4E633}" presName="txFour" presStyleLbl="node4" presStyleIdx="2" presStyleCnt="12">
        <dgm:presLayoutVars>
          <dgm:chPref val="3"/>
        </dgm:presLayoutVars>
      </dgm:prSet>
      <dgm:spPr/>
      <dgm:t>
        <a:bodyPr/>
        <a:lstStyle/>
        <a:p>
          <a:endParaRPr lang="es-ES"/>
        </a:p>
      </dgm:t>
    </dgm:pt>
    <dgm:pt modelId="{7AF395F7-D1ED-E84E-AD2E-AE374144C479}" type="pres">
      <dgm:prSet presAssocID="{09E11559-4CA4-5045-B482-FF720DE4E633}" presName="horzFour" presStyleCnt="0"/>
      <dgm:spPr/>
    </dgm:pt>
    <dgm:pt modelId="{54768BFF-8E0C-7448-91EF-16C6AB3C50D9}" type="pres">
      <dgm:prSet presAssocID="{E63F3FBB-2890-A241-A427-007ED17C66F0}" presName="sibSpaceThree" presStyleCnt="0"/>
      <dgm:spPr/>
    </dgm:pt>
    <dgm:pt modelId="{76F4D7EC-11F3-0F48-AAE4-EB224B3D5D34}" type="pres">
      <dgm:prSet presAssocID="{BB588C78-847A-9F4C-9841-33CAF807AB75}" presName="vertThree" presStyleCnt="0"/>
      <dgm:spPr/>
    </dgm:pt>
    <dgm:pt modelId="{E07552C9-601A-CC41-8A41-D741622ABEDC}" type="pres">
      <dgm:prSet presAssocID="{BB588C78-847A-9F4C-9841-33CAF807AB75}" presName="txThree" presStyleLbl="node3" presStyleIdx="1" presStyleCnt="4">
        <dgm:presLayoutVars>
          <dgm:chPref val="3"/>
        </dgm:presLayoutVars>
      </dgm:prSet>
      <dgm:spPr/>
      <dgm:t>
        <a:bodyPr/>
        <a:lstStyle/>
        <a:p>
          <a:endParaRPr lang="es-ES"/>
        </a:p>
      </dgm:t>
    </dgm:pt>
    <dgm:pt modelId="{BD4AE746-FAF0-FD44-8799-488BA71A24F1}" type="pres">
      <dgm:prSet presAssocID="{BB588C78-847A-9F4C-9841-33CAF807AB75}" presName="parTransThree" presStyleCnt="0"/>
      <dgm:spPr/>
    </dgm:pt>
    <dgm:pt modelId="{7CD05E66-938C-0D4E-B73A-E4FBBDF350EC}" type="pres">
      <dgm:prSet presAssocID="{BB588C78-847A-9F4C-9841-33CAF807AB75}" presName="horzThree" presStyleCnt="0"/>
      <dgm:spPr/>
    </dgm:pt>
    <dgm:pt modelId="{409D1F8D-5C54-2542-AC01-06871659F1B9}" type="pres">
      <dgm:prSet presAssocID="{81ACF974-A43C-F543-8BC9-AF148864C24D}" presName="vertFour" presStyleCnt="0">
        <dgm:presLayoutVars>
          <dgm:chPref val="3"/>
        </dgm:presLayoutVars>
      </dgm:prSet>
      <dgm:spPr/>
    </dgm:pt>
    <dgm:pt modelId="{99972880-076B-7C48-B724-B133F16D040B}" type="pres">
      <dgm:prSet presAssocID="{81ACF974-A43C-F543-8BC9-AF148864C24D}" presName="txFour" presStyleLbl="node4" presStyleIdx="3" presStyleCnt="12">
        <dgm:presLayoutVars>
          <dgm:chPref val="3"/>
        </dgm:presLayoutVars>
      </dgm:prSet>
      <dgm:spPr/>
      <dgm:t>
        <a:bodyPr/>
        <a:lstStyle/>
        <a:p>
          <a:endParaRPr lang="es-ES"/>
        </a:p>
      </dgm:t>
    </dgm:pt>
    <dgm:pt modelId="{71580CE4-CD72-6945-A9C0-CBD7913BBC9D}" type="pres">
      <dgm:prSet presAssocID="{81ACF974-A43C-F543-8BC9-AF148864C24D}" presName="horzFour" presStyleCnt="0"/>
      <dgm:spPr/>
    </dgm:pt>
    <dgm:pt modelId="{460FFC2B-5C08-2248-BFEA-A92A94AACAF4}" type="pres">
      <dgm:prSet presAssocID="{2A26981C-76FA-1343-B69A-41AE2024BE58}" presName="sibSpaceFour" presStyleCnt="0"/>
      <dgm:spPr/>
    </dgm:pt>
    <dgm:pt modelId="{2F7EE48F-11B6-1742-97D9-DB3C748C7FA8}" type="pres">
      <dgm:prSet presAssocID="{C02DB8F9-36EF-5B4A-8F6A-5F34EF87D72E}" presName="vertFour" presStyleCnt="0">
        <dgm:presLayoutVars>
          <dgm:chPref val="3"/>
        </dgm:presLayoutVars>
      </dgm:prSet>
      <dgm:spPr/>
    </dgm:pt>
    <dgm:pt modelId="{743A453A-3A71-8E4E-9AC1-8DB440894F71}" type="pres">
      <dgm:prSet presAssocID="{C02DB8F9-36EF-5B4A-8F6A-5F34EF87D72E}" presName="txFour" presStyleLbl="node4" presStyleIdx="4" presStyleCnt="12">
        <dgm:presLayoutVars>
          <dgm:chPref val="3"/>
        </dgm:presLayoutVars>
      </dgm:prSet>
      <dgm:spPr/>
      <dgm:t>
        <a:bodyPr/>
        <a:lstStyle/>
        <a:p>
          <a:endParaRPr lang="es-ES"/>
        </a:p>
      </dgm:t>
    </dgm:pt>
    <dgm:pt modelId="{AD1F1E5C-8340-FF4D-AF3B-080FFF95D458}" type="pres">
      <dgm:prSet presAssocID="{C02DB8F9-36EF-5B4A-8F6A-5F34EF87D72E}" presName="horzFour" presStyleCnt="0"/>
      <dgm:spPr/>
    </dgm:pt>
    <dgm:pt modelId="{EDCAB355-C0AE-A54E-8DC4-DF6175F74B2C}" type="pres">
      <dgm:prSet presAssocID="{64A1C276-7726-AC4F-8AAE-E6CCF60D7842}" presName="sibSpaceFour" presStyleCnt="0"/>
      <dgm:spPr/>
    </dgm:pt>
    <dgm:pt modelId="{00311BE0-A7E6-7C47-8ACE-FE77207E4C50}" type="pres">
      <dgm:prSet presAssocID="{E8EB2CF5-8DC6-9B49-9B19-EAC2587B64A3}" presName="vertFour" presStyleCnt="0">
        <dgm:presLayoutVars>
          <dgm:chPref val="3"/>
        </dgm:presLayoutVars>
      </dgm:prSet>
      <dgm:spPr/>
    </dgm:pt>
    <dgm:pt modelId="{B20A11D5-7704-D648-B155-5D0E0CB5631B}" type="pres">
      <dgm:prSet presAssocID="{E8EB2CF5-8DC6-9B49-9B19-EAC2587B64A3}" presName="txFour" presStyleLbl="node4" presStyleIdx="5" presStyleCnt="12">
        <dgm:presLayoutVars>
          <dgm:chPref val="3"/>
        </dgm:presLayoutVars>
      </dgm:prSet>
      <dgm:spPr/>
      <dgm:t>
        <a:bodyPr/>
        <a:lstStyle/>
        <a:p>
          <a:endParaRPr lang="es-ES"/>
        </a:p>
      </dgm:t>
    </dgm:pt>
    <dgm:pt modelId="{3F2EFDC4-2F6A-0544-BE13-D61F66B40F86}" type="pres">
      <dgm:prSet presAssocID="{E8EB2CF5-8DC6-9B49-9B19-EAC2587B64A3}" presName="horzFour" presStyleCnt="0"/>
      <dgm:spPr/>
    </dgm:pt>
    <dgm:pt modelId="{D136A25A-7C58-CB46-906A-F08BFF69C442}" type="pres">
      <dgm:prSet presAssocID="{AE29AD48-D9B5-204D-9B5F-03DD1D598202}" presName="sibSpaceThree" presStyleCnt="0"/>
      <dgm:spPr/>
    </dgm:pt>
    <dgm:pt modelId="{B14EE762-9716-9649-B574-8F650BB74E66}" type="pres">
      <dgm:prSet presAssocID="{199177A7-5A6D-F44F-8006-562D55AB0B19}" presName="vertThree" presStyleCnt="0"/>
      <dgm:spPr/>
    </dgm:pt>
    <dgm:pt modelId="{6A6C1DEA-10CE-8042-8BA2-E2BE156F9FA8}" type="pres">
      <dgm:prSet presAssocID="{199177A7-5A6D-F44F-8006-562D55AB0B19}" presName="txThree" presStyleLbl="node3" presStyleIdx="2" presStyleCnt="4">
        <dgm:presLayoutVars>
          <dgm:chPref val="3"/>
        </dgm:presLayoutVars>
      </dgm:prSet>
      <dgm:spPr/>
      <dgm:t>
        <a:bodyPr/>
        <a:lstStyle/>
        <a:p>
          <a:endParaRPr lang="es-ES"/>
        </a:p>
      </dgm:t>
    </dgm:pt>
    <dgm:pt modelId="{C55D1A3C-867A-7F4A-A703-C8815C958FBB}" type="pres">
      <dgm:prSet presAssocID="{199177A7-5A6D-F44F-8006-562D55AB0B19}" presName="parTransThree" presStyleCnt="0"/>
      <dgm:spPr/>
    </dgm:pt>
    <dgm:pt modelId="{E336C469-57A8-2A43-9B76-2C632BBAD409}" type="pres">
      <dgm:prSet presAssocID="{199177A7-5A6D-F44F-8006-562D55AB0B19}" presName="horzThree" presStyleCnt="0"/>
      <dgm:spPr/>
    </dgm:pt>
    <dgm:pt modelId="{A64FF495-3777-AA41-84AB-E5BF44580DEC}" type="pres">
      <dgm:prSet presAssocID="{8E82BB61-49AA-3842-82DA-332136669410}" presName="vertFour" presStyleCnt="0">
        <dgm:presLayoutVars>
          <dgm:chPref val="3"/>
        </dgm:presLayoutVars>
      </dgm:prSet>
      <dgm:spPr/>
    </dgm:pt>
    <dgm:pt modelId="{53718505-0708-7446-8168-560FA4559739}" type="pres">
      <dgm:prSet presAssocID="{8E82BB61-49AA-3842-82DA-332136669410}" presName="txFour" presStyleLbl="node4" presStyleIdx="6" presStyleCnt="12">
        <dgm:presLayoutVars>
          <dgm:chPref val="3"/>
        </dgm:presLayoutVars>
      </dgm:prSet>
      <dgm:spPr/>
      <dgm:t>
        <a:bodyPr/>
        <a:lstStyle/>
        <a:p>
          <a:endParaRPr lang="es-ES"/>
        </a:p>
      </dgm:t>
    </dgm:pt>
    <dgm:pt modelId="{5DCE32C0-4456-2643-B3C8-DA2DFEB9CDCB}" type="pres">
      <dgm:prSet presAssocID="{8E82BB61-49AA-3842-82DA-332136669410}" presName="horzFour" presStyleCnt="0"/>
      <dgm:spPr/>
    </dgm:pt>
    <dgm:pt modelId="{1EFC07DC-9608-584A-A320-6EFCAC57FAC6}" type="pres">
      <dgm:prSet presAssocID="{FECE0995-8559-6141-9821-7A506E383083}" presName="sibSpaceFour" presStyleCnt="0"/>
      <dgm:spPr/>
    </dgm:pt>
    <dgm:pt modelId="{4CD09724-B9FA-D44C-B10C-31411E5AB7E6}" type="pres">
      <dgm:prSet presAssocID="{B9C3DC19-3A18-854A-A0B3-72058CF96C97}" presName="vertFour" presStyleCnt="0">
        <dgm:presLayoutVars>
          <dgm:chPref val="3"/>
        </dgm:presLayoutVars>
      </dgm:prSet>
      <dgm:spPr/>
    </dgm:pt>
    <dgm:pt modelId="{BC71F93D-A031-E54D-8B3D-F9A5F8E302DA}" type="pres">
      <dgm:prSet presAssocID="{B9C3DC19-3A18-854A-A0B3-72058CF96C97}" presName="txFour" presStyleLbl="node4" presStyleIdx="7" presStyleCnt="12">
        <dgm:presLayoutVars>
          <dgm:chPref val="3"/>
        </dgm:presLayoutVars>
      </dgm:prSet>
      <dgm:spPr/>
      <dgm:t>
        <a:bodyPr/>
        <a:lstStyle/>
        <a:p>
          <a:endParaRPr lang="es-ES"/>
        </a:p>
      </dgm:t>
    </dgm:pt>
    <dgm:pt modelId="{F892E510-4D7D-7B48-9602-2EB3DF152497}" type="pres">
      <dgm:prSet presAssocID="{B9C3DC19-3A18-854A-A0B3-72058CF96C97}" presName="horzFour" presStyleCnt="0"/>
      <dgm:spPr/>
    </dgm:pt>
    <dgm:pt modelId="{2F7A9B3F-E931-5646-A873-615A8B69577D}" type="pres">
      <dgm:prSet presAssocID="{1CB39EF5-914E-574D-A497-E84F2AE1C201}" presName="sibSpaceFour" presStyleCnt="0"/>
      <dgm:spPr/>
    </dgm:pt>
    <dgm:pt modelId="{4F0150FB-10E2-5A4D-A4E5-5A6F056DA509}" type="pres">
      <dgm:prSet presAssocID="{1D53C27F-CAEB-054F-95A3-D5859551526D}" presName="vertFour" presStyleCnt="0">
        <dgm:presLayoutVars>
          <dgm:chPref val="3"/>
        </dgm:presLayoutVars>
      </dgm:prSet>
      <dgm:spPr/>
    </dgm:pt>
    <dgm:pt modelId="{2ECB1DB0-838A-3E49-A8F5-D7890D77C94E}" type="pres">
      <dgm:prSet presAssocID="{1D53C27F-CAEB-054F-95A3-D5859551526D}" presName="txFour" presStyleLbl="node4" presStyleIdx="8" presStyleCnt="12">
        <dgm:presLayoutVars>
          <dgm:chPref val="3"/>
        </dgm:presLayoutVars>
      </dgm:prSet>
      <dgm:spPr/>
      <dgm:t>
        <a:bodyPr/>
        <a:lstStyle/>
        <a:p>
          <a:endParaRPr lang="es-ES"/>
        </a:p>
      </dgm:t>
    </dgm:pt>
    <dgm:pt modelId="{5A3B68AF-C8C8-5442-AE17-2CC94BD9AC17}" type="pres">
      <dgm:prSet presAssocID="{1D53C27F-CAEB-054F-95A3-D5859551526D}" presName="horzFour" presStyleCnt="0"/>
      <dgm:spPr/>
    </dgm:pt>
    <dgm:pt modelId="{04C2C551-0272-0B41-B236-AB44D396F4AF}" type="pres">
      <dgm:prSet presAssocID="{EEBCEFF8-95FF-A746-9005-25FBB4003752}" presName="sibSpaceThree" presStyleCnt="0"/>
      <dgm:spPr/>
    </dgm:pt>
    <dgm:pt modelId="{33D186F6-59FF-A440-AFF6-6CEF9965FE89}" type="pres">
      <dgm:prSet presAssocID="{9339F2D9-A8F2-1E4C-A25F-AFA2ECDE52E0}" presName="vertThree" presStyleCnt="0"/>
      <dgm:spPr/>
    </dgm:pt>
    <dgm:pt modelId="{C300E95B-36DE-C748-BCF4-E51E57BF6710}" type="pres">
      <dgm:prSet presAssocID="{9339F2D9-A8F2-1E4C-A25F-AFA2ECDE52E0}" presName="txThree" presStyleLbl="node3" presStyleIdx="3" presStyleCnt="4">
        <dgm:presLayoutVars>
          <dgm:chPref val="3"/>
        </dgm:presLayoutVars>
      </dgm:prSet>
      <dgm:spPr/>
      <dgm:t>
        <a:bodyPr/>
        <a:lstStyle/>
        <a:p>
          <a:endParaRPr lang="es-ES"/>
        </a:p>
      </dgm:t>
    </dgm:pt>
    <dgm:pt modelId="{BB8636D3-0FC9-C14C-8AB0-21F50DD6BE82}" type="pres">
      <dgm:prSet presAssocID="{9339F2D9-A8F2-1E4C-A25F-AFA2ECDE52E0}" presName="parTransThree" presStyleCnt="0"/>
      <dgm:spPr/>
    </dgm:pt>
    <dgm:pt modelId="{B497773E-7055-9943-A11F-AB75E7F63D83}" type="pres">
      <dgm:prSet presAssocID="{9339F2D9-A8F2-1E4C-A25F-AFA2ECDE52E0}" presName="horzThree" presStyleCnt="0"/>
      <dgm:spPr/>
    </dgm:pt>
    <dgm:pt modelId="{76351B5A-84A2-274A-8773-DF3B7047E463}" type="pres">
      <dgm:prSet presAssocID="{CD8F4929-DBA1-8446-8279-F30737B12D10}" presName="vertFour" presStyleCnt="0">
        <dgm:presLayoutVars>
          <dgm:chPref val="3"/>
        </dgm:presLayoutVars>
      </dgm:prSet>
      <dgm:spPr/>
    </dgm:pt>
    <dgm:pt modelId="{CD160AC8-FB3D-7B4F-8BD8-4719E775CDF2}" type="pres">
      <dgm:prSet presAssocID="{CD8F4929-DBA1-8446-8279-F30737B12D10}" presName="txFour" presStyleLbl="node4" presStyleIdx="9" presStyleCnt="12">
        <dgm:presLayoutVars>
          <dgm:chPref val="3"/>
        </dgm:presLayoutVars>
      </dgm:prSet>
      <dgm:spPr/>
      <dgm:t>
        <a:bodyPr/>
        <a:lstStyle/>
        <a:p>
          <a:endParaRPr lang="es-ES"/>
        </a:p>
      </dgm:t>
    </dgm:pt>
    <dgm:pt modelId="{C7312A84-FABB-D14C-AEB6-45B85D5B127D}" type="pres">
      <dgm:prSet presAssocID="{CD8F4929-DBA1-8446-8279-F30737B12D10}" presName="horzFour" presStyleCnt="0"/>
      <dgm:spPr/>
    </dgm:pt>
    <dgm:pt modelId="{D016BA2A-C15F-044C-B768-54F2BB5205F0}" type="pres">
      <dgm:prSet presAssocID="{BEC6F83E-7E1C-7644-9DB8-4F5D5E4F6B0B}" presName="sibSpaceFour" presStyleCnt="0"/>
      <dgm:spPr/>
    </dgm:pt>
    <dgm:pt modelId="{9CC92BAB-95DA-7E40-816B-91F7BB1A5096}" type="pres">
      <dgm:prSet presAssocID="{827D66C2-9D38-C543-BAD5-0A0000CC255F}" presName="vertFour" presStyleCnt="0">
        <dgm:presLayoutVars>
          <dgm:chPref val="3"/>
        </dgm:presLayoutVars>
      </dgm:prSet>
      <dgm:spPr/>
    </dgm:pt>
    <dgm:pt modelId="{D49AD50E-F829-2C4E-94AA-773E5FE1D26C}" type="pres">
      <dgm:prSet presAssocID="{827D66C2-9D38-C543-BAD5-0A0000CC255F}" presName="txFour" presStyleLbl="node4" presStyleIdx="10" presStyleCnt="12">
        <dgm:presLayoutVars>
          <dgm:chPref val="3"/>
        </dgm:presLayoutVars>
      </dgm:prSet>
      <dgm:spPr/>
      <dgm:t>
        <a:bodyPr/>
        <a:lstStyle/>
        <a:p>
          <a:endParaRPr lang="es-ES"/>
        </a:p>
      </dgm:t>
    </dgm:pt>
    <dgm:pt modelId="{C6EC817C-A9A7-624F-A4A5-3B62AFA26B23}" type="pres">
      <dgm:prSet presAssocID="{827D66C2-9D38-C543-BAD5-0A0000CC255F}" presName="horzFour" presStyleCnt="0"/>
      <dgm:spPr/>
    </dgm:pt>
    <dgm:pt modelId="{D2016BE8-B631-9247-8AE7-25BCB94DA35B}" type="pres">
      <dgm:prSet presAssocID="{DB9E5AB7-3D38-2047-B008-6BC073501AE4}" presName="sibSpaceFour" presStyleCnt="0"/>
      <dgm:spPr/>
    </dgm:pt>
    <dgm:pt modelId="{372CA6BE-3E8A-4443-A33F-0EC69A78609C}" type="pres">
      <dgm:prSet presAssocID="{9C476BB7-B623-1E4B-B50C-0003B95CA253}" presName="vertFour" presStyleCnt="0">
        <dgm:presLayoutVars>
          <dgm:chPref val="3"/>
        </dgm:presLayoutVars>
      </dgm:prSet>
      <dgm:spPr/>
    </dgm:pt>
    <dgm:pt modelId="{2E77F46B-7563-2C4D-A65C-95F0212A0DC9}" type="pres">
      <dgm:prSet presAssocID="{9C476BB7-B623-1E4B-B50C-0003B95CA253}" presName="txFour" presStyleLbl="node4" presStyleIdx="11" presStyleCnt="12">
        <dgm:presLayoutVars>
          <dgm:chPref val="3"/>
        </dgm:presLayoutVars>
      </dgm:prSet>
      <dgm:spPr/>
      <dgm:t>
        <a:bodyPr/>
        <a:lstStyle/>
        <a:p>
          <a:endParaRPr lang="es-ES"/>
        </a:p>
      </dgm:t>
    </dgm:pt>
    <dgm:pt modelId="{E3B46B2A-60C2-4144-8CBA-94F871EEE5E0}" type="pres">
      <dgm:prSet presAssocID="{9C476BB7-B623-1E4B-B50C-0003B95CA253}" presName="horzFour" presStyleCnt="0"/>
      <dgm:spPr/>
    </dgm:pt>
  </dgm:ptLst>
  <dgm:cxnLst>
    <dgm:cxn modelId="{580F4238-6785-7B42-8374-B6EDE82689C7}" srcId="{E60CBA13-BB3A-0948-99A6-458B557C49EB}" destId="{BBF13F2A-C706-8641-98F9-084337784A06}" srcOrd="0" destOrd="0" parTransId="{DC7723F2-02C7-064C-B2DD-48E86079E640}" sibTransId="{BCCEE889-EF45-9A42-B27F-74276746718B}"/>
    <dgm:cxn modelId="{4EC75F68-EAF4-2140-ACFD-48D2CE353695}" srcId="{E60CBA13-BB3A-0948-99A6-458B557C49EB}" destId="{09E11559-4CA4-5045-B482-FF720DE4E633}" srcOrd="2" destOrd="0" parTransId="{BFA24AFB-8FB9-344A-81C1-6FB76283E611}" sibTransId="{605500EA-59C1-AE41-BC82-159C69E9681B}"/>
    <dgm:cxn modelId="{32A65CBE-4211-7144-BACF-6CDDF1566890}" type="presOf" srcId="{81ACF974-A43C-F543-8BC9-AF148864C24D}" destId="{99972880-076B-7C48-B724-B133F16D040B}" srcOrd="0" destOrd="0" presId="urn:microsoft.com/office/officeart/2005/8/layout/hierarchy4"/>
    <dgm:cxn modelId="{E9CF57E8-8FF9-7B4A-BF5D-23D3D6C7886C}" srcId="{E854DCAD-E517-154F-939B-45DC6B92602E}" destId="{CFEED240-8561-7D47-AD2E-1F6D5F9199A4}" srcOrd="0" destOrd="0" parTransId="{2C86C1D7-4B44-BB47-87A1-8C85B85803A8}" sibTransId="{57AFAC75-1E5B-294A-B482-BF234446E47C}"/>
    <dgm:cxn modelId="{85A9A3A1-1347-9444-9975-0F3DE0EA31D7}" type="presOf" srcId="{E8EB2CF5-8DC6-9B49-9B19-EAC2587B64A3}" destId="{B20A11D5-7704-D648-B155-5D0E0CB5631B}" srcOrd="0" destOrd="0" presId="urn:microsoft.com/office/officeart/2005/8/layout/hierarchy4"/>
    <dgm:cxn modelId="{A8967D27-C75D-1046-8F82-E489D646870A}" type="presOf" srcId="{B9C3DC19-3A18-854A-A0B3-72058CF96C97}" destId="{BC71F93D-A031-E54D-8B3D-F9A5F8E302DA}" srcOrd="0" destOrd="0" presId="urn:microsoft.com/office/officeart/2005/8/layout/hierarchy4"/>
    <dgm:cxn modelId="{D05C36B7-0FEA-7F45-90CD-73480FFF96BC}" srcId="{9DDBAC7C-62B3-404C-8EB4-D8B3CF876E44}" destId="{E854DCAD-E517-154F-939B-45DC6B92602E}" srcOrd="0" destOrd="0" parTransId="{FA93F1EB-12BE-A345-891D-18D91F26BD05}" sibTransId="{342DEC39-4FEF-D44E-847A-C90188F3B0E6}"/>
    <dgm:cxn modelId="{70F77E30-249C-524F-AA6E-A6A43A70C9EA}" srcId="{BB588C78-847A-9F4C-9841-33CAF807AB75}" destId="{C02DB8F9-36EF-5B4A-8F6A-5F34EF87D72E}" srcOrd="1" destOrd="0" parTransId="{1E665909-2E07-4449-BC09-83D8366B8419}" sibTransId="{64A1C276-7726-AC4F-8AAE-E6CCF60D7842}"/>
    <dgm:cxn modelId="{7AB644DA-7CEB-7C49-860B-16397757B9D9}" type="presOf" srcId="{C02DB8F9-36EF-5B4A-8F6A-5F34EF87D72E}" destId="{743A453A-3A71-8E4E-9AC1-8DB440894F71}" srcOrd="0" destOrd="0" presId="urn:microsoft.com/office/officeart/2005/8/layout/hierarchy4"/>
    <dgm:cxn modelId="{4A8A4E29-0300-DC4E-B2A4-8562C3E93FDA}" srcId="{199177A7-5A6D-F44F-8006-562D55AB0B19}" destId="{8E82BB61-49AA-3842-82DA-332136669410}" srcOrd="0" destOrd="0" parTransId="{38BDEF45-7DE0-3243-A96F-B2EB5A741EDE}" sibTransId="{FECE0995-8559-6141-9821-7A506E383083}"/>
    <dgm:cxn modelId="{1ADF6623-B4A2-8742-93A0-BFDDCCD914FC}" srcId="{BB588C78-847A-9F4C-9841-33CAF807AB75}" destId="{E8EB2CF5-8DC6-9B49-9B19-EAC2587B64A3}" srcOrd="2" destOrd="0" parTransId="{5382F6E9-94A6-0940-A34F-1FBFB5F3B8E4}" sibTransId="{21A3B061-4BFC-EB42-BF0A-327674129915}"/>
    <dgm:cxn modelId="{EB04092D-9653-0346-BB9B-444ED7322AEF}" type="presOf" srcId="{199177A7-5A6D-F44F-8006-562D55AB0B19}" destId="{6A6C1DEA-10CE-8042-8BA2-E2BE156F9FA8}" srcOrd="0" destOrd="0" presId="urn:microsoft.com/office/officeart/2005/8/layout/hierarchy4"/>
    <dgm:cxn modelId="{442F8B3C-5AE6-194F-AD2E-B386A331ABA2}" type="presOf" srcId="{E854DCAD-E517-154F-939B-45DC6B92602E}" destId="{3AD2E11C-A497-C24E-9BE8-61D91115E20A}" srcOrd="0" destOrd="0" presId="urn:microsoft.com/office/officeart/2005/8/layout/hierarchy4"/>
    <dgm:cxn modelId="{C87CB189-4DB5-8A4C-8E1A-4D45A320F5E1}" type="presOf" srcId="{CFEED240-8561-7D47-AD2E-1F6D5F9199A4}" destId="{B433234F-BEBA-2B40-AE45-7E056C848BDE}" srcOrd="0" destOrd="0" presId="urn:microsoft.com/office/officeart/2005/8/layout/hierarchy4"/>
    <dgm:cxn modelId="{F1712736-4D47-3941-A971-F6DBDC00F521}" type="presOf" srcId="{9C476BB7-B623-1E4B-B50C-0003B95CA253}" destId="{2E77F46B-7563-2C4D-A65C-95F0212A0DC9}" srcOrd="0" destOrd="0" presId="urn:microsoft.com/office/officeart/2005/8/layout/hierarchy4"/>
    <dgm:cxn modelId="{40B68EC8-2D4C-2449-BE9F-0865F0C0CA60}" type="presOf" srcId="{E60CBA13-BB3A-0948-99A6-458B557C49EB}" destId="{6E2AE09C-B0B4-D347-8B0E-0A81CE18FE97}" srcOrd="0" destOrd="0" presId="urn:microsoft.com/office/officeart/2005/8/layout/hierarchy4"/>
    <dgm:cxn modelId="{F5B36B73-B383-1F43-83CD-BA0EB3CF3A90}" srcId="{BB588C78-847A-9F4C-9841-33CAF807AB75}" destId="{81ACF974-A43C-F543-8BC9-AF148864C24D}" srcOrd="0" destOrd="0" parTransId="{888523B5-CCA9-5D4E-AA13-8DB1B97906D9}" sibTransId="{2A26981C-76FA-1343-B69A-41AE2024BE58}"/>
    <dgm:cxn modelId="{D2957CFC-7636-8643-814A-FAE4EE5A59E8}" type="presOf" srcId="{BBF13F2A-C706-8641-98F9-084337784A06}" destId="{D08CBBE7-714B-084E-981F-F610A359F70C}" srcOrd="0" destOrd="0" presId="urn:microsoft.com/office/officeart/2005/8/layout/hierarchy4"/>
    <dgm:cxn modelId="{0960E575-3B32-FF4B-82ED-F36A953D8BDF}" srcId="{CFEED240-8561-7D47-AD2E-1F6D5F9199A4}" destId="{E60CBA13-BB3A-0948-99A6-458B557C49EB}" srcOrd="0" destOrd="0" parTransId="{4122D7C7-51C7-6246-8C50-EF8F04D7BDF7}" sibTransId="{E63F3FBB-2890-A241-A427-007ED17C66F0}"/>
    <dgm:cxn modelId="{8DDFA905-A669-3949-84D4-EC2D16A19437}" srcId="{199177A7-5A6D-F44F-8006-562D55AB0B19}" destId="{1D53C27F-CAEB-054F-95A3-D5859551526D}" srcOrd="2" destOrd="0" parTransId="{297F924D-9D5D-364E-9829-EB55BD4A989B}" sibTransId="{9C27D907-8F2E-D246-8934-7DEDBF7BC4DD}"/>
    <dgm:cxn modelId="{711ECBCA-4123-9C44-A38A-5078368A5AA0}" type="presOf" srcId="{9339F2D9-A8F2-1E4C-A25F-AFA2ECDE52E0}" destId="{C300E95B-36DE-C748-BCF4-E51E57BF6710}" srcOrd="0" destOrd="0" presId="urn:microsoft.com/office/officeart/2005/8/layout/hierarchy4"/>
    <dgm:cxn modelId="{66ACED01-262F-6B4F-B17F-94B533EA74AF}" srcId="{9339F2D9-A8F2-1E4C-A25F-AFA2ECDE52E0}" destId="{827D66C2-9D38-C543-BAD5-0A0000CC255F}" srcOrd="1" destOrd="0" parTransId="{36413742-CDD1-9E45-8F49-5054BED6C6CE}" sibTransId="{DB9E5AB7-3D38-2047-B008-6BC073501AE4}"/>
    <dgm:cxn modelId="{906E201B-EF0E-C944-BA99-61DCAB7BAB82}" srcId="{E60CBA13-BB3A-0948-99A6-458B557C49EB}" destId="{1FDA1D43-8549-9244-8592-B6E36E3C672A}" srcOrd="1" destOrd="0" parTransId="{459A95EC-45B0-284E-AD2E-9AC22472C79A}" sibTransId="{05D81B15-7244-5646-A359-A7DC1D432341}"/>
    <dgm:cxn modelId="{8D60680C-744E-BD43-87AD-C2374BC3DFE0}" type="presOf" srcId="{09E11559-4CA4-5045-B482-FF720DE4E633}" destId="{FECE3F80-E6D2-5F47-8F77-76CFDEF6A5FC}" srcOrd="0" destOrd="0" presId="urn:microsoft.com/office/officeart/2005/8/layout/hierarchy4"/>
    <dgm:cxn modelId="{F1B98557-ABD1-9F44-8BA3-06B5871E5215}" type="presOf" srcId="{CD8F4929-DBA1-8446-8279-F30737B12D10}" destId="{CD160AC8-FB3D-7B4F-8BD8-4719E775CDF2}" srcOrd="0" destOrd="0" presId="urn:microsoft.com/office/officeart/2005/8/layout/hierarchy4"/>
    <dgm:cxn modelId="{1FA6A37E-3950-2149-AE8C-7A54789E0FFA}" srcId="{CFEED240-8561-7D47-AD2E-1F6D5F9199A4}" destId="{9339F2D9-A8F2-1E4C-A25F-AFA2ECDE52E0}" srcOrd="3" destOrd="0" parTransId="{7188D9E1-A937-D243-B075-07AC926E5D44}" sibTransId="{392B69BA-EDB8-CD46-9F6A-8A547226CFBE}"/>
    <dgm:cxn modelId="{AAA594D8-8435-2142-9075-852F50BCD2E9}" type="presOf" srcId="{9DDBAC7C-62B3-404C-8EB4-D8B3CF876E44}" destId="{E49B5DE2-1C08-5F47-82C2-5A81B31DEE1C}" srcOrd="0" destOrd="0" presId="urn:microsoft.com/office/officeart/2005/8/layout/hierarchy4"/>
    <dgm:cxn modelId="{EE6E6743-8215-AE4A-8672-EE71C3AC878C}" type="presOf" srcId="{8E82BB61-49AA-3842-82DA-332136669410}" destId="{53718505-0708-7446-8168-560FA4559739}" srcOrd="0" destOrd="0" presId="urn:microsoft.com/office/officeart/2005/8/layout/hierarchy4"/>
    <dgm:cxn modelId="{759F25ED-AA3C-834E-9E7D-39977F365C97}" type="presOf" srcId="{1FDA1D43-8549-9244-8592-B6E36E3C672A}" destId="{49A41C37-E5A8-C444-902F-F99D208A0829}" srcOrd="0" destOrd="0" presId="urn:microsoft.com/office/officeart/2005/8/layout/hierarchy4"/>
    <dgm:cxn modelId="{D39E72CF-A452-9F4E-97B1-68C6F969C609}" type="presOf" srcId="{1D53C27F-CAEB-054F-95A3-D5859551526D}" destId="{2ECB1DB0-838A-3E49-A8F5-D7890D77C94E}" srcOrd="0" destOrd="0" presId="urn:microsoft.com/office/officeart/2005/8/layout/hierarchy4"/>
    <dgm:cxn modelId="{E5A83438-B483-FC4F-9A23-4BCA3E667DD6}" srcId="{CFEED240-8561-7D47-AD2E-1F6D5F9199A4}" destId="{BB588C78-847A-9F4C-9841-33CAF807AB75}" srcOrd="1" destOrd="0" parTransId="{DD65C539-1282-904A-87A4-E5F7D82DEA3D}" sibTransId="{AE29AD48-D9B5-204D-9B5F-03DD1D598202}"/>
    <dgm:cxn modelId="{AAFC6119-C5B1-6643-BA5B-FFF4D98CD54A}" type="presOf" srcId="{827D66C2-9D38-C543-BAD5-0A0000CC255F}" destId="{D49AD50E-F829-2C4E-94AA-773E5FE1D26C}" srcOrd="0" destOrd="0" presId="urn:microsoft.com/office/officeart/2005/8/layout/hierarchy4"/>
    <dgm:cxn modelId="{EF4FEA97-D76F-3743-96DE-ECDF66B07989}" srcId="{9339F2D9-A8F2-1E4C-A25F-AFA2ECDE52E0}" destId="{9C476BB7-B623-1E4B-B50C-0003B95CA253}" srcOrd="2" destOrd="0" parTransId="{98B2B15A-7853-514E-9D71-5733892C2E10}" sibTransId="{B6ED91E1-11AC-4B41-A5E4-CA7EAE4024F3}"/>
    <dgm:cxn modelId="{B23683D0-6B57-2C49-99F1-2BD9E57A6E08}" srcId="{199177A7-5A6D-F44F-8006-562D55AB0B19}" destId="{B9C3DC19-3A18-854A-A0B3-72058CF96C97}" srcOrd="1" destOrd="0" parTransId="{4C64073E-63E6-6143-86CA-CD6A3D0FB7DE}" sibTransId="{1CB39EF5-914E-574D-A497-E84F2AE1C201}"/>
    <dgm:cxn modelId="{160B599A-B4DF-3C46-9450-D0654841D6AD}" type="presOf" srcId="{BB588C78-847A-9F4C-9841-33CAF807AB75}" destId="{E07552C9-601A-CC41-8A41-D741622ABEDC}" srcOrd="0" destOrd="0" presId="urn:microsoft.com/office/officeart/2005/8/layout/hierarchy4"/>
    <dgm:cxn modelId="{6C9416B3-FEB1-1046-9661-3FFD26B848B5}" srcId="{9339F2D9-A8F2-1E4C-A25F-AFA2ECDE52E0}" destId="{CD8F4929-DBA1-8446-8279-F30737B12D10}" srcOrd="0" destOrd="0" parTransId="{934F8A8F-2EF2-E244-A3C1-C020E366DB30}" sibTransId="{BEC6F83E-7E1C-7644-9DB8-4F5D5E4F6B0B}"/>
    <dgm:cxn modelId="{5AFFC873-2AEF-5141-955F-B6E28A79E0AC}" srcId="{CFEED240-8561-7D47-AD2E-1F6D5F9199A4}" destId="{199177A7-5A6D-F44F-8006-562D55AB0B19}" srcOrd="2" destOrd="0" parTransId="{968D5746-9C54-EE4B-B47C-A1C7D91D8E5D}" sibTransId="{EEBCEFF8-95FF-A746-9005-25FBB4003752}"/>
    <dgm:cxn modelId="{95B8B23F-6553-9747-9D51-A4683A58EE9F}" type="presParOf" srcId="{E49B5DE2-1C08-5F47-82C2-5A81B31DEE1C}" destId="{385EA35C-4652-6B47-A90F-B43477CD344F}" srcOrd="0" destOrd="0" presId="urn:microsoft.com/office/officeart/2005/8/layout/hierarchy4"/>
    <dgm:cxn modelId="{F2764CB1-12A7-9C45-AF7D-81AE25531F78}" type="presParOf" srcId="{385EA35C-4652-6B47-A90F-B43477CD344F}" destId="{3AD2E11C-A497-C24E-9BE8-61D91115E20A}" srcOrd="0" destOrd="0" presId="urn:microsoft.com/office/officeart/2005/8/layout/hierarchy4"/>
    <dgm:cxn modelId="{108DD098-E823-9B48-B42D-794F55BAF094}" type="presParOf" srcId="{385EA35C-4652-6B47-A90F-B43477CD344F}" destId="{1A3EA22F-E50F-534F-BE6A-568C1C5E1F36}" srcOrd="1" destOrd="0" presId="urn:microsoft.com/office/officeart/2005/8/layout/hierarchy4"/>
    <dgm:cxn modelId="{CECCC5C5-8BDB-C640-AF70-4AA9A3A81081}" type="presParOf" srcId="{385EA35C-4652-6B47-A90F-B43477CD344F}" destId="{AAD767CE-7180-1C47-8F0D-DAEC3DD94C6E}" srcOrd="2" destOrd="0" presId="urn:microsoft.com/office/officeart/2005/8/layout/hierarchy4"/>
    <dgm:cxn modelId="{653296CA-A5F6-DE4C-88DF-1F3BDEE36733}" type="presParOf" srcId="{AAD767CE-7180-1C47-8F0D-DAEC3DD94C6E}" destId="{80476D76-EB51-B34A-B251-8D554D98C790}" srcOrd="0" destOrd="0" presId="urn:microsoft.com/office/officeart/2005/8/layout/hierarchy4"/>
    <dgm:cxn modelId="{724D3380-5A30-5142-841C-5C42B991A126}" type="presParOf" srcId="{80476D76-EB51-B34A-B251-8D554D98C790}" destId="{B433234F-BEBA-2B40-AE45-7E056C848BDE}" srcOrd="0" destOrd="0" presId="urn:microsoft.com/office/officeart/2005/8/layout/hierarchy4"/>
    <dgm:cxn modelId="{D8C9285E-CA53-D64C-B5A1-9CD782F59831}" type="presParOf" srcId="{80476D76-EB51-B34A-B251-8D554D98C790}" destId="{99C09623-8A6B-0244-87B9-872B259A6DBE}" srcOrd="1" destOrd="0" presId="urn:microsoft.com/office/officeart/2005/8/layout/hierarchy4"/>
    <dgm:cxn modelId="{E8223C66-1591-1D48-9963-D48ED5B828A5}" type="presParOf" srcId="{80476D76-EB51-B34A-B251-8D554D98C790}" destId="{8DEB135D-5935-784E-8322-C94E59D99BC1}" srcOrd="2" destOrd="0" presId="urn:microsoft.com/office/officeart/2005/8/layout/hierarchy4"/>
    <dgm:cxn modelId="{2EA063EB-3F63-EC4A-8DCE-4BB5509E9F7A}" type="presParOf" srcId="{8DEB135D-5935-784E-8322-C94E59D99BC1}" destId="{C919CA70-0BE8-4A4C-896C-EC5B63600B5D}" srcOrd="0" destOrd="0" presId="urn:microsoft.com/office/officeart/2005/8/layout/hierarchy4"/>
    <dgm:cxn modelId="{F3CD513F-A37B-4C40-A667-ED4DFCABA869}" type="presParOf" srcId="{C919CA70-0BE8-4A4C-896C-EC5B63600B5D}" destId="{6E2AE09C-B0B4-D347-8B0E-0A81CE18FE97}" srcOrd="0" destOrd="0" presId="urn:microsoft.com/office/officeart/2005/8/layout/hierarchy4"/>
    <dgm:cxn modelId="{849288FE-81FD-034B-AAC5-C21C2F992155}" type="presParOf" srcId="{C919CA70-0BE8-4A4C-896C-EC5B63600B5D}" destId="{9AA53590-96A1-5142-8E38-98E4EB86838F}" srcOrd="1" destOrd="0" presId="urn:microsoft.com/office/officeart/2005/8/layout/hierarchy4"/>
    <dgm:cxn modelId="{5878F221-10F6-D04F-BA31-57AEBE32390E}" type="presParOf" srcId="{C919CA70-0BE8-4A4C-896C-EC5B63600B5D}" destId="{F6B59AFD-404E-644D-8A20-407CF845158B}" srcOrd="2" destOrd="0" presId="urn:microsoft.com/office/officeart/2005/8/layout/hierarchy4"/>
    <dgm:cxn modelId="{99DF35E7-A9F5-644D-8262-8E050FBB9B66}" type="presParOf" srcId="{F6B59AFD-404E-644D-8A20-407CF845158B}" destId="{C8586929-6A3F-E94E-B138-B3F8CB50D28F}" srcOrd="0" destOrd="0" presId="urn:microsoft.com/office/officeart/2005/8/layout/hierarchy4"/>
    <dgm:cxn modelId="{59D333F0-B653-8E49-B196-8A056BD2BE48}" type="presParOf" srcId="{C8586929-6A3F-E94E-B138-B3F8CB50D28F}" destId="{D08CBBE7-714B-084E-981F-F610A359F70C}" srcOrd="0" destOrd="0" presId="urn:microsoft.com/office/officeart/2005/8/layout/hierarchy4"/>
    <dgm:cxn modelId="{E67F6624-CECD-6241-862A-E6222D6555E7}" type="presParOf" srcId="{C8586929-6A3F-E94E-B138-B3F8CB50D28F}" destId="{5D2D73EC-A90C-DB4C-9E10-DA4ACEB62F22}" srcOrd="1" destOrd="0" presId="urn:microsoft.com/office/officeart/2005/8/layout/hierarchy4"/>
    <dgm:cxn modelId="{656574E2-BB85-894D-8A3F-3F796297FBC5}" type="presParOf" srcId="{F6B59AFD-404E-644D-8A20-407CF845158B}" destId="{C5783253-FD71-5348-8E74-69C20D3CEC35}" srcOrd="1" destOrd="0" presId="urn:microsoft.com/office/officeart/2005/8/layout/hierarchy4"/>
    <dgm:cxn modelId="{04B0346D-3D24-0A48-B94A-EECB798FA2B8}" type="presParOf" srcId="{F6B59AFD-404E-644D-8A20-407CF845158B}" destId="{783C87D2-DB40-4145-A99D-D59A9BAC0E39}" srcOrd="2" destOrd="0" presId="urn:microsoft.com/office/officeart/2005/8/layout/hierarchy4"/>
    <dgm:cxn modelId="{13B309D3-F3A4-D347-9A42-B3E4A4CDBB93}" type="presParOf" srcId="{783C87D2-DB40-4145-A99D-D59A9BAC0E39}" destId="{49A41C37-E5A8-C444-902F-F99D208A0829}" srcOrd="0" destOrd="0" presId="urn:microsoft.com/office/officeart/2005/8/layout/hierarchy4"/>
    <dgm:cxn modelId="{54D96E7D-6413-2A4A-9655-C2041983A3C9}" type="presParOf" srcId="{783C87D2-DB40-4145-A99D-D59A9BAC0E39}" destId="{4F650CD4-DB09-8D47-A9A5-BEEB1CE3BE34}" srcOrd="1" destOrd="0" presId="urn:microsoft.com/office/officeart/2005/8/layout/hierarchy4"/>
    <dgm:cxn modelId="{892681FD-44E7-C340-8601-9F719FC7F8C2}" type="presParOf" srcId="{F6B59AFD-404E-644D-8A20-407CF845158B}" destId="{FB41E87A-512D-1242-87BE-B7BA9ED764D8}" srcOrd="3" destOrd="0" presId="urn:microsoft.com/office/officeart/2005/8/layout/hierarchy4"/>
    <dgm:cxn modelId="{3E6E2FE5-F7DA-7C43-B9B9-A2734D71741D}" type="presParOf" srcId="{F6B59AFD-404E-644D-8A20-407CF845158B}" destId="{89C00865-AFD6-5B40-B206-BD7654D168CB}" srcOrd="4" destOrd="0" presId="urn:microsoft.com/office/officeart/2005/8/layout/hierarchy4"/>
    <dgm:cxn modelId="{6D9BC41C-DB40-DD49-BFB3-27A122039FA4}" type="presParOf" srcId="{89C00865-AFD6-5B40-B206-BD7654D168CB}" destId="{FECE3F80-E6D2-5F47-8F77-76CFDEF6A5FC}" srcOrd="0" destOrd="0" presId="urn:microsoft.com/office/officeart/2005/8/layout/hierarchy4"/>
    <dgm:cxn modelId="{4E1F7A45-558C-204B-9BBC-938CB7303722}" type="presParOf" srcId="{89C00865-AFD6-5B40-B206-BD7654D168CB}" destId="{7AF395F7-D1ED-E84E-AD2E-AE374144C479}" srcOrd="1" destOrd="0" presId="urn:microsoft.com/office/officeart/2005/8/layout/hierarchy4"/>
    <dgm:cxn modelId="{12ADBD2C-2093-BD4B-9DE9-3263BC8FBA77}" type="presParOf" srcId="{8DEB135D-5935-784E-8322-C94E59D99BC1}" destId="{54768BFF-8E0C-7448-91EF-16C6AB3C50D9}" srcOrd="1" destOrd="0" presId="urn:microsoft.com/office/officeart/2005/8/layout/hierarchy4"/>
    <dgm:cxn modelId="{12A70A1F-688D-2648-985F-6B495405FEDE}" type="presParOf" srcId="{8DEB135D-5935-784E-8322-C94E59D99BC1}" destId="{76F4D7EC-11F3-0F48-AAE4-EB224B3D5D34}" srcOrd="2" destOrd="0" presId="urn:microsoft.com/office/officeart/2005/8/layout/hierarchy4"/>
    <dgm:cxn modelId="{B49C4390-C438-0849-8254-77BF60BB81C3}" type="presParOf" srcId="{76F4D7EC-11F3-0F48-AAE4-EB224B3D5D34}" destId="{E07552C9-601A-CC41-8A41-D741622ABEDC}" srcOrd="0" destOrd="0" presId="urn:microsoft.com/office/officeart/2005/8/layout/hierarchy4"/>
    <dgm:cxn modelId="{35CD2CF9-C09C-B149-8CD9-CF1363F6D01D}" type="presParOf" srcId="{76F4D7EC-11F3-0F48-AAE4-EB224B3D5D34}" destId="{BD4AE746-FAF0-FD44-8799-488BA71A24F1}" srcOrd="1" destOrd="0" presId="urn:microsoft.com/office/officeart/2005/8/layout/hierarchy4"/>
    <dgm:cxn modelId="{1FECF3B3-2191-9D46-AE45-E09A451E588F}" type="presParOf" srcId="{76F4D7EC-11F3-0F48-AAE4-EB224B3D5D34}" destId="{7CD05E66-938C-0D4E-B73A-E4FBBDF350EC}" srcOrd="2" destOrd="0" presId="urn:microsoft.com/office/officeart/2005/8/layout/hierarchy4"/>
    <dgm:cxn modelId="{8A2B9BF6-31D9-3E44-9016-1F48B7C98F3B}" type="presParOf" srcId="{7CD05E66-938C-0D4E-B73A-E4FBBDF350EC}" destId="{409D1F8D-5C54-2542-AC01-06871659F1B9}" srcOrd="0" destOrd="0" presId="urn:microsoft.com/office/officeart/2005/8/layout/hierarchy4"/>
    <dgm:cxn modelId="{900012D2-9447-6749-9033-318D47741B7A}" type="presParOf" srcId="{409D1F8D-5C54-2542-AC01-06871659F1B9}" destId="{99972880-076B-7C48-B724-B133F16D040B}" srcOrd="0" destOrd="0" presId="urn:microsoft.com/office/officeart/2005/8/layout/hierarchy4"/>
    <dgm:cxn modelId="{776AA40E-4F8C-284E-9913-9A184963F3D2}" type="presParOf" srcId="{409D1F8D-5C54-2542-AC01-06871659F1B9}" destId="{71580CE4-CD72-6945-A9C0-CBD7913BBC9D}" srcOrd="1" destOrd="0" presId="urn:microsoft.com/office/officeart/2005/8/layout/hierarchy4"/>
    <dgm:cxn modelId="{1840CB54-4400-9B46-AE0E-00A674FD7CCC}" type="presParOf" srcId="{7CD05E66-938C-0D4E-B73A-E4FBBDF350EC}" destId="{460FFC2B-5C08-2248-BFEA-A92A94AACAF4}" srcOrd="1" destOrd="0" presId="urn:microsoft.com/office/officeart/2005/8/layout/hierarchy4"/>
    <dgm:cxn modelId="{6E1024FC-72A2-394F-870F-8679DF613334}" type="presParOf" srcId="{7CD05E66-938C-0D4E-B73A-E4FBBDF350EC}" destId="{2F7EE48F-11B6-1742-97D9-DB3C748C7FA8}" srcOrd="2" destOrd="0" presId="urn:microsoft.com/office/officeart/2005/8/layout/hierarchy4"/>
    <dgm:cxn modelId="{020D876E-5558-8A46-80C8-DA0E950377F6}" type="presParOf" srcId="{2F7EE48F-11B6-1742-97D9-DB3C748C7FA8}" destId="{743A453A-3A71-8E4E-9AC1-8DB440894F71}" srcOrd="0" destOrd="0" presId="urn:microsoft.com/office/officeart/2005/8/layout/hierarchy4"/>
    <dgm:cxn modelId="{10B2A758-AE87-924B-A76F-E036790D7F6E}" type="presParOf" srcId="{2F7EE48F-11B6-1742-97D9-DB3C748C7FA8}" destId="{AD1F1E5C-8340-FF4D-AF3B-080FFF95D458}" srcOrd="1" destOrd="0" presId="urn:microsoft.com/office/officeart/2005/8/layout/hierarchy4"/>
    <dgm:cxn modelId="{9DC86E96-3FD5-BA41-896F-69FB27B75B3B}" type="presParOf" srcId="{7CD05E66-938C-0D4E-B73A-E4FBBDF350EC}" destId="{EDCAB355-C0AE-A54E-8DC4-DF6175F74B2C}" srcOrd="3" destOrd="0" presId="urn:microsoft.com/office/officeart/2005/8/layout/hierarchy4"/>
    <dgm:cxn modelId="{32E105D6-7593-E041-8EE1-FC94D1629D0B}" type="presParOf" srcId="{7CD05E66-938C-0D4E-B73A-E4FBBDF350EC}" destId="{00311BE0-A7E6-7C47-8ACE-FE77207E4C50}" srcOrd="4" destOrd="0" presId="urn:microsoft.com/office/officeart/2005/8/layout/hierarchy4"/>
    <dgm:cxn modelId="{23B71960-3A9C-074F-B84C-3C1DF1067886}" type="presParOf" srcId="{00311BE0-A7E6-7C47-8ACE-FE77207E4C50}" destId="{B20A11D5-7704-D648-B155-5D0E0CB5631B}" srcOrd="0" destOrd="0" presId="urn:microsoft.com/office/officeart/2005/8/layout/hierarchy4"/>
    <dgm:cxn modelId="{D074B1B3-ECDA-4D4C-B347-4CCBD6E50204}" type="presParOf" srcId="{00311BE0-A7E6-7C47-8ACE-FE77207E4C50}" destId="{3F2EFDC4-2F6A-0544-BE13-D61F66B40F86}" srcOrd="1" destOrd="0" presId="urn:microsoft.com/office/officeart/2005/8/layout/hierarchy4"/>
    <dgm:cxn modelId="{3C6CA8B5-BD00-3E48-927F-4E5485933A2A}" type="presParOf" srcId="{8DEB135D-5935-784E-8322-C94E59D99BC1}" destId="{D136A25A-7C58-CB46-906A-F08BFF69C442}" srcOrd="3" destOrd="0" presId="urn:microsoft.com/office/officeart/2005/8/layout/hierarchy4"/>
    <dgm:cxn modelId="{9302D1AE-01E1-D043-ABBE-5EA6CB3FFEB1}" type="presParOf" srcId="{8DEB135D-5935-784E-8322-C94E59D99BC1}" destId="{B14EE762-9716-9649-B574-8F650BB74E66}" srcOrd="4" destOrd="0" presId="urn:microsoft.com/office/officeart/2005/8/layout/hierarchy4"/>
    <dgm:cxn modelId="{F427B9C0-12D3-724A-947F-F387DF536D62}" type="presParOf" srcId="{B14EE762-9716-9649-B574-8F650BB74E66}" destId="{6A6C1DEA-10CE-8042-8BA2-E2BE156F9FA8}" srcOrd="0" destOrd="0" presId="urn:microsoft.com/office/officeart/2005/8/layout/hierarchy4"/>
    <dgm:cxn modelId="{09BB8820-9FC3-C649-9C8A-60EDB9081C27}" type="presParOf" srcId="{B14EE762-9716-9649-B574-8F650BB74E66}" destId="{C55D1A3C-867A-7F4A-A703-C8815C958FBB}" srcOrd="1" destOrd="0" presId="urn:microsoft.com/office/officeart/2005/8/layout/hierarchy4"/>
    <dgm:cxn modelId="{4D724903-D731-4746-A0E2-260ABB441D5E}" type="presParOf" srcId="{B14EE762-9716-9649-B574-8F650BB74E66}" destId="{E336C469-57A8-2A43-9B76-2C632BBAD409}" srcOrd="2" destOrd="0" presId="urn:microsoft.com/office/officeart/2005/8/layout/hierarchy4"/>
    <dgm:cxn modelId="{246E6143-C0B2-6A4E-A2A8-DB15618D19B4}" type="presParOf" srcId="{E336C469-57A8-2A43-9B76-2C632BBAD409}" destId="{A64FF495-3777-AA41-84AB-E5BF44580DEC}" srcOrd="0" destOrd="0" presId="urn:microsoft.com/office/officeart/2005/8/layout/hierarchy4"/>
    <dgm:cxn modelId="{DCCC0EE0-D329-6243-AF45-25AD5E0144AA}" type="presParOf" srcId="{A64FF495-3777-AA41-84AB-E5BF44580DEC}" destId="{53718505-0708-7446-8168-560FA4559739}" srcOrd="0" destOrd="0" presId="urn:microsoft.com/office/officeart/2005/8/layout/hierarchy4"/>
    <dgm:cxn modelId="{3E3F082D-F1A5-8D4E-8993-2EF6E4CF2282}" type="presParOf" srcId="{A64FF495-3777-AA41-84AB-E5BF44580DEC}" destId="{5DCE32C0-4456-2643-B3C8-DA2DFEB9CDCB}" srcOrd="1" destOrd="0" presId="urn:microsoft.com/office/officeart/2005/8/layout/hierarchy4"/>
    <dgm:cxn modelId="{F7BC74D5-F1AE-6148-A88A-E3D94E57BEDD}" type="presParOf" srcId="{E336C469-57A8-2A43-9B76-2C632BBAD409}" destId="{1EFC07DC-9608-584A-A320-6EFCAC57FAC6}" srcOrd="1" destOrd="0" presId="urn:microsoft.com/office/officeart/2005/8/layout/hierarchy4"/>
    <dgm:cxn modelId="{B05C5A81-EAA1-654B-B593-665533BCBB46}" type="presParOf" srcId="{E336C469-57A8-2A43-9B76-2C632BBAD409}" destId="{4CD09724-B9FA-D44C-B10C-31411E5AB7E6}" srcOrd="2" destOrd="0" presId="urn:microsoft.com/office/officeart/2005/8/layout/hierarchy4"/>
    <dgm:cxn modelId="{F8174EED-0606-B440-B780-D3A0557D5779}" type="presParOf" srcId="{4CD09724-B9FA-D44C-B10C-31411E5AB7E6}" destId="{BC71F93D-A031-E54D-8B3D-F9A5F8E302DA}" srcOrd="0" destOrd="0" presId="urn:microsoft.com/office/officeart/2005/8/layout/hierarchy4"/>
    <dgm:cxn modelId="{0E0BED5C-A76A-5E46-BB00-21F8FB26D8A7}" type="presParOf" srcId="{4CD09724-B9FA-D44C-B10C-31411E5AB7E6}" destId="{F892E510-4D7D-7B48-9602-2EB3DF152497}" srcOrd="1" destOrd="0" presId="urn:microsoft.com/office/officeart/2005/8/layout/hierarchy4"/>
    <dgm:cxn modelId="{B66BD3C1-955C-AB49-A680-83B2C3087AC3}" type="presParOf" srcId="{E336C469-57A8-2A43-9B76-2C632BBAD409}" destId="{2F7A9B3F-E931-5646-A873-615A8B69577D}" srcOrd="3" destOrd="0" presId="urn:microsoft.com/office/officeart/2005/8/layout/hierarchy4"/>
    <dgm:cxn modelId="{53AB0837-C80F-DC41-B3D0-B7EC6144F435}" type="presParOf" srcId="{E336C469-57A8-2A43-9B76-2C632BBAD409}" destId="{4F0150FB-10E2-5A4D-A4E5-5A6F056DA509}" srcOrd="4" destOrd="0" presId="urn:microsoft.com/office/officeart/2005/8/layout/hierarchy4"/>
    <dgm:cxn modelId="{62941996-76C4-324E-8317-105C156F5A59}" type="presParOf" srcId="{4F0150FB-10E2-5A4D-A4E5-5A6F056DA509}" destId="{2ECB1DB0-838A-3E49-A8F5-D7890D77C94E}" srcOrd="0" destOrd="0" presId="urn:microsoft.com/office/officeart/2005/8/layout/hierarchy4"/>
    <dgm:cxn modelId="{AE6184EC-234B-7749-9BEA-47CDDF270A8E}" type="presParOf" srcId="{4F0150FB-10E2-5A4D-A4E5-5A6F056DA509}" destId="{5A3B68AF-C8C8-5442-AE17-2CC94BD9AC17}" srcOrd="1" destOrd="0" presId="urn:microsoft.com/office/officeart/2005/8/layout/hierarchy4"/>
    <dgm:cxn modelId="{3FD8B838-D502-AC40-86DF-CF0DED6888F7}" type="presParOf" srcId="{8DEB135D-5935-784E-8322-C94E59D99BC1}" destId="{04C2C551-0272-0B41-B236-AB44D396F4AF}" srcOrd="5" destOrd="0" presId="urn:microsoft.com/office/officeart/2005/8/layout/hierarchy4"/>
    <dgm:cxn modelId="{32C740AB-187C-CB42-9F25-1F192E371E68}" type="presParOf" srcId="{8DEB135D-5935-784E-8322-C94E59D99BC1}" destId="{33D186F6-59FF-A440-AFF6-6CEF9965FE89}" srcOrd="6" destOrd="0" presId="urn:microsoft.com/office/officeart/2005/8/layout/hierarchy4"/>
    <dgm:cxn modelId="{E4D5FE80-0C72-A144-A1D4-8E843540F9A4}" type="presParOf" srcId="{33D186F6-59FF-A440-AFF6-6CEF9965FE89}" destId="{C300E95B-36DE-C748-BCF4-E51E57BF6710}" srcOrd="0" destOrd="0" presId="urn:microsoft.com/office/officeart/2005/8/layout/hierarchy4"/>
    <dgm:cxn modelId="{FE0312E4-2105-164F-AE74-AFF8435DE2FF}" type="presParOf" srcId="{33D186F6-59FF-A440-AFF6-6CEF9965FE89}" destId="{BB8636D3-0FC9-C14C-8AB0-21F50DD6BE82}" srcOrd="1" destOrd="0" presId="urn:microsoft.com/office/officeart/2005/8/layout/hierarchy4"/>
    <dgm:cxn modelId="{B1163800-8B10-FE48-AC1E-DB32439625A0}" type="presParOf" srcId="{33D186F6-59FF-A440-AFF6-6CEF9965FE89}" destId="{B497773E-7055-9943-A11F-AB75E7F63D83}" srcOrd="2" destOrd="0" presId="urn:microsoft.com/office/officeart/2005/8/layout/hierarchy4"/>
    <dgm:cxn modelId="{656D56E8-038C-A744-989D-606457EA62A2}" type="presParOf" srcId="{B497773E-7055-9943-A11F-AB75E7F63D83}" destId="{76351B5A-84A2-274A-8773-DF3B7047E463}" srcOrd="0" destOrd="0" presId="urn:microsoft.com/office/officeart/2005/8/layout/hierarchy4"/>
    <dgm:cxn modelId="{F192A5FD-4F4E-8E4C-85EB-E4FCB0964AC8}" type="presParOf" srcId="{76351B5A-84A2-274A-8773-DF3B7047E463}" destId="{CD160AC8-FB3D-7B4F-8BD8-4719E775CDF2}" srcOrd="0" destOrd="0" presId="urn:microsoft.com/office/officeart/2005/8/layout/hierarchy4"/>
    <dgm:cxn modelId="{B9024A73-1911-1D41-990C-C6A5E7545130}" type="presParOf" srcId="{76351B5A-84A2-274A-8773-DF3B7047E463}" destId="{C7312A84-FABB-D14C-AEB6-45B85D5B127D}" srcOrd="1" destOrd="0" presId="urn:microsoft.com/office/officeart/2005/8/layout/hierarchy4"/>
    <dgm:cxn modelId="{233B4CCC-11B7-3F4C-BFBF-9095B0A7FBF3}" type="presParOf" srcId="{B497773E-7055-9943-A11F-AB75E7F63D83}" destId="{D016BA2A-C15F-044C-B768-54F2BB5205F0}" srcOrd="1" destOrd="0" presId="urn:microsoft.com/office/officeart/2005/8/layout/hierarchy4"/>
    <dgm:cxn modelId="{163BCFB7-B1A9-1A47-8F7C-8B4522F6A646}" type="presParOf" srcId="{B497773E-7055-9943-A11F-AB75E7F63D83}" destId="{9CC92BAB-95DA-7E40-816B-91F7BB1A5096}" srcOrd="2" destOrd="0" presId="urn:microsoft.com/office/officeart/2005/8/layout/hierarchy4"/>
    <dgm:cxn modelId="{619305AE-FE91-AE47-A2DF-6E834A028B83}" type="presParOf" srcId="{9CC92BAB-95DA-7E40-816B-91F7BB1A5096}" destId="{D49AD50E-F829-2C4E-94AA-773E5FE1D26C}" srcOrd="0" destOrd="0" presId="urn:microsoft.com/office/officeart/2005/8/layout/hierarchy4"/>
    <dgm:cxn modelId="{51242D85-92AD-0D4D-9539-5E533A91E6DB}" type="presParOf" srcId="{9CC92BAB-95DA-7E40-816B-91F7BB1A5096}" destId="{C6EC817C-A9A7-624F-A4A5-3B62AFA26B23}" srcOrd="1" destOrd="0" presId="urn:microsoft.com/office/officeart/2005/8/layout/hierarchy4"/>
    <dgm:cxn modelId="{FC3A9EC3-532A-1D46-949E-7FAE93E76867}" type="presParOf" srcId="{B497773E-7055-9943-A11F-AB75E7F63D83}" destId="{D2016BE8-B631-9247-8AE7-25BCB94DA35B}" srcOrd="3" destOrd="0" presId="urn:microsoft.com/office/officeart/2005/8/layout/hierarchy4"/>
    <dgm:cxn modelId="{3CD4201D-C677-4D4E-9DDD-C2900E1D90A1}" type="presParOf" srcId="{B497773E-7055-9943-A11F-AB75E7F63D83}" destId="{372CA6BE-3E8A-4443-A33F-0EC69A78609C}" srcOrd="4" destOrd="0" presId="urn:microsoft.com/office/officeart/2005/8/layout/hierarchy4"/>
    <dgm:cxn modelId="{CB1E3D9B-9CCE-1941-9DF4-B0F569DE318E}" type="presParOf" srcId="{372CA6BE-3E8A-4443-A33F-0EC69A78609C}" destId="{2E77F46B-7563-2C4D-A65C-95F0212A0DC9}" srcOrd="0" destOrd="0" presId="urn:microsoft.com/office/officeart/2005/8/layout/hierarchy4"/>
    <dgm:cxn modelId="{8FD6DC21-AB45-674A-8D07-7001F57AF4A5}" type="presParOf" srcId="{372CA6BE-3E8A-4443-A33F-0EC69A78609C}" destId="{E3B46B2A-60C2-4144-8CBA-94F871EEE5E0}" srcOrd="1" destOrd="0" presId="urn:microsoft.com/office/officeart/2005/8/layout/hierarchy4"/>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D2E11C-A497-C24E-9BE8-61D91115E20A}">
      <dsp:nvSpPr>
        <dsp:cNvPr id="0" name=""/>
        <dsp:cNvSpPr/>
      </dsp:nvSpPr>
      <dsp:spPr>
        <a:xfrm>
          <a:off x="1520" y="1008"/>
          <a:ext cx="5933714" cy="572401"/>
        </a:xfrm>
        <a:prstGeom prst="roundRect">
          <a:avLst>
            <a:gd name="adj" fmla="val 10000"/>
          </a:avLst>
        </a:prstGeom>
        <a:pattFill prst="ltUpDiag">
          <a:fgClr>
            <a:schemeClr val="tx1">
              <a:lumMod val="10000"/>
              <a:lumOff val="90000"/>
            </a:schemeClr>
          </a:fgClr>
          <a:bgClr>
            <a:schemeClr val="bg1"/>
          </a:bgClr>
        </a:patt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s-ES" sz="1800" b="0" i="0" kern="1200" dirty="0">
              <a:latin typeface="Playfair Display" panose="00000500000000000000" pitchFamily="2" charset="0"/>
              <a:cs typeface="Calibri Light" panose="020F0302020204030204" pitchFamily="34" charset="0"/>
            </a:rPr>
            <a:t>Metodología</a:t>
          </a:r>
          <a:endParaRPr lang="es-ES" sz="2800" b="0" i="0" kern="1200" dirty="0">
            <a:latin typeface="Playfair Display" panose="00000500000000000000" pitchFamily="2" charset="0"/>
            <a:cs typeface="Calibri Light" panose="020F0302020204030204" pitchFamily="34" charset="0"/>
          </a:endParaRPr>
        </a:p>
      </dsp:txBody>
      <dsp:txXfrm>
        <a:off x="18285" y="17773"/>
        <a:ext cx="5900184" cy="538871"/>
      </dsp:txXfrm>
    </dsp:sp>
    <dsp:sp modelId="{B433234F-BEBA-2B40-AE45-7E056C848BDE}">
      <dsp:nvSpPr>
        <dsp:cNvPr id="0" name=""/>
        <dsp:cNvSpPr/>
      </dsp:nvSpPr>
      <dsp:spPr>
        <a:xfrm>
          <a:off x="1520" y="648976"/>
          <a:ext cx="5933714" cy="572401"/>
        </a:xfrm>
        <a:prstGeom prst="roundRect">
          <a:avLst>
            <a:gd name="adj" fmla="val 10000"/>
          </a:avLst>
        </a:prstGeom>
        <a:pattFill prst="ltDnDiag">
          <a:fgClr>
            <a:schemeClr val="accent4">
              <a:lumMod val="40000"/>
              <a:lumOff val="60000"/>
            </a:schemeClr>
          </a:fgClr>
          <a:bgClr>
            <a:schemeClr val="bg1"/>
          </a:bgClr>
        </a:patt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s-ES" sz="1600" b="0" i="0" kern="1200" dirty="0">
              <a:latin typeface="Playfair Display" panose="00000500000000000000" pitchFamily="2" charset="0"/>
              <a:cs typeface="Calibri Light" panose="020F0302020204030204" pitchFamily="34" charset="0"/>
            </a:rPr>
            <a:t>Desarrollo de Software</a:t>
          </a:r>
        </a:p>
      </dsp:txBody>
      <dsp:txXfrm>
        <a:off x="18285" y="665741"/>
        <a:ext cx="5900184" cy="538871"/>
      </dsp:txXfrm>
    </dsp:sp>
    <dsp:sp modelId="{6E2AE09C-B0B4-D347-8B0E-0A81CE18FE97}">
      <dsp:nvSpPr>
        <dsp:cNvPr id="0" name=""/>
        <dsp:cNvSpPr/>
      </dsp:nvSpPr>
      <dsp:spPr>
        <a:xfrm>
          <a:off x="1520" y="1296944"/>
          <a:ext cx="1468225" cy="572401"/>
        </a:xfrm>
        <a:prstGeom prst="roundRect">
          <a:avLst>
            <a:gd name="adj" fmla="val 10000"/>
          </a:avLst>
        </a:prstGeom>
        <a:pattFill prst="ltUpDiag">
          <a:fgClr>
            <a:srgbClr val="79C5B3">
              <a:lumMod val="40000"/>
              <a:lumOff val="60000"/>
            </a:srgbClr>
          </a:fgClr>
          <a:bgClr>
            <a:schemeClr val="bg1"/>
          </a:bgClr>
        </a:patt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0480" tIns="30480" rIns="30480" bIns="30480" numCol="1" spcCol="1270" anchor="ctr" anchorCtr="0">
          <a:noAutofit/>
        </a:bodyPr>
        <a:lstStyle/>
        <a:p>
          <a:pPr lvl="0" algn="ctr" defTabSz="333375">
            <a:lnSpc>
              <a:spcPct val="90000"/>
            </a:lnSpc>
            <a:spcBef>
              <a:spcPct val="0"/>
            </a:spcBef>
            <a:spcAft>
              <a:spcPct val="35000"/>
            </a:spcAft>
          </a:pPr>
          <a:r>
            <a:rPr lang="es-ES" sz="750" b="0" i="0" kern="1200" dirty="0">
              <a:latin typeface="+mj-lt"/>
              <a:cs typeface="Calibri Light" panose="020F0302020204030204" pitchFamily="34" charset="0"/>
            </a:rPr>
            <a:t>Gobierno</a:t>
          </a:r>
        </a:p>
      </dsp:txBody>
      <dsp:txXfrm>
        <a:off x="18285" y="1313709"/>
        <a:ext cx="1434695" cy="538871"/>
      </dsp:txXfrm>
    </dsp:sp>
    <dsp:sp modelId="{D08CBBE7-714B-084E-981F-F610A359F70C}">
      <dsp:nvSpPr>
        <dsp:cNvPr id="0" name=""/>
        <dsp:cNvSpPr/>
      </dsp:nvSpPr>
      <dsp:spPr>
        <a:xfrm>
          <a:off x="1520" y="1944911"/>
          <a:ext cx="482651" cy="572401"/>
        </a:xfrm>
        <a:prstGeom prst="roundRect">
          <a:avLst>
            <a:gd name="adj" fmla="val 10000"/>
          </a:avLst>
        </a:prstGeom>
        <a:pattFill prst="ltDnDiag">
          <a:fgClr>
            <a:schemeClr val="accent6">
              <a:lumMod val="20000"/>
              <a:lumOff val="80000"/>
            </a:schemeClr>
          </a:fgClr>
          <a:bgClr>
            <a:schemeClr val="bg1"/>
          </a:bgClr>
        </a:patt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9050" tIns="19050" rIns="19050" bIns="19050" numCol="1" spcCol="1270" anchor="ctr" anchorCtr="0">
          <a:noAutofit/>
        </a:bodyPr>
        <a:lstStyle/>
        <a:p>
          <a:pPr lvl="0" algn="ctr" defTabSz="222250">
            <a:lnSpc>
              <a:spcPct val="90000"/>
            </a:lnSpc>
            <a:spcBef>
              <a:spcPct val="0"/>
            </a:spcBef>
            <a:spcAft>
              <a:spcPct val="35000"/>
            </a:spcAft>
          </a:pPr>
          <a:r>
            <a:rPr lang="es-ES" sz="500" b="0" i="0" kern="1200" dirty="0">
              <a:latin typeface="+mj-lt"/>
              <a:cs typeface="Calibri Light" panose="020F0302020204030204" pitchFamily="34" charset="0"/>
            </a:rPr>
            <a:t>Estrategia y métricas</a:t>
          </a:r>
        </a:p>
      </dsp:txBody>
      <dsp:txXfrm>
        <a:off x="15656" y="1959047"/>
        <a:ext cx="454379" cy="544129"/>
      </dsp:txXfrm>
    </dsp:sp>
    <dsp:sp modelId="{49A41C37-E5A8-C444-902F-F99D208A0829}">
      <dsp:nvSpPr>
        <dsp:cNvPr id="0" name=""/>
        <dsp:cNvSpPr/>
      </dsp:nvSpPr>
      <dsp:spPr>
        <a:xfrm>
          <a:off x="494307" y="1944911"/>
          <a:ext cx="482651" cy="572401"/>
        </a:xfrm>
        <a:prstGeom prst="roundRect">
          <a:avLst>
            <a:gd name="adj" fmla="val 10000"/>
          </a:avLst>
        </a:prstGeom>
        <a:pattFill prst="ltDnDiag">
          <a:fgClr>
            <a:schemeClr val="accent6">
              <a:lumMod val="20000"/>
              <a:lumOff val="80000"/>
            </a:schemeClr>
          </a:fgClr>
          <a:bgClr>
            <a:schemeClr val="bg1"/>
          </a:bgClr>
        </a:patt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9050" tIns="19050" rIns="19050" bIns="19050" numCol="1" spcCol="1270" anchor="ctr" anchorCtr="0">
          <a:noAutofit/>
        </a:bodyPr>
        <a:lstStyle/>
        <a:p>
          <a:pPr lvl="0" algn="ctr" defTabSz="222250">
            <a:lnSpc>
              <a:spcPct val="90000"/>
            </a:lnSpc>
            <a:spcBef>
              <a:spcPct val="0"/>
            </a:spcBef>
            <a:spcAft>
              <a:spcPct val="35000"/>
            </a:spcAft>
          </a:pPr>
          <a:r>
            <a:rPr lang="es-ES" sz="500" b="0" i="0" kern="1200" dirty="0">
              <a:latin typeface="+mj-lt"/>
              <a:cs typeface="Calibri Light" panose="020F0302020204030204" pitchFamily="34" charset="0"/>
            </a:rPr>
            <a:t>Política y cumplimiento</a:t>
          </a:r>
        </a:p>
      </dsp:txBody>
      <dsp:txXfrm>
        <a:off x="508443" y="1959047"/>
        <a:ext cx="454379" cy="544129"/>
      </dsp:txXfrm>
    </dsp:sp>
    <dsp:sp modelId="{FECE3F80-E6D2-5F47-8F77-76CFDEF6A5FC}">
      <dsp:nvSpPr>
        <dsp:cNvPr id="0" name=""/>
        <dsp:cNvSpPr/>
      </dsp:nvSpPr>
      <dsp:spPr>
        <a:xfrm>
          <a:off x="987094" y="1944911"/>
          <a:ext cx="482651" cy="572401"/>
        </a:xfrm>
        <a:prstGeom prst="roundRect">
          <a:avLst>
            <a:gd name="adj" fmla="val 10000"/>
          </a:avLst>
        </a:prstGeom>
        <a:pattFill prst="ltDnDiag">
          <a:fgClr>
            <a:schemeClr val="accent6">
              <a:lumMod val="20000"/>
              <a:lumOff val="80000"/>
            </a:schemeClr>
          </a:fgClr>
          <a:bgClr>
            <a:schemeClr val="bg1"/>
          </a:bgClr>
        </a:patt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9050" tIns="19050" rIns="19050" bIns="19050" numCol="1" spcCol="1270" anchor="ctr" anchorCtr="0">
          <a:noAutofit/>
        </a:bodyPr>
        <a:lstStyle/>
        <a:p>
          <a:pPr lvl="0" algn="ctr" defTabSz="222250">
            <a:lnSpc>
              <a:spcPct val="90000"/>
            </a:lnSpc>
            <a:spcBef>
              <a:spcPct val="0"/>
            </a:spcBef>
            <a:spcAft>
              <a:spcPct val="35000"/>
            </a:spcAft>
          </a:pPr>
          <a:r>
            <a:rPr lang="es-ES" sz="500" b="0" i="0" kern="1200" dirty="0">
              <a:latin typeface="+mj-lt"/>
              <a:cs typeface="Calibri Light" panose="020F0302020204030204" pitchFamily="34" charset="0"/>
            </a:rPr>
            <a:t>Educación y orientación</a:t>
          </a:r>
        </a:p>
      </dsp:txBody>
      <dsp:txXfrm>
        <a:off x="1001230" y="1959047"/>
        <a:ext cx="454379" cy="544129"/>
      </dsp:txXfrm>
    </dsp:sp>
    <dsp:sp modelId="{E07552C9-601A-CC41-8A41-D741622ABEDC}">
      <dsp:nvSpPr>
        <dsp:cNvPr id="0" name=""/>
        <dsp:cNvSpPr/>
      </dsp:nvSpPr>
      <dsp:spPr>
        <a:xfrm>
          <a:off x="1490016" y="1296944"/>
          <a:ext cx="1468225" cy="572401"/>
        </a:xfrm>
        <a:prstGeom prst="roundRect">
          <a:avLst>
            <a:gd name="adj" fmla="val 10000"/>
          </a:avLst>
        </a:prstGeom>
        <a:pattFill prst="ltUpDiag">
          <a:fgClr>
            <a:srgbClr val="79C5B3">
              <a:lumMod val="40000"/>
              <a:lumOff val="60000"/>
            </a:srgbClr>
          </a:fgClr>
          <a:bgClr>
            <a:schemeClr val="bg1"/>
          </a:bgClr>
        </a:patt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0480" tIns="30480" rIns="30480" bIns="30480" numCol="1" spcCol="1270" anchor="ctr" anchorCtr="0">
          <a:noAutofit/>
        </a:bodyPr>
        <a:lstStyle/>
        <a:p>
          <a:pPr lvl="0" algn="ctr" defTabSz="333375">
            <a:lnSpc>
              <a:spcPct val="90000"/>
            </a:lnSpc>
            <a:spcBef>
              <a:spcPct val="0"/>
            </a:spcBef>
            <a:spcAft>
              <a:spcPct val="35000"/>
            </a:spcAft>
          </a:pPr>
          <a:r>
            <a:rPr lang="es-ES" sz="750" b="0" i="0" kern="1200" dirty="0">
              <a:latin typeface="+mj-lt"/>
              <a:cs typeface="Calibri Light" panose="020F0302020204030204" pitchFamily="34" charset="0"/>
            </a:rPr>
            <a:t>Construcción</a:t>
          </a:r>
        </a:p>
      </dsp:txBody>
      <dsp:txXfrm>
        <a:off x="1506781" y="1313709"/>
        <a:ext cx="1434695" cy="538871"/>
      </dsp:txXfrm>
    </dsp:sp>
    <dsp:sp modelId="{99972880-076B-7C48-B724-B133F16D040B}">
      <dsp:nvSpPr>
        <dsp:cNvPr id="0" name=""/>
        <dsp:cNvSpPr/>
      </dsp:nvSpPr>
      <dsp:spPr>
        <a:xfrm>
          <a:off x="1490016" y="1944911"/>
          <a:ext cx="482651" cy="572401"/>
        </a:xfrm>
        <a:prstGeom prst="roundRect">
          <a:avLst>
            <a:gd name="adj" fmla="val 10000"/>
          </a:avLst>
        </a:prstGeom>
        <a:pattFill prst="ltDnDiag">
          <a:fgClr>
            <a:schemeClr val="accent6">
              <a:lumMod val="20000"/>
              <a:lumOff val="80000"/>
            </a:schemeClr>
          </a:fgClr>
          <a:bgClr>
            <a:schemeClr val="bg1"/>
          </a:bgClr>
        </a:patt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9050" tIns="19050" rIns="19050" bIns="19050" numCol="1" spcCol="1270" anchor="ctr" anchorCtr="0">
          <a:noAutofit/>
        </a:bodyPr>
        <a:lstStyle/>
        <a:p>
          <a:pPr lvl="0" algn="ctr" defTabSz="222250">
            <a:lnSpc>
              <a:spcPct val="90000"/>
            </a:lnSpc>
            <a:spcBef>
              <a:spcPct val="0"/>
            </a:spcBef>
            <a:spcAft>
              <a:spcPct val="35000"/>
            </a:spcAft>
          </a:pPr>
          <a:r>
            <a:rPr lang="es-ES" sz="500" b="0" i="0" kern="1200" dirty="0">
              <a:latin typeface="+mj-lt"/>
              <a:cs typeface="Calibri Light" panose="020F0302020204030204" pitchFamily="34" charset="0"/>
            </a:rPr>
            <a:t>Evaluación de las amenazas</a:t>
          </a:r>
        </a:p>
      </dsp:txBody>
      <dsp:txXfrm>
        <a:off x="1504152" y="1959047"/>
        <a:ext cx="454379" cy="544129"/>
      </dsp:txXfrm>
    </dsp:sp>
    <dsp:sp modelId="{743A453A-3A71-8E4E-9AC1-8DB440894F71}">
      <dsp:nvSpPr>
        <dsp:cNvPr id="0" name=""/>
        <dsp:cNvSpPr/>
      </dsp:nvSpPr>
      <dsp:spPr>
        <a:xfrm>
          <a:off x="1982803" y="1944911"/>
          <a:ext cx="482651" cy="572401"/>
        </a:xfrm>
        <a:prstGeom prst="roundRect">
          <a:avLst>
            <a:gd name="adj" fmla="val 10000"/>
          </a:avLst>
        </a:prstGeom>
        <a:pattFill prst="ltDnDiag">
          <a:fgClr>
            <a:schemeClr val="accent6">
              <a:lumMod val="20000"/>
              <a:lumOff val="80000"/>
            </a:schemeClr>
          </a:fgClr>
          <a:bgClr>
            <a:schemeClr val="bg1"/>
          </a:bgClr>
        </a:patt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9050" tIns="19050" rIns="19050" bIns="19050" numCol="1" spcCol="1270" anchor="ctr" anchorCtr="0">
          <a:noAutofit/>
        </a:bodyPr>
        <a:lstStyle/>
        <a:p>
          <a:pPr lvl="0" algn="ctr" defTabSz="222250">
            <a:lnSpc>
              <a:spcPct val="90000"/>
            </a:lnSpc>
            <a:spcBef>
              <a:spcPct val="0"/>
            </a:spcBef>
            <a:spcAft>
              <a:spcPct val="35000"/>
            </a:spcAft>
          </a:pPr>
          <a:r>
            <a:rPr lang="es-ES" sz="500" b="0" i="0" kern="1200" dirty="0">
              <a:latin typeface="+mj-lt"/>
              <a:cs typeface="Calibri Light" panose="020F0302020204030204" pitchFamily="34" charset="0"/>
            </a:rPr>
            <a:t>Requisitos de seguridad</a:t>
          </a:r>
        </a:p>
      </dsp:txBody>
      <dsp:txXfrm>
        <a:off x="1996939" y="1959047"/>
        <a:ext cx="454379" cy="544129"/>
      </dsp:txXfrm>
    </dsp:sp>
    <dsp:sp modelId="{B20A11D5-7704-D648-B155-5D0E0CB5631B}">
      <dsp:nvSpPr>
        <dsp:cNvPr id="0" name=""/>
        <dsp:cNvSpPr/>
      </dsp:nvSpPr>
      <dsp:spPr>
        <a:xfrm>
          <a:off x="2475590" y="1944911"/>
          <a:ext cx="482651" cy="572401"/>
        </a:xfrm>
        <a:prstGeom prst="roundRect">
          <a:avLst>
            <a:gd name="adj" fmla="val 10000"/>
          </a:avLst>
        </a:prstGeom>
        <a:pattFill prst="ltDnDiag">
          <a:fgClr>
            <a:schemeClr val="accent6">
              <a:lumMod val="20000"/>
              <a:lumOff val="80000"/>
            </a:schemeClr>
          </a:fgClr>
          <a:bgClr>
            <a:schemeClr val="bg1"/>
          </a:bgClr>
        </a:patt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9050" tIns="19050" rIns="19050" bIns="19050" numCol="1" spcCol="1270" anchor="ctr" anchorCtr="0">
          <a:noAutofit/>
        </a:bodyPr>
        <a:lstStyle/>
        <a:p>
          <a:pPr lvl="0" algn="ctr" defTabSz="222250">
            <a:lnSpc>
              <a:spcPct val="90000"/>
            </a:lnSpc>
            <a:spcBef>
              <a:spcPct val="0"/>
            </a:spcBef>
            <a:spcAft>
              <a:spcPct val="35000"/>
            </a:spcAft>
          </a:pPr>
          <a:r>
            <a:rPr lang="es-ES" sz="500" b="0" i="0" kern="1200" dirty="0">
              <a:latin typeface="+mj-lt"/>
              <a:cs typeface="Calibri Light" panose="020F0302020204030204" pitchFamily="34" charset="0"/>
            </a:rPr>
            <a:t>Arquitectura de seguridad</a:t>
          </a:r>
        </a:p>
      </dsp:txBody>
      <dsp:txXfrm>
        <a:off x="2489726" y="1959047"/>
        <a:ext cx="454379" cy="544129"/>
      </dsp:txXfrm>
    </dsp:sp>
    <dsp:sp modelId="{6A6C1DEA-10CE-8042-8BA2-E2BE156F9FA8}">
      <dsp:nvSpPr>
        <dsp:cNvPr id="0" name=""/>
        <dsp:cNvSpPr/>
      </dsp:nvSpPr>
      <dsp:spPr>
        <a:xfrm>
          <a:off x="2978513" y="1296944"/>
          <a:ext cx="1468225" cy="572401"/>
        </a:xfrm>
        <a:prstGeom prst="roundRect">
          <a:avLst>
            <a:gd name="adj" fmla="val 10000"/>
          </a:avLst>
        </a:prstGeom>
        <a:pattFill prst="ltUpDiag">
          <a:fgClr>
            <a:srgbClr val="79C5B3">
              <a:lumMod val="40000"/>
              <a:lumOff val="60000"/>
            </a:srgbClr>
          </a:fgClr>
          <a:bgClr>
            <a:schemeClr val="bg1"/>
          </a:bgClr>
        </a:patt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0480" tIns="30480" rIns="30480" bIns="30480" numCol="1" spcCol="1270" anchor="ctr" anchorCtr="0">
          <a:noAutofit/>
        </a:bodyPr>
        <a:lstStyle/>
        <a:p>
          <a:pPr lvl="0" algn="ctr" defTabSz="333375">
            <a:lnSpc>
              <a:spcPct val="90000"/>
            </a:lnSpc>
            <a:spcBef>
              <a:spcPct val="0"/>
            </a:spcBef>
            <a:spcAft>
              <a:spcPct val="35000"/>
            </a:spcAft>
          </a:pPr>
          <a:r>
            <a:rPr lang="es-ES" sz="750" b="0" i="0" kern="1200" dirty="0">
              <a:latin typeface="+mj-lt"/>
              <a:cs typeface="Calibri Light" panose="020F0302020204030204" pitchFamily="34" charset="0"/>
            </a:rPr>
            <a:t>Verificación</a:t>
          </a:r>
        </a:p>
      </dsp:txBody>
      <dsp:txXfrm>
        <a:off x="2995278" y="1313709"/>
        <a:ext cx="1434695" cy="538871"/>
      </dsp:txXfrm>
    </dsp:sp>
    <dsp:sp modelId="{53718505-0708-7446-8168-560FA4559739}">
      <dsp:nvSpPr>
        <dsp:cNvPr id="0" name=""/>
        <dsp:cNvSpPr/>
      </dsp:nvSpPr>
      <dsp:spPr>
        <a:xfrm>
          <a:off x="2978513" y="1944911"/>
          <a:ext cx="482651" cy="572401"/>
        </a:xfrm>
        <a:prstGeom prst="roundRect">
          <a:avLst>
            <a:gd name="adj" fmla="val 10000"/>
          </a:avLst>
        </a:prstGeom>
        <a:pattFill prst="ltDnDiag">
          <a:fgClr>
            <a:schemeClr val="accent6">
              <a:lumMod val="20000"/>
              <a:lumOff val="80000"/>
            </a:schemeClr>
          </a:fgClr>
          <a:bgClr>
            <a:schemeClr val="bg1"/>
          </a:bgClr>
        </a:patt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9050" tIns="19050" rIns="19050" bIns="19050" numCol="1" spcCol="1270" anchor="ctr" anchorCtr="0">
          <a:noAutofit/>
        </a:bodyPr>
        <a:lstStyle/>
        <a:p>
          <a:pPr lvl="0" algn="ctr" defTabSz="222250">
            <a:lnSpc>
              <a:spcPct val="90000"/>
            </a:lnSpc>
            <a:spcBef>
              <a:spcPct val="0"/>
            </a:spcBef>
            <a:spcAft>
              <a:spcPct val="35000"/>
            </a:spcAft>
          </a:pPr>
          <a:r>
            <a:rPr lang="es-ES" sz="500" b="0" i="0" kern="1200" dirty="0">
              <a:latin typeface="+mj-lt"/>
              <a:cs typeface="Calibri Light" panose="020F0302020204030204" pitchFamily="34" charset="0"/>
            </a:rPr>
            <a:t>Revisión de diseño</a:t>
          </a:r>
        </a:p>
      </dsp:txBody>
      <dsp:txXfrm>
        <a:off x="2992649" y="1959047"/>
        <a:ext cx="454379" cy="544129"/>
      </dsp:txXfrm>
    </dsp:sp>
    <dsp:sp modelId="{BC71F93D-A031-E54D-8B3D-F9A5F8E302DA}">
      <dsp:nvSpPr>
        <dsp:cNvPr id="0" name=""/>
        <dsp:cNvSpPr/>
      </dsp:nvSpPr>
      <dsp:spPr>
        <a:xfrm>
          <a:off x="3471300" y="1944911"/>
          <a:ext cx="482651" cy="572401"/>
        </a:xfrm>
        <a:prstGeom prst="roundRect">
          <a:avLst>
            <a:gd name="adj" fmla="val 10000"/>
          </a:avLst>
        </a:prstGeom>
        <a:pattFill prst="ltDnDiag">
          <a:fgClr>
            <a:schemeClr val="accent6">
              <a:lumMod val="20000"/>
              <a:lumOff val="80000"/>
            </a:schemeClr>
          </a:fgClr>
          <a:bgClr>
            <a:schemeClr val="bg1"/>
          </a:bgClr>
        </a:patt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9050" tIns="19050" rIns="19050" bIns="19050" numCol="1" spcCol="1270" anchor="ctr" anchorCtr="0">
          <a:noAutofit/>
        </a:bodyPr>
        <a:lstStyle/>
        <a:p>
          <a:pPr lvl="0" algn="ctr" defTabSz="222250">
            <a:lnSpc>
              <a:spcPct val="90000"/>
            </a:lnSpc>
            <a:spcBef>
              <a:spcPct val="0"/>
            </a:spcBef>
            <a:spcAft>
              <a:spcPct val="35000"/>
            </a:spcAft>
          </a:pPr>
          <a:r>
            <a:rPr lang="es-ES" sz="500" b="0" i="0" kern="1200" dirty="0">
              <a:latin typeface="+mj-lt"/>
              <a:cs typeface="Calibri Light" panose="020F0302020204030204" pitchFamily="34" charset="0"/>
            </a:rPr>
            <a:t>Revisión de código</a:t>
          </a:r>
        </a:p>
      </dsp:txBody>
      <dsp:txXfrm>
        <a:off x="3485436" y="1959047"/>
        <a:ext cx="454379" cy="544129"/>
      </dsp:txXfrm>
    </dsp:sp>
    <dsp:sp modelId="{2ECB1DB0-838A-3E49-A8F5-D7890D77C94E}">
      <dsp:nvSpPr>
        <dsp:cNvPr id="0" name=""/>
        <dsp:cNvSpPr/>
      </dsp:nvSpPr>
      <dsp:spPr>
        <a:xfrm>
          <a:off x="3964086" y="1944911"/>
          <a:ext cx="482651" cy="572401"/>
        </a:xfrm>
        <a:prstGeom prst="roundRect">
          <a:avLst>
            <a:gd name="adj" fmla="val 10000"/>
          </a:avLst>
        </a:prstGeom>
        <a:pattFill prst="ltDnDiag">
          <a:fgClr>
            <a:schemeClr val="accent6">
              <a:lumMod val="20000"/>
              <a:lumOff val="80000"/>
            </a:schemeClr>
          </a:fgClr>
          <a:bgClr>
            <a:schemeClr val="bg1"/>
          </a:bgClr>
        </a:patt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9050" tIns="19050" rIns="19050" bIns="19050" numCol="1" spcCol="1270" anchor="ctr" anchorCtr="0">
          <a:noAutofit/>
        </a:bodyPr>
        <a:lstStyle/>
        <a:p>
          <a:pPr lvl="0" algn="ctr" defTabSz="222250">
            <a:lnSpc>
              <a:spcPct val="90000"/>
            </a:lnSpc>
            <a:spcBef>
              <a:spcPct val="0"/>
            </a:spcBef>
            <a:spcAft>
              <a:spcPct val="35000"/>
            </a:spcAft>
          </a:pPr>
          <a:r>
            <a:rPr lang="es-ES" sz="500" b="0" i="0" kern="1200" dirty="0">
              <a:latin typeface="+mj-lt"/>
              <a:cs typeface="Calibri Light" panose="020F0302020204030204" pitchFamily="34" charset="0"/>
            </a:rPr>
            <a:t>Pruebas de seguridad</a:t>
          </a:r>
        </a:p>
      </dsp:txBody>
      <dsp:txXfrm>
        <a:off x="3978222" y="1959047"/>
        <a:ext cx="454379" cy="544129"/>
      </dsp:txXfrm>
    </dsp:sp>
    <dsp:sp modelId="{C300E95B-36DE-C748-BCF4-E51E57BF6710}">
      <dsp:nvSpPr>
        <dsp:cNvPr id="0" name=""/>
        <dsp:cNvSpPr/>
      </dsp:nvSpPr>
      <dsp:spPr>
        <a:xfrm>
          <a:off x="4467009" y="1296944"/>
          <a:ext cx="1468225" cy="572401"/>
        </a:xfrm>
        <a:prstGeom prst="roundRect">
          <a:avLst>
            <a:gd name="adj" fmla="val 10000"/>
          </a:avLst>
        </a:prstGeom>
        <a:pattFill prst="ltUpDiag">
          <a:fgClr>
            <a:srgbClr val="79C5B3">
              <a:lumMod val="40000"/>
              <a:lumOff val="60000"/>
            </a:srgbClr>
          </a:fgClr>
          <a:bgClr>
            <a:schemeClr val="bg1"/>
          </a:bgClr>
        </a:patt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0480" tIns="30480" rIns="30480" bIns="30480" numCol="1" spcCol="1270" anchor="ctr" anchorCtr="0">
          <a:noAutofit/>
        </a:bodyPr>
        <a:lstStyle/>
        <a:p>
          <a:pPr lvl="0" algn="ctr" defTabSz="333375">
            <a:lnSpc>
              <a:spcPct val="90000"/>
            </a:lnSpc>
            <a:spcBef>
              <a:spcPct val="0"/>
            </a:spcBef>
            <a:spcAft>
              <a:spcPct val="35000"/>
            </a:spcAft>
          </a:pPr>
          <a:r>
            <a:rPr lang="es-ES" sz="750" b="0" i="0" kern="1200" dirty="0">
              <a:latin typeface="+mj-lt"/>
              <a:cs typeface="Calibri Light" panose="020F0302020204030204" pitchFamily="34" charset="0"/>
            </a:rPr>
            <a:t>Implantación</a:t>
          </a:r>
        </a:p>
      </dsp:txBody>
      <dsp:txXfrm>
        <a:off x="4483774" y="1313709"/>
        <a:ext cx="1434695" cy="538871"/>
      </dsp:txXfrm>
    </dsp:sp>
    <dsp:sp modelId="{CD160AC8-FB3D-7B4F-8BD8-4719E775CDF2}">
      <dsp:nvSpPr>
        <dsp:cNvPr id="0" name=""/>
        <dsp:cNvSpPr/>
      </dsp:nvSpPr>
      <dsp:spPr>
        <a:xfrm>
          <a:off x="4467009" y="1944911"/>
          <a:ext cx="482651" cy="572401"/>
        </a:xfrm>
        <a:prstGeom prst="roundRect">
          <a:avLst>
            <a:gd name="adj" fmla="val 10000"/>
          </a:avLst>
        </a:prstGeom>
        <a:pattFill prst="ltDnDiag">
          <a:fgClr>
            <a:schemeClr val="accent6">
              <a:lumMod val="20000"/>
              <a:lumOff val="80000"/>
            </a:schemeClr>
          </a:fgClr>
          <a:bgClr>
            <a:schemeClr val="bg1"/>
          </a:bgClr>
        </a:patt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9050" tIns="19050" rIns="19050" bIns="19050" numCol="1" spcCol="1270" anchor="ctr" anchorCtr="0">
          <a:noAutofit/>
        </a:bodyPr>
        <a:lstStyle/>
        <a:p>
          <a:pPr lvl="0" algn="ctr" defTabSz="222250">
            <a:lnSpc>
              <a:spcPct val="90000"/>
            </a:lnSpc>
            <a:spcBef>
              <a:spcPct val="0"/>
            </a:spcBef>
            <a:spcAft>
              <a:spcPct val="35000"/>
            </a:spcAft>
          </a:pPr>
          <a:r>
            <a:rPr lang="es-ES" sz="500" b="0" i="0" kern="1200" dirty="0">
              <a:latin typeface="+mj-lt"/>
              <a:cs typeface="Calibri Light" panose="020F0302020204030204" pitchFamily="34" charset="0"/>
            </a:rPr>
            <a:t>Gestión de vulnerabilidades</a:t>
          </a:r>
        </a:p>
      </dsp:txBody>
      <dsp:txXfrm>
        <a:off x="4481145" y="1959047"/>
        <a:ext cx="454379" cy="544129"/>
      </dsp:txXfrm>
    </dsp:sp>
    <dsp:sp modelId="{D49AD50E-F829-2C4E-94AA-773E5FE1D26C}">
      <dsp:nvSpPr>
        <dsp:cNvPr id="0" name=""/>
        <dsp:cNvSpPr/>
      </dsp:nvSpPr>
      <dsp:spPr>
        <a:xfrm>
          <a:off x="4959796" y="1944911"/>
          <a:ext cx="482651" cy="572401"/>
        </a:xfrm>
        <a:prstGeom prst="roundRect">
          <a:avLst>
            <a:gd name="adj" fmla="val 10000"/>
          </a:avLst>
        </a:prstGeom>
        <a:pattFill prst="ltDnDiag">
          <a:fgClr>
            <a:schemeClr val="accent6">
              <a:lumMod val="20000"/>
              <a:lumOff val="80000"/>
            </a:schemeClr>
          </a:fgClr>
          <a:bgClr>
            <a:schemeClr val="bg1"/>
          </a:bgClr>
        </a:patt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9050" tIns="19050" rIns="19050" bIns="19050" numCol="1" spcCol="1270" anchor="ctr" anchorCtr="0">
          <a:noAutofit/>
        </a:bodyPr>
        <a:lstStyle/>
        <a:p>
          <a:pPr lvl="0" algn="ctr" defTabSz="222250">
            <a:lnSpc>
              <a:spcPct val="90000"/>
            </a:lnSpc>
            <a:spcBef>
              <a:spcPct val="0"/>
            </a:spcBef>
            <a:spcAft>
              <a:spcPct val="35000"/>
            </a:spcAft>
          </a:pPr>
          <a:r>
            <a:rPr lang="es-ES" sz="500" b="0" i="0" kern="1200" dirty="0">
              <a:latin typeface="+mj-lt"/>
              <a:cs typeface="Calibri Light" panose="020F0302020204030204" pitchFamily="34" charset="0"/>
            </a:rPr>
            <a:t>Bastionado del entorno</a:t>
          </a:r>
        </a:p>
      </dsp:txBody>
      <dsp:txXfrm>
        <a:off x="4973932" y="1959047"/>
        <a:ext cx="454379" cy="544129"/>
      </dsp:txXfrm>
    </dsp:sp>
    <dsp:sp modelId="{2E77F46B-7563-2C4D-A65C-95F0212A0DC9}">
      <dsp:nvSpPr>
        <dsp:cNvPr id="0" name=""/>
        <dsp:cNvSpPr/>
      </dsp:nvSpPr>
      <dsp:spPr>
        <a:xfrm>
          <a:off x="5452583" y="1944911"/>
          <a:ext cx="482651" cy="572401"/>
        </a:xfrm>
        <a:prstGeom prst="roundRect">
          <a:avLst>
            <a:gd name="adj" fmla="val 10000"/>
          </a:avLst>
        </a:prstGeom>
        <a:pattFill prst="ltDnDiag">
          <a:fgClr>
            <a:schemeClr val="accent6">
              <a:lumMod val="20000"/>
              <a:lumOff val="80000"/>
            </a:schemeClr>
          </a:fgClr>
          <a:bgClr>
            <a:schemeClr val="bg1"/>
          </a:bgClr>
        </a:patt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9050" tIns="19050" rIns="19050" bIns="19050" numCol="1" spcCol="1270" anchor="ctr" anchorCtr="0">
          <a:noAutofit/>
        </a:bodyPr>
        <a:lstStyle/>
        <a:p>
          <a:pPr lvl="0" algn="ctr" defTabSz="222250">
            <a:lnSpc>
              <a:spcPct val="90000"/>
            </a:lnSpc>
            <a:spcBef>
              <a:spcPct val="0"/>
            </a:spcBef>
            <a:spcAft>
              <a:spcPct val="35000"/>
            </a:spcAft>
          </a:pPr>
          <a:r>
            <a:rPr lang="es-ES" sz="500" b="0" i="0" kern="1200" dirty="0">
              <a:latin typeface="+mj-lt"/>
              <a:cs typeface="Calibri Light" panose="020F0302020204030204" pitchFamily="34" charset="0"/>
            </a:rPr>
            <a:t>Habilitación operativa</a:t>
          </a:r>
        </a:p>
      </dsp:txBody>
      <dsp:txXfrm>
        <a:off x="5466719" y="1959047"/>
        <a:ext cx="454379" cy="544129"/>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png"/></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png"/></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1" y="0"/>
            <a:ext cx="2945659" cy="498056"/>
          </a:xfrm>
          <a:prstGeom prst="rect">
            <a:avLst/>
          </a:prstGeom>
          <a:noFill/>
          <a:ln>
            <a:noFill/>
          </a:ln>
        </p:spPr>
        <p:txBody>
          <a:bodyPr spcFirstLastPara="1" wrap="square" lIns="92325" tIns="46150" rIns="92325" bIns="4615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799"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799"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799"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799"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799"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799"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799"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799"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50444" y="0"/>
            <a:ext cx="2945659" cy="498056"/>
          </a:xfrm>
          <a:prstGeom prst="rect">
            <a:avLst/>
          </a:prstGeom>
          <a:noFill/>
          <a:ln>
            <a:noFill/>
          </a:ln>
        </p:spPr>
        <p:txBody>
          <a:bodyPr spcFirstLastPara="1" wrap="square" lIns="92325" tIns="46150" rIns="92325" bIns="4615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799"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799"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799"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799"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799"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799"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799"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799"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79768" y="4777196"/>
            <a:ext cx="5438140" cy="3908613"/>
          </a:xfrm>
          <a:prstGeom prst="rect">
            <a:avLst/>
          </a:prstGeom>
          <a:noFill/>
          <a:ln>
            <a:noFill/>
          </a:ln>
        </p:spPr>
        <p:txBody>
          <a:bodyPr spcFirstLastPara="1" wrap="square" lIns="92325" tIns="46150" rIns="92325" bIns="4615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599" b="0" i="0" u="none" strike="noStrike" cap="none">
                <a:solidFill>
                  <a:schemeClr val="dk1"/>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1400"/>
              <a:buFont typeface="Arial"/>
              <a:buNone/>
              <a:defRPr sz="1599"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599"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599"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599"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599"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599"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599"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599"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1" y="9428585"/>
            <a:ext cx="2945659" cy="498055"/>
          </a:xfrm>
          <a:prstGeom prst="rect">
            <a:avLst/>
          </a:prstGeom>
          <a:noFill/>
          <a:ln>
            <a:noFill/>
          </a:ln>
        </p:spPr>
        <p:txBody>
          <a:bodyPr spcFirstLastPara="1" wrap="square" lIns="92325" tIns="46150" rIns="92325" bIns="4615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799"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799"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799"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799"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799"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799"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799"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799"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365050228"/>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1"/>
        <p:cNvGrpSpPr/>
        <p:nvPr/>
      </p:nvGrpSpPr>
      <p:grpSpPr>
        <a:xfrm>
          <a:off x="0" y="0"/>
          <a:ext cx="0" cy="0"/>
          <a:chOff x="0" y="0"/>
          <a:chExt cx="0" cy="0"/>
        </a:xfrm>
      </p:grpSpPr>
      <p:sp>
        <p:nvSpPr>
          <p:cNvPr id="352" name="Google Shape;352;p1: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353" name="Google Shape;353;p1: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3"/>
        <p:cNvGrpSpPr/>
        <p:nvPr/>
      </p:nvGrpSpPr>
      <p:grpSpPr>
        <a:xfrm>
          <a:off x="0" y="0"/>
          <a:ext cx="0" cy="0"/>
          <a:chOff x="0" y="0"/>
          <a:chExt cx="0" cy="0"/>
        </a:xfrm>
      </p:grpSpPr>
      <p:sp>
        <p:nvSpPr>
          <p:cNvPr id="514" name="Google Shape;514;g8055afce9b_0_767: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515" name="Google Shape;515;g8055afce9b_0_767: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2"/>
        <p:cNvGrpSpPr/>
        <p:nvPr/>
      </p:nvGrpSpPr>
      <p:grpSpPr>
        <a:xfrm>
          <a:off x="0" y="0"/>
          <a:ext cx="0" cy="0"/>
          <a:chOff x="0" y="0"/>
          <a:chExt cx="0" cy="0"/>
        </a:xfrm>
      </p:grpSpPr>
      <p:sp>
        <p:nvSpPr>
          <p:cNvPr id="523" name="Google Shape;523;g8055afce9b_0_775: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524" name="Google Shape;524;g8055afce9b_0_775: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6"/>
        <p:cNvGrpSpPr/>
        <p:nvPr/>
      </p:nvGrpSpPr>
      <p:grpSpPr>
        <a:xfrm>
          <a:off x="0" y="0"/>
          <a:ext cx="0" cy="0"/>
          <a:chOff x="0" y="0"/>
          <a:chExt cx="0" cy="0"/>
        </a:xfrm>
      </p:grpSpPr>
      <p:sp>
        <p:nvSpPr>
          <p:cNvPr id="547" name="Google Shape;547;g8055afce9b_0_798: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548" name="Google Shape;548;g8055afce9b_0_798: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4"/>
        <p:cNvGrpSpPr/>
        <p:nvPr/>
      </p:nvGrpSpPr>
      <p:grpSpPr>
        <a:xfrm>
          <a:off x="0" y="0"/>
          <a:ext cx="0" cy="0"/>
          <a:chOff x="0" y="0"/>
          <a:chExt cx="0" cy="0"/>
        </a:xfrm>
      </p:grpSpPr>
      <p:sp>
        <p:nvSpPr>
          <p:cNvPr id="575" name="Google Shape;575;g8055afce9b_0_825: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576" name="Google Shape;576;g8055afce9b_0_825: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0"/>
        <p:cNvGrpSpPr/>
        <p:nvPr/>
      </p:nvGrpSpPr>
      <p:grpSpPr>
        <a:xfrm>
          <a:off x="0" y="0"/>
          <a:ext cx="0" cy="0"/>
          <a:chOff x="0" y="0"/>
          <a:chExt cx="0" cy="0"/>
        </a:xfrm>
      </p:grpSpPr>
      <p:sp>
        <p:nvSpPr>
          <p:cNvPr id="601" name="Google Shape;601;g8055afce9b_0_850: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602" name="Google Shape;602;g8055afce9b_0_850: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8621684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6"/>
        <p:cNvGrpSpPr/>
        <p:nvPr/>
      </p:nvGrpSpPr>
      <p:grpSpPr>
        <a:xfrm>
          <a:off x="0" y="0"/>
          <a:ext cx="0" cy="0"/>
          <a:chOff x="0" y="0"/>
          <a:chExt cx="0" cy="0"/>
        </a:xfrm>
      </p:grpSpPr>
      <p:sp>
        <p:nvSpPr>
          <p:cNvPr id="637" name="Google Shape;637;g8055afce9b_0_885:notes"/>
          <p:cNvSpPr txBox="1">
            <a:spLocks noGrp="1"/>
          </p:cNvSpPr>
          <p:nvPr>
            <p:ph type="body" idx="1"/>
          </p:nvPr>
        </p:nvSpPr>
        <p:spPr>
          <a:xfrm>
            <a:off x="679768" y="4777196"/>
            <a:ext cx="5438100" cy="3908700"/>
          </a:xfrm>
          <a:prstGeom prst="rect">
            <a:avLst/>
          </a:prstGeom>
        </p:spPr>
        <p:txBody>
          <a:bodyPr spcFirstLastPara="1" wrap="square" lIns="92325" tIns="46150" rIns="92325" bIns="46150" anchor="t" anchorCtr="0">
            <a:noAutofit/>
          </a:bodyPr>
          <a:lstStyle/>
          <a:p>
            <a:pPr marL="0" lvl="0" indent="0" algn="l" rtl="0">
              <a:spcBef>
                <a:spcPts val="0"/>
              </a:spcBef>
              <a:spcAft>
                <a:spcPts val="0"/>
              </a:spcAft>
              <a:buNone/>
            </a:pPr>
            <a:endParaRPr/>
          </a:p>
        </p:txBody>
      </p:sp>
      <p:sp>
        <p:nvSpPr>
          <p:cNvPr id="638" name="Google Shape;638;g8055afce9b_0_885: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5"/>
        <p:cNvGrpSpPr/>
        <p:nvPr/>
      </p:nvGrpSpPr>
      <p:grpSpPr>
        <a:xfrm>
          <a:off x="0" y="0"/>
          <a:ext cx="0" cy="0"/>
          <a:chOff x="0" y="0"/>
          <a:chExt cx="0" cy="0"/>
        </a:xfrm>
      </p:grpSpPr>
      <p:sp>
        <p:nvSpPr>
          <p:cNvPr id="686" name="Google Shape;686;g7826bb8c5e_0_1837: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87" name="Google Shape;687;g7826bb8c5e_0_1837: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688" name="Google Shape;688;g7826bb8c5e_0_183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s-ES" sz="1200" b="0" i="0" u="none" strike="noStrike" cap="none">
                <a:solidFill>
                  <a:srgbClr val="000000"/>
                </a:solidFill>
                <a:latin typeface="Arial"/>
                <a:ea typeface="Arial"/>
                <a:cs typeface="Arial"/>
                <a:sym typeface="Arial"/>
              </a:rPr>
              <a:t>16</a:t>
            </a:fld>
            <a:endParaRPr sz="12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2"/>
        <p:cNvGrpSpPr/>
        <p:nvPr/>
      </p:nvGrpSpPr>
      <p:grpSpPr>
        <a:xfrm>
          <a:off x="0" y="0"/>
          <a:ext cx="0" cy="0"/>
          <a:chOff x="0" y="0"/>
          <a:chExt cx="0" cy="0"/>
        </a:xfrm>
      </p:grpSpPr>
      <p:sp>
        <p:nvSpPr>
          <p:cNvPr id="693" name="Google Shape;693;g8055afce9b_0_222: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94" name="Google Shape;694;g8055afce9b_0_222: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695" name="Google Shape;695;g8055afce9b_0_222: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s-ES" sz="1200" b="0" i="0" u="none" strike="noStrike" cap="none">
                <a:solidFill>
                  <a:srgbClr val="000000"/>
                </a:solidFill>
                <a:latin typeface="Arial"/>
                <a:ea typeface="Arial"/>
                <a:cs typeface="Arial"/>
                <a:sym typeface="Arial"/>
              </a:rPr>
              <a:t>17</a:t>
            </a:fld>
            <a:endParaRPr sz="12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3"/>
        <p:cNvGrpSpPr/>
        <p:nvPr/>
      </p:nvGrpSpPr>
      <p:grpSpPr>
        <a:xfrm>
          <a:off x="0" y="0"/>
          <a:ext cx="0" cy="0"/>
          <a:chOff x="0" y="0"/>
          <a:chExt cx="0" cy="0"/>
        </a:xfrm>
      </p:grpSpPr>
      <p:sp>
        <p:nvSpPr>
          <p:cNvPr id="704" name="Google Shape;704;g7826bb8c5e_3_0: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705" name="Google Shape;705;g7826bb8c5e_3_0: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9"/>
        <p:cNvGrpSpPr/>
        <p:nvPr/>
      </p:nvGrpSpPr>
      <p:grpSpPr>
        <a:xfrm>
          <a:off x="0" y="0"/>
          <a:ext cx="0" cy="0"/>
          <a:chOff x="0" y="0"/>
          <a:chExt cx="0" cy="0"/>
        </a:xfrm>
      </p:grpSpPr>
      <p:sp>
        <p:nvSpPr>
          <p:cNvPr id="740" name="Google Shape;740;g7826bb8c5e_0_2459: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741" name="Google Shape;741;g7826bb8c5e_0_2459: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9"/>
        <p:cNvGrpSpPr/>
        <p:nvPr/>
      </p:nvGrpSpPr>
      <p:grpSpPr>
        <a:xfrm>
          <a:off x="0" y="0"/>
          <a:ext cx="0" cy="0"/>
          <a:chOff x="0" y="0"/>
          <a:chExt cx="0" cy="0"/>
        </a:xfrm>
      </p:grpSpPr>
      <p:sp>
        <p:nvSpPr>
          <p:cNvPr id="380" name="Google Shape;380;g8055afce9b_0_345: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381" name="Google Shape;381;g8055afce9b_0_345: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6"/>
        <p:cNvGrpSpPr/>
        <p:nvPr/>
      </p:nvGrpSpPr>
      <p:grpSpPr>
        <a:xfrm>
          <a:off x="0" y="0"/>
          <a:ext cx="0" cy="0"/>
          <a:chOff x="0" y="0"/>
          <a:chExt cx="0" cy="0"/>
        </a:xfrm>
      </p:grpSpPr>
      <p:sp>
        <p:nvSpPr>
          <p:cNvPr id="777" name="Google Shape;777;g7826bb8c5e_0_21: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778" name="Google Shape;778;g7826bb8c5e_0_21: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8"/>
        <p:cNvGrpSpPr/>
        <p:nvPr/>
      </p:nvGrpSpPr>
      <p:grpSpPr>
        <a:xfrm>
          <a:off x="0" y="0"/>
          <a:ext cx="0" cy="0"/>
          <a:chOff x="0" y="0"/>
          <a:chExt cx="0" cy="0"/>
        </a:xfrm>
      </p:grpSpPr>
      <p:sp>
        <p:nvSpPr>
          <p:cNvPr id="809" name="Google Shape;809;g7826bb8c5e_0_2554: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810" name="Google Shape;810;g7826bb8c5e_0_2554: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1"/>
        <p:cNvGrpSpPr/>
        <p:nvPr/>
      </p:nvGrpSpPr>
      <p:grpSpPr>
        <a:xfrm>
          <a:off x="0" y="0"/>
          <a:ext cx="0" cy="0"/>
          <a:chOff x="0" y="0"/>
          <a:chExt cx="0" cy="0"/>
        </a:xfrm>
      </p:grpSpPr>
      <p:sp>
        <p:nvSpPr>
          <p:cNvPr id="842" name="Google Shape;842;g7826bb8c5e_0_2660: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843" name="Google Shape;843;g7826bb8c5e_0_2660: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5"/>
        <p:cNvGrpSpPr/>
        <p:nvPr/>
      </p:nvGrpSpPr>
      <p:grpSpPr>
        <a:xfrm>
          <a:off x="0" y="0"/>
          <a:ext cx="0" cy="0"/>
          <a:chOff x="0" y="0"/>
          <a:chExt cx="0" cy="0"/>
        </a:xfrm>
      </p:grpSpPr>
      <p:sp>
        <p:nvSpPr>
          <p:cNvPr id="886" name="Google Shape;886;p3: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887" name="Google Shape;887;p3: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5"/>
        <p:cNvGrpSpPr/>
        <p:nvPr/>
      </p:nvGrpSpPr>
      <p:grpSpPr>
        <a:xfrm>
          <a:off x="0" y="0"/>
          <a:ext cx="0" cy="0"/>
          <a:chOff x="0" y="0"/>
          <a:chExt cx="0" cy="0"/>
        </a:xfrm>
      </p:grpSpPr>
      <p:sp>
        <p:nvSpPr>
          <p:cNvPr id="976" name="Google Shape;976;p7: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977" name="Google Shape;977;p7: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9"/>
        <p:cNvGrpSpPr/>
        <p:nvPr/>
      </p:nvGrpSpPr>
      <p:grpSpPr>
        <a:xfrm>
          <a:off x="0" y="0"/>
          <a:ext cx="0" cy="0"/>
          <a:chOff x="0" y="0"/>
          <a:chExt cx="0" cy="0"/>
        </a:xfrm>
      </p:grpSpPr>
      <p:sp>
        <p:nvSpPr>
          <p:cNvPr id="1020" name="Google Shape;1020;p8: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1021" name="Google Shape;1021;p8: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9"/>
        <p:cNvGrpSpPr/>
        <p:nvPr/>
      </p:nvGrpSpPr>
      <p:grpSpPr>
        <a:xfrm>
          <a:off x="0" y="0"/>
          <a:ext cx="0" cy="0"/>
          <a:chOff x="0" y="0"/>
          <a:chExt cx="0" cy="0"/>
        </a:xfrm>
      </p:grpSpPr>
      <p:sp>
        <p:nvSpPr>
          <p:cNvPr id="1050" name="Google Shape;1050;g7826bb8c5e_0_3349: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1051" name="Google Shape;1051;g7826bb8c5e_0_3349: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1"/>
        <p:cNvGrpSpPr/>
        <p:nvPr/>
      </p:nvGrpSpPr>
      <p:grpSpPr>
        <a:xfrm>
          <a:off x="0" y="0"/>
          <a:ext cx="0" cy="0"/>
          <a:chOff x="0" y="0"/>
          <a:chExt cx="0" cy="0"/>
        </a:xfrm>
      </p:grpSpPr>
      <p:sp>
        <p:nvSpPr>
          <p:cNvPr id="1082" name="Google Shape;1082;g7826bb8c5e_0_85: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1083" name="Google Shape;1083;g7826bb8c5e_0_85: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8"/>
        <p:cNvGrpSpPr/>
        <p:nvPr/>
      </p:nvGrpSpPr>
      <p:grpSpPr>
        <a:xfrm>
          <a:off x="0" y="0"/>
          <a:ext cx="0" cy="0"/>
          <a:chOff x="0" y="0"/>
          <a:chExt cx="0" cy="0"/>
        </a:xfrm>
      </p:grpSpPr>
      <p:sp>
        <p:nvSpPr>
          <p:cNvPr id="1159" name="Google Shape;1159;g7826bb8c5e_1_8: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1160" name="Google Shape;1160;g7826bb8c5e_1_8: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82"/>
        <p:cNvGrpSpPr/>
        <p:nvPr/>
      </p:nvGrpSpPr>
      <p:grpSpPr>
        <a:xfrm>
          <a:off x="0" y="0"/>
          <a:ext cx="0" cy="0"/>
          <a:chOff x="0" y="0"/>
          <a:chExt cx="0" cy="0"/>
        </a:xfrm>
      </p:grpSpPr>
      <p:sp>
        <p:nvSpPr>
          <p:cNvPr id="1183" name="Google Shape;1183;g7826bb8c5e_1_85: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1184" name="Google Shape;1184;g7826bb8c5e_1_85: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7"/>
        <p:cNvGrpSpPr/>
        <p:nvPr/>
      </p:nvGrpSpPr>
      <p:grpSpPr>
        <a:xfrm>
          <a:off x="0" y="0"/>
          <a:ext cx="0" cy="0"/>
          <a:chOff x="0" y="0"/>
          <a:chExt cx="0" cy="0"/>
        </a:xfrm>
      </p:grpSpPr>
      <p:sp>
        <p:nvSpPr>
          <p:cNvPr id="388" name="Google Shape;388;g7826bb8c5e_0_191: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389" name="Google Shape;389;g7826bb8c5e_0_191: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04"/>
        <p:cNvGrpSpPr/>
        <p:nvPr/>
      </p:nvGrpSpPr>
      <p:grpSpPr>
        <a:xfrm>
          <a:off x="0" y="0"/>
          <a:ext cx="0" cy="0"/>
          <a:chOff x="0" y="0"/>
          <a:chExt cx="0" cy="0"/>
        </a:xfrm>
      </p:grpSpPr>
      <p:sp>
        <p:nvSpPr>
          <p:cNvPr id="1205" name="Google Shape;1205;g7826bb8c5e_0_2771: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1206" name="Google Shape;1206;g7826bb8c5e_0_2771: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04"/>
        <p:cNvGrpSpPr/>
        <p:nvPr/>
      </p:nvGrpSpPr>
      <p:grpSpPr>
        <a:xfrm>
          <a:off x="0" y="0"/>
          <a:ext cx="0" cy="0"/>
          <a:chOff x="0" y="0"/>
          <a:chExt cx="0" cy="0"/>
        </a:xfrm>
      </p:grpSpPr>
      <p:sp>
        <p:nvSpPr>
          <p:cNvPr id="1205" name="Google Shape;1205;g7826bb8c5e_0_2771: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1206" name="Google Shape;1206;g7826bb8c5e_0_2771: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17437440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6"/>
        <p:cNvGrpSpPr/>
        <p:nvPr/>
      </p:nvGrpSpPr>
      <p:grpSpPr>
        <a:xfrm>
          <a:off x="0" y="0"/>
          <a:ext cx="0" cy="0"/>
          <a:chOff x="0" y="0"/>
          <a:chExt cx="0" cy="0"/>
        </a:xfrm>
      </p:grpSpPr>
      <p:sp>
        <p:nvSpPr>
          <p:cNvPr id="1237" name="Google Shape;1237;g7826bb8c5e_0_3433: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1238" name="Google Shape;1238;g7826bb8c5e_0_3433: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8"/>
        <p:cNvGrpSpPr/>
        <p:nvPr/>
      </p:nvGrpSpPr>
      <p:grpSpPr>
        <a:xfrm>
          <a:off x="0" y="0"/>
          <a:ext cx="0" cy="0"/>
          <a:chOff x="0" y="0"/>
          <a:chExt cx="0" cy="0"/>
        </a:xfrm>
      </p:grpSpPr>
      <p:sp>
        <p:nvSpPr>
          <p:cNvPr id="1269" name="Google Shape;1269;g7826bb8c5e_0_3464: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1270" name="Google Shape;1270;g7826bb8c5e_0_3464: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95"/>
        <p:cNvGrpSpPr/>
        <p:nvPr/>
      </p:nvGrpSpPr>
      <p:grpSpPr>
        <a:xfrm>
          <a:off x="0" y="0"/>
          <a:ext cx="0" cy="0"/>
          <a:chOff x="0" y="0"/>
          <a:chExt cx="0" cy="0"/>
        </a:xfrm>
      </p:grpSpPr>
      <p:sp>
        <p:nvSpPr>
          <p:cNvPr id="1296" name="Google Shape;1296;g7826bb8c5e_0_2882: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1297" name="Google Shape;1297;g7826bb8c5e_0_2882: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7"/>
        <p:cNvGrpSpPr/>
        <p:nvPr/>
      </p:nvGrpSpPr>
      <p:grpSpPr>
        <a:xfrm>
          <a:off x="0" y="0"/>
          <a:ext cx="0" cy="0"/>
          <a:chOff x="0" y="0"/>
          <a:chExt cx="0" cy="0"/>
        </a:xfrm>
      </p:grpSpPr>
      <p:sp>
        <p:nvSpPr>
          <p:cNvPr id="1328" name="Google Shape;1328;g7826bb8c5e_0_149: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1329" name="Google Shape;1329;g7826bb8c5e_0_149: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8"/>
        <p:cNvGrpSpPr/>
        <p:nvPr/>
      </p:nvGrpSpPr>
      <p:grpSpPr>
        <a:xfrm>
          <a:off x="0" y="0"/>
          <a:ext cx="0" cy="0"/>
          <a:chOff x="0" y="0"/>
          <a:chExt cx="0" cy="0"/>
        </a:xfrm>
      </p:grpSpPr>
      <p:sp>
        <p:nvSpPr>
          <p:cNvPr id="1359" name="Google Shape;1359;g7826bb8c5e_0_2496: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1360" name="Google Shape;1360;g7826bb8c5e_0_2496: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96"/>
        <p:cNvGrpSpPr/>
        <p:nvPr/>
      </p:nvGrpSpPr>
      <p:grpSpPr>
        <a:xfrm>
          <a:off x="0" y="0"/>
          <a:ext cx="0" cy="0"/>
          <a:chOff x="0" y="0"/>
          <a:chExt cx="0" cy="0"/>
        </a:xfrm>
      </p:grpSpPr>
      <p:sp>
        <p:nvSpPr>
          <p:cNvPr id="1397" name="Google Shape;1397;g7826bb8c5e_0_138: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1398" name="Google Shape;1398;g7826bb8c5e_0_138: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28"/>
        <p:cNvGrpSpPr/>
        <p:nvPr/>
      </p:nvGrpSpPr>
      <p:grpSpPr>
        <a:xfrm>
          <a:off x="0" y="0"/>
          <a:ext cx="0" cy="0"/>
          <a:chOff x="0" y="0"/>
          <a:chExt cx="0" cy="0"/>
        </a:xfrm>
      </p:grpSpPr>
      <p:sp>
        <p:nvSpPr>
          <p:cNvPr id="1429" name="Google Shape;1429;g7826bb8c5e_0_3576: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1430" name="Google Shape;1430;g7826bb8c5e_0_3576: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63"/>
        <p:cNvGrpSpPr/>
        <p:nvPr/>
      </p:nvGrpSpPr>
      <p:grpSpPr>
        <a:xfrm>
          <a:off x="0" y="0"/>
          <a:ext cx="0" cy="0"/>
          <a:chOff x="0" y="0"/>
          <a:chExt cx="0" cy="0"/>
        </a:xfrm>
      </p:grpSpPr>
      <p:sp>
        <p:nvSpPr>
          <p:cNvPr id="1464" name="Google Shape;1464;g7826bb8c5e_0_3042: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1465" name="Google Shape;1465;g7826bb8c5e_0_3042: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0"/>
        <p:cNvGrpSpPr/>
        <p:nvPr/>
      </p:nvGrpSpPr>
      <p:grpSpPr>
        <a:xfrm>
          <a:off x="0" y="0"/>
          <a:ext cx="0" cy="0"/>
          <a:chOff x="0" y="0"/>
          <a:chExt cx="0" cy="0"/>
        </a:xfrm>
      </p:grpSpPr>
      <p:sp>
        <p:nvSpPr>
          <p:cNvPr id="401" name="Google Shape;401;g7826bb8c5e_0_580: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02" name="Google Shape;402;g7826bb8c5e_0_580: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403" name="Google Shape;403;g7826bb8c5e_0_580: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s-ES" sz="1200" b="0" i="0" u="none" strike="noStrike" cap="none">
                <a:solidFill>
                  <a:srgbClr val="000000"/>
                </a:solidFill>
                <a:latin typeface="Arial"/>
                <a:ea typeface="Arial"/>
                <a:cs typeface="Arial"/>
                <a:sym typeface="Arial"/>
              </a:rPr>
              <a:t>4</a:t>
            </a:fld>
            <a:endParaRPr sz="12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95"/>
        <p:cNvGrpSpPr/>
        <p:nvPr/>
      </p:nvGrpSpPr>
      <p:grpSpPr>
        <a:xfrm>
          <a:off x="0" y="0"/>
          <a:ext cx="0" cy="0"/>
          <a:chOff x="0" y="0"/>
          <a:chExt cx="0" cy="0"/>
        </a:xfrm>
      </p:grpSpPr>
      <p:sp>
        <p:nvSpPr>
          <p:cNvPr id="1496" name="Google Shape;1496;g7826bb8c5e_0_3113: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1497" name="Google Shape;1497;g7826bb8c5e_0_3113: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9"/>
        <p:cNvGrpSpPr/>
        <p:nvPr/>
      </p:nvGrpSpPr>
      <p:grpSpPr>
        <a:xfrm>
          <a:off x="0" y="0"/>
          <a:ext cx="0" cy="0"/>
          <a:chOff x="0" y="0"/>
          <a:chExt cx="0" cy="0"/>
        </a:xfrm>
      </p:grpSpPr>
      <p:sp>
        <p:nvSpPr>
          <p:cNvPr id="1530" name="Google Shape;1530;g7826bb8c5e_0_3072: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1531" name="Google Shape;1531;g7826bb8c5e_0_3072: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1"/>
        <p:cNvGrpSpPr/>
        <p:nvPr/>
      </p:nvGrpSpPr>
      <p:grpSpPr>
        <a:xfrm>
          <a:off x="0" y="0"/>
          <a:ext cx="0" cy="0"/>
          <a:chOff x="0" y="0"/>
          <a:chExt cx="0" cy="0"/>
        </a:xfrm>
      </p:grpSpPr>
      <p:sp>
        <p:nvSpPr>
          <p:cNvPr id="1562" name="Google Shape;1562;g7826bb8c5e_0_2991: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1563" name="Google Shape;1563;g7826bb8c5e_0_2991: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8"/>
        <p:cNvGrpSpPr/>
        <p:nvPr/>
      </p:nvGrpSpPr>
      <p:grpSpPr>
        <a:xfrm>
          <a:off x="0" y="0"/>
          <a:ext cx="0" cy="0"/>
          <a:chOff x="0" y="0"/>
          <a:chExt cx="0" cy="0"/>
        </a:xfrm>
      </p:grpSpPr>
      <p:sp>
        <p:nvSpPr>
          <p:cNvPr id="1599" name="Google Shape;1599;g7826bb8c5e_0_970: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00" name="Google Shape;1600;g7826bb8c5e_0_970: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1601" name="Google Shape;1601;g7826bb8c5e_0_970: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799"/>
              <a:buFont typeface="Arial"/>
              <a:buNone/>
            </a:pPr>
            <a:fld id="{00000000-1234-1234-1234-123412341234}" type="slidenum">
              <a:rPr lang="es-ES" sz="1799" b="0" i="0" u="none" strike="noStrike" cap="none">
                <a:solidFill>
                  <a:schemeClr val="dk1"/>
                </a:solidFill>
                <a:latin typeface="Calibri"/>
                <a:ea typeface="Calibri"/>
                <a:cs typeface="Calibri"/>
                <a:sym typeface="Calibri"/>
              </a:rPr>
              <a:t>43</a:t>
            </a:fld>
            <a:endParaRPr sz="1799" b="0" i="0" u="none" strike="noStrike" cap="none">
              <a:solidFill>
                <a:schemeClr val="dk1"/>
              </a:solidFill>
              <a:latin typeface="Calibri"/>
              <a:ea typeface="Calibri"/>
              <a:cs typeface="Calibri"/>
              <a:sym typeface="Calibri"/>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9"/>
        <p:cNvGrpSpPr/>
        <p:nvPr/>
      </p:nvGrpSpPr>
      <p:grpSpPr>
        <a:xfrm>
          <a:off x="0" y="0"/>
          <a:ext cx="0" cy="0"/>
          <a:chOff x="0" y="0"/>
          <a:chExt cx="0" cy="0"/>
        </a:xfrm>
      </p:grpSpPr>
      <p:sp>
        <p:nvSpPr>
          <p:cNvPr id="1610" name="Google Shape;1610;p5:notes"/>
          <p:cNvSpPr txBox="1">
            <a:spLocks noGrp="1"/>
          </p:cNvSpPr>
          <p:nvPr>
            <p:ph type="body" idx="1"/>
          </p:nvPr>
        </p:nvSpPr>
        <p:spPr>
          <a:xfrm>
            <a:off x="679768" y="4777196"/>
            <a:ext cx="5438140" cy="3908613"/>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1611" name="Google Shape;1611;p5: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30"/>
        <p:cNvGrpSpPr/>
        <p:nvPr/>
      </p:nvGrpSpPr>
      <p:grpSpPr>
        <a:xfrm>
          <a:off x="0" y="0"/>
          <a:ext cx="0" cy="0"/>
          <a:chOff x="0" y="0"/>
          <a:chExt cx="0" cy="0"/>
        </a:xfrm>
      </p:grpSpPr>
      <p:sp>
        <p:nvSpPr>
          <p:cNvPr id="1631" name="Google Shape;1631;p6:notes"/>
          <p:cNvSpPr txBox="1">
            <a:spLocks noGrp="1"/>
          </p:cNvSpPr>
          <p:nvPr>
            <p:ph type="body" idx="1"/>
          </p:nvPr>
        </p:nvSpPr>
        <p:spPr>
          <a:xfrm>
            <a:off x="679768" y="4777196"/>
            <a:ext cx="5438140" cy="3908613"/>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1632" name="Google Shape;1632;p6: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80"/>
        <p:cNvGrpSpPr/>
        <p:nvPr/>
      </p:nvGrpSpPr>
      <p:grpSpPr>
        <a:xfrm>
          <a:off x="0" y="0"/>
          <a:ext cx="0" cy="0"/>
          <a:chOff x="0" y="0"/>
          <a:chExt cx="0" cy="0"/>
        </a:xfrm>
      </p:grpSpPr>
      <p:sp>
        <p:nvSpPr>
          <p:cNvPr id="1681" name="Google Shape;1681;p10:notes"/>
          <p:cNvSpPr txBox="1">
            <a:spLocks noGrp="1"/>
          </p:cNvSpPr>
          <p:nvPr>
            <p:ph type="body" idx="1"/>
          </p:nvPr>
        </p:nvSpPr>
        <p:spPr>
          <a:xfrm>
            <a:off x="679768" y="4777196"/>
            <a:ext cx="5438140" cy="3908613"/>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1682" name="Google Shape;1682;p10: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4"/>
        <p:cNvGrpSpPr/>
        <p:nvPr/>
      </p:nvGrpSpPr>
      <p:grpSpPr>
        <a:xfrm>
          <a:off x="0" y="0"/>
          <a:ext cx="0" cy="0"/>
          <a:chOff x="0" y="0"/>
          <a:chExt cx="0" cy="0"/>
        </a:xfrm>
      </p:grpSpPr>
      <p:sp>
        <p:nvSpPr>
          <p:cNvPr id="575" name="Google Shape;575;g8055afce9b_0_825: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576" name="Google Shape;576;g8055afce9b_0_825: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12894384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0"/>
        <p:cNvGrpSpPr/>
        <p:nvPr/>
      </p:nvGrpSpPr>
      <p:grpSpPr>
        <a:xfrm>
          <a:off x="0" y="0"/>
          <a:ext cx="0" cy="0"/>
          <a:chOff x="0" y="0"/>
          <a:chExt cx="0" cy="0"/>
        </a:xfrm>
      </p:grpSpPr>
      <p:sp>
        <p:nvSpPr>
          <p:cNvPr id="601" name="Google Shape;601;g8055afce9b_0_850: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602" name="Google Shape;602;g8055afce9b_0_850: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73799409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20"/>
        <p:cNvGrpSpPr/>
        <p:nvPr/>
      </p:nvGrpSpPr>
      <p:grpSpPr>
        <a:xfrm>
          <a:off x="0" y="0"/>
          <a:ext cx="0" cy="0"/>
          <a:chOff x="0" y="0"/>
          <a:chExt cx="0" cy="0"/>
        </a:xfrm>
      </p:grpSpPr>
      <p:sp>
        <p:nvSpPr>
          <p:cNvPr id="1821" name="Google Shape;1821;g7826bb8c5e_0_1744: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1822" name="Google Shape;1822;g7826bb8c5e_0_1744: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3"/>
        <p:cNvGrpSpPr/>
        <p:nvPr/>
      </p:nvGrpSpPr>
      <p:grpSpPr>
        <a:xfrm>
          <a:off x="0" y="0"/>
          <a:ext cx="0" cy="0"/>
          <a:chOff x="0" y="0"/>
          <a:chExt cx="0" cy="0"/>
        </a:xfrm>
      </p:grpSpPr>
      <p:sp>
        <p:nvSpPr>
          <p:cNvPr id="414" name="Google Shape;414;p2:notes"/>
          <p:cNvSpPr txBox="1">
            <a:spLocks noGrp="1"/>
          </p:cNvSpPr>
          <p:nvPr>
            <p:ph type="body" idx="1"/>
          </p:nvPr>
        </p:nvSpPr>
        <p:spPr>
          <a:xfrm>
            <a:off x="679768" y="4777196"/>
            <a:ext cx="5438140" cy="3908613"/>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415" name="Google Shape;415;p2: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9"/>
        <p:cNvGrpSpPr/>
        <p:nvPr/>
      </p:nvGrpSpPr>
      <p:grpSpPr>
        <a:xfrm>
          <a:off x="0" y="0"/>
          <a:ext cx="0" cy="0"/>
          <a:chOff x="0" y="0"/>
          <a:chExt cx="0" cy="0"/>
        </a:xfrm>
      </p:grpSpPr>
      <p:sp>
        <p:nvSpPr>
          <p:cNvPr id="1860" name="Google Shape;1860;g7826bb8c5e_0_3611: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1861" name="Google Shape;1861;g7826bb8c5e_0_3611: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13"/>
        <p:cNvGrpSpPr/>
        <p:nvPr/>
      </p:nvGrpSpPr>
      <p:grpSpPr>
        <a:xfrm>
          <a:off x="0" y="0"/>
          <a:ext cx="0" cy="0"/>
          <a:chOff x="0" y="0"/>
          <a:chExt cx="0" cy="0"/>
        </a:xfrm>
      </p:grpSpPr>
      <p:sp>
        <p:nvSpPr>
          <p:cNvPr id="1914" name="Google Shape;1914;g7826bb8c5e_0_3827: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15" name="Google Shape;1915;g7826bb8c5e_0_3827: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1916" name="Google Shape;1916;g7826bb8c5e_0_3827: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s-ES" sz="1200" b="0" i="0" u="none" strike="noStrike" cap="none">
                <a:solidFill>
                  <a:srgbClr val="000000"/>
                </a:solidFill>
                <a:latin typeface="Arial"/>
                <a:ea typeface="Arial"/>
                <a:cs typeface="Arial"/>
                <a:sym typeface="Arial"/>
              </a:rPr>
              <a:t>51</a:t>
            </a:fld>
            <a:endParaRPr sz="12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26"/>
        <p:cNvGrpSpPr/>
        <p:nvPr/>
      </p:nvGrpSpPr>
      <p:grpSpPr>
        <a:xfrm>
          <a:off x="0" y="0"/>
          <a:ext cx="0" cy="0"/>
          <a:chOff x="0" y="0"/>
          <a:chExt cx="0" cy="0"/>
        </a:xfrm>
      </p:grpSpPr>
      <p:sp>
        <p:nvSpPr>
          <p:cNvPr id="1927" name="Google Shape;1927;g7826bb8c5e_0_4294: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1928" name="Google Shape;1928;g7826bb8c5e_0_4294: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06"/>
        <p:cNvGrpSpPr/>
        <p:nvPr/>
      </p:nvGrpSpPr>
      <p:grpSpPr>
        <a:xfrm>
          <a:off x="0" y="0"/>
          <a:ext cx="0" cy="0"/>
          <a:chOff x="0" y="0"/>
          <a:chExt cx="0" cy="0"/>
        </a:xfrm>
      </p:grpSpPr>
      <p:sp>
        <p:nvSpPr>
          <p:cNvPr id="2607" name="Google Shape;2607;g805494e7d0_2_297: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2608" name="Google Shape;2608;g805494e7d0_2_297: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49"/>
        <p:cNvGrpSpPr/>
        <p:nvPr/>
      </p:nvGrpSpPr>
      <p:grpSpPr>
        <a:xfrm>
          <a:off x="0" y="0"/>
          <a:ext cx="0" cy="0"/>
          <a:chOff x="0" y="0"/>
          <a:chExt cx="0" cy="0"/>
        </a:xfrm>
      </p:grpSpPr>
      <p:sp>
        <p:nvSpPr>
          <p:cNvPr id="2650" name="Google Shape;2650;g805494e7d0_2_302: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2651" name="Google Shape;2651;g805494e7d0_2_302: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71"/>
        <p:cNvGrpSpPr/>
        <p:nvPr/>
      </p:nvGrpSpPr>
      <p:grpSpPr>
        <a:xfrm>
          <a:off x="0" y="0"/>
          <a:ext cx="0" cy="0"/>
          <a:chOff x="0" y="0"/>
          <a:chExt cx="0" cy="0"/>
        </a:xfrm>
      </p:grpSpPr>
      <p:sp>
        <p:nvSpPr>
          <p:cNvPr id="2672" name="Google Shape;2672;g805494e7d0_2_307: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2673" name="Google Shape;2673;g805494e7d0_2_307: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30"/>
        <p:cNvGrpSpPr/>
        <p:nvPr/>
      </p:nvGrpSpPr>
      <p:grpSpPr>
        <a:xfrm>
          <a:off x="0" y="0"/>
          <a:ext cx="0" cy="0"/>
          <a:chOff x="0" y="0"/>
          <a:chExt cx="0" cy="0"/>
        </a:xfrm>
      </p:grpSpPr>
      <p:sp>
        <p:nvSpPr>
          <p:cNvPr id="2731" name="Google Shape;2731;g805494e7d0_2_312: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2732" name="Google Shape;2732;g805494e7d0_2_312: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59"/>
        <p:cNvGrpSpPr/>
        <p:nvPr/>
      </p:nvGrpSpPr>
      <p:grpSpPr>
        <a:xfrm>
          <a:off x="0" y="0"/>
          <a:ext cx="0" cy="0"/>
          <a:chOff x="0" y="0"/>
          <a:chExt cx="0" cy="0"/>
        </a:xfrm>
      </p:grpSpPr>
      <p:sp>
        <p:nvSpPr>
          <p:cNvPr id="2760" name="Google Shape;2760;g805494e7d0_2_322: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2761" name="Google Shape;2761;g805494e7d0_2_322: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07"/>
        <p:cNvGrpSpPr/>
        <p:nvPr/>
      </p:nvGrpSpPr>
      <p:grpSpPr>
        <a:xfrm>
          <a:off x="0" y="0"/>
          <a:ext cx="0" cy="0"/>
          <a:chOff x="0" y="0"/>
          <a:chExt cx="0" cy="0"/>
        </a:xfrm>
      </p:grpSpPr>
      <p:sp>
        <p:nvSpPr>
          <p:cNvPr id="2808" name="Google Shape;2808;g805494e7d0_2_317: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2809" name="Google Shape;2809;g805494e7d0_2_317: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33"/>
        <p:cNvGrpSpPr/>
        <p:nvPr/>
      </p:nvGrpSpPr>
      <p:grpSpPr>
        <a:xfrm>
          <a:off x="0" y="0"/>
          <a:ext cx="0" cy="0"/>
          <a:chOff x="0" y="0"/>
          <a:chExt cx="0" cy="0"/>
        </a:xfrm>
      </p:grpSpPr>
      <p:sp>
        <p:nvSpPr>
          <p:cNvPr id="2834" name="Google Shape;2834;g805494e7d0_2_86: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2835" name="Google Shape;2835;g805494e7d0_2_86: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g8055afce9b_0_695: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439" name="Google Shape;439;g8055afce9b_0_695: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45"/>
        <p:cNvGrpSpPr/>
        <p:nvPr/>
      </p:nvGrpSpPr>
      <p:grpSpPr>
        <a:xfrm>
          <a:off x="0" y="0"/>
          <a:ext cx="0" cy="0"/>
          <a:chOff x="0" y="0"/>
          <a:chExt cx="0" cy="0"/>
        </a:xfrm>
      </p:grpSpPr>
      <p:sp>
        <p:nvSpPr>
          <p:cNvPr id="3046" name="Google Shape;3046;p9:notes"/>
          <p:cNvSpPr txBox="1">
            <a:spLocks noGrp="1"/>
          </p:cNvSpPr>
          <p:nvPr>
            <p:ph type="body" idx="1"/>
          </p:nvPr>
        </p:nvSpPr>
        <p:spPr>
          <a:xfrm>
            <a:off x="679768" y="4777196"/>
            <a:ext cx="5438140" cy="3908613"/>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3047" name="Google Shape;3047;p9: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0"/>
        <p:cNvGrpSpPr/>
        <p:nvPr/>
      </p:nvGrpSpPr>
      <p:grpSpPr>
        <a:xfrm>
          <a:off x="0" y="0"/>
          <a:ext cx="0" cy="0"/>
          <a:chOff x="0" y="0"/>
          <a:chExt cx="0" cy="0"/>
        </a:xfrm>
      </p:grpSpPr>
      <p:sp>
        <p:nvSpPr>
          <p:cNvPr id="451" name="Google Shape;451;g8055afce9b_0_707: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452" name="Google Shape;452;g8055afce9b_0_707: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1"/>
        <p:cNvGrpSpPr/>
        <p:nvPr/>
      </p:nvGrpSpPr>
      <p:grpSpPr>
        <a:xfrm>
          <a:off x="0" y="0"/>
          <a:ext cx="0" cy="0"/>
          <a:chOff x="0" y="0"/>
          <a:chExt cx="0" cy="0"/>
        </a:xfrm>
      </p:grpSpPr>
      <p:sp>
        <p:nvSpPr>
          <p:cNvPr id="472" name="Google Shape;472;g8055afce9b_0_727: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473" name="Google Shape;473;g8055afce9b_0_727: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3"/>
        <p:cNvGrpSpPr/>
        <p:nvPr/>
      </p:nvGrpSpPr>
      <p:grpSpPr>
        <a:xfrm>
          <a:off x="0" y="0"/>
          <a:ext cx="0" cy="0"/>
          <a:chOff x="0" y="0"/>
          <a:chExt cx="0" cy="0"/>
        </a:xfrm>
      </p:grpSpPr>
      <p:sp>
        <p:nvSpPr>
          <p:cNvPr id="504" name="Google Shape;504;g8055afce9b_0_758:notes"/>
          <p:cNvSpPr txBox="1">
            <a:spLocks noGrp="1"/>
          </p:cNvSpPr>
          <p:nvPr>
            <p:ph type="body" idx="1"/>
          </p:nvPr>
        </p:nvSpPr>
        <p:spPr>
          <a:xfrm>
            <a:off x="679768" y="4777196"/>
            <a:ext cx="5438100" cy="3908700"/>
          </a:xfrm>
          <a:prstGeom prst="rect">
            <a:avLst/>
          </a:prstGeom>
          <a:noFill/>
          <a:ln>
            <a:noFill/>
          </a:ln>
        </p:spPr>
        <p:txBody>
          <a:bodyPr spcFirstLastPara="1" wrap="square" lIns="92325" tIns="46150" rIns="92325" bIns="46150" anchor="t" anchorCtr="0">
            <a:noAutofit/>
          </a:bodyPr>
          <a:lstStyle/>
          <a:p>
            <a:pPr marL="0" lvl="0" indent="0" algn="l" rtl="0">
              <a:lnSpc>
                <a:spcPct val="100000"/>
              </a:lnSpc>
              <a:spcBef>
                <a:spcPts val="0"/>
              </a:spcBef>
              <a:spcAft>
                <a:spcPts val="0"/>
              </a:spcAft>
              <a:buSzPts val="1400"/>
              <a:buNone/>
            </a:pPr>
            <a:endParaRPr/>
          </a:p>
        </p:txBody>
      </p:sp>
      <p:sp>
        <p:nvSpPr>
          <p:cNvPr id="505" name="Google Shape;505;g8055afce9b_0_758: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vmlDrawing" Target="../drawings/vmlDrawing1.v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 Id="rId5" Type="http://schemas.openxmlformats.org/officeDocument/2006/relationships/image" Target="../media/image6.png"/><Relationship Id="rId4" Type="http://schemas.openxmlformats.org/officeDocument/2006/relationships/image" Target="../media/image3.png"/></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vmlDrawing" Target="../drawings/vmlDrawing4.vml"/><Relationship Id="rId4"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vmlDrawing" Target="../drawings/vmlDrawing5.vml"/><Relationship Id="rId4"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vmlDrawing" Target="../drawings/vmlDrawing6.vml"/><Relationship Id="rId4"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vmlDrawing" Target="../drawings/vmlDrawing7.vml"/><Relationship Id="rId5" Type="http://schemas.openxmlformats.org/officeDocument/2006/relationships/image" Target="../media/image5.png"/><Relationship Id="rId4" Type="http://schemas.openxmlformats.org/officeDocument/2006/relationships/image" Target="../media/image3.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3. Portada blanca">
  <p:cSld name="3. Portada blanca">
    <p:spTree>
      <p:nvGrpSpPr>
        <p:cNvPr id="1" name="Shape 9"/>
        <p:cNvGrpSpPr/>
        <p:nvPr/>
      </p:nvGrpSpPr>
      <p:grpSpPr>
        <a:xfrm>
          <a:off x="0" y="0"/>
          <a:ext cx="0" cy="0"/>
          <a:chOff x="0" y="0"/>
          <a:chExt cx="0" cy="0"/>
        </a:xfrm>
      </p:grpSpPr>
      <p:sp>
        <p:nvSpPr>
          <p:cNvPr id="10" name="Google Shape;10;p13"/>
          <p:cNvSpPr txBox="1">
            <a:spLocks noGrp="1"/>
          </p:cNvSpPr>
          <p:nvPr>
            <p:ph type="body" idx="1"/>
          </p:nvPr>
        </p:nvSpPr>
        <p:spPr>
          <a:xfrm>
            <a:off x="336004" y="4414944"/>
            <a:ext cx="5651500" cy="290408"/>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999"/>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1pPr>
            <a:lvl2pPr marL="914400" marR="0" lvl="1" indent="-380936" algn="l" rtl="0">
              <a:lnSpc>
                <a:spcPct val="90000"/>
              </a:lnSpc>
              <a:spcBef>
                <a:spcPts val="500"/>
              </a:spcBef>
              <a:spcAft>
                <a:spcPts val="0"/>
              </a:spcAft>
              <a:buClr>
                <a:schemeClr val="dk1"/>
              </a:buClr>
              <a:buSzPts val="2399"/>
              <a:buFont typeface="Arial"/>
              <a:buChar char="•"/>
              <a:defRPr sz="2399" b="0" i="0" u="none" strike="noStrike" cap="none">
                <a:solidFill>
                  <a:schemeClr val="dk1"/>
                </a:solidFill>
                <a:latin typeface="Arial"/>
                <a:ea typeface="Arial"/>
                <a:cs typeface="Arial"/>
                <a:sym typeface="Arial"/>
              </a:defRPr>
            </a:lvl2pPr>
            <a:lvl3pPr marL="1371600" marR="0" lvl="2" indent="-355536" algn="l" rtl="0">
              <a:lnSpc>
                <a:spcPct val="90000"/>
              </a:lnSpc>
              <a:spcBef>
                <a:spcPts val="500"/>
              </a:spcBef>
              <a:spcAft>
                <a:spcPts val="0"/>
              </a:spcAft>
              <a:buClr>
                <a:schemeClr val="dk1"/>
              </a:buClr>
              <a:buSzPts val="1999"/>
              <a:buFont typeface="Arial"/>
              <a:buChar char="•"/>
              <a:defRPr sz="1999" b="0" i="0" u="none" strike="noStrike" cap="none">
                <a:solidFill>
                  <a:schemeClr val="dk1"/>
                </a:solidFill>
                <a:latin typeface="Arial"/>
                <a:ea typeface="Arial"/>
                <a:cs typeface="Arial"/>
                <a:sym typeface="Arial"/>
              </a:defRPr>
            </a:lvl3pPr>
            <a:lvl4pPr marL="1828800" marR="0" lvl="3"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4pPr>
            <a:lvl5pPr marL="2286000" marR="0" lvl="4"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
        <p:nvSpPr>
          <p:cNvPr id="11" name="Google Shape;11;p13"/>
          <p:cNvSpPr txBox="1">
            <a:spLocks noGrp="1"/>
          </p:cNvSpPr>
          <p:nvPr>
            <p:ph type="title"/>
          </p:nvPr>
        </p:nvSpPr>
        <p:spPr>
          <a:xfrm>
            <a:off x="336002" y="2428697"/>
            <a:ext cx="6310745" cy="1648341"/>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4400"/>
              <a:buFont typeface="Playfair Display"/>
              <a:buNone/>
              <a:defRPr sz="4400"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2" name="Google Shape;12;p13"/>
          <p:cNvSpPr txBox="1">
            <a:spLocks noGrp="1"/>
          </p:cNvSpPr>
          <p:nvPr>
            <p:ph type="body" idx="2"/>
          </p:nvPr>
        </p:nvSpPr>
        <p:spPr>
          <a:xfrm>
            <a:off x="336004" y="4853097"/>
            <a:ext cx="5651500" cy="199445"/>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999"/>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380936" algn="l" rtl="0">
              <a:lnSpc>
                <a:spcPct val="90000"/>
              </a:lnSpc>
              <a:spcBef>
                <a:spcPts val="500"/>
              </a:spcBef>
              <a:spcAft>
                <a:spcPts val="0"/>
              </a:spcAft>
              <a:buClr>
                <a:schemeClr val="dk1"/>
              </a:buClr>
              <a:buSzPts val="2399"/>
              <a:buFont typeface="Arial"/>
              <a:buChar char="•"/>
              <a:defRPr sz="2399" b="0" i="0" u="none" strike="noStrike" cap="none">
                <a:solidFill>
                  <a:schemeClr val="dk1"/>
                </a:solidFill>
                <a:latin typeface="Arial"/>
                <a:ea typeface="Arial"/>
                <a:cs typeface="Arial"/>
                <a:sym typeface="Arial"/>
              </a:defRPr>
            </a:lvl2pPr>
            <a:lvl3pPr marL="1371600" marR="0" lvl="2" indent="-355536" algn="l" rtl="0">
              <a:lnSpc>
                <a:spcPct val="90000"/>
              </a:lnSpc>
              <a:spcBef>
                <a:spcPts val="500"/>
              </a:spcBef>
              <a:spcAft>
                <a:spcPts val="0"/>
              </a:spcAft>
              <a:buClr>
                <a:schemeClr val="dk1"/>
              </a:buClr>
              <a:buSzPts val="1999"/>
              <a:buFont typeface="Arial"/>
              <a:buChar char="•"/>
              <a:defRPr sz="1999" b="0" i="0" u="none" strike="noStrike" cap="none">
                <a:solidFill>
                  <a:schemeClr val="dk1"/>
                </a:solidFill>
                <a:latin typeface="Arial"/>
                <a:ea typeface="Arial"/>
                <a:cs typeface="Arial"/>
                <a:sym typeface="Arial"/>
              </a:defRPr>
            </a:lvl3pPr>
            <a:lvl4pPr marL="1828800" marR="0" lvl="3"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4pPr>
            <a:lvl5pPr marL="2286000" marR="0" lvl="4"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
        <p:nvSpPr>
          <p:cNvPr id="13" name="Google Shape;13;p13"/>
          <p:cNvSpPr>
            <a:spLocks noGrp="1"/>
          </p:cNvSpPr>
          <p:nvPr>
            <p:ph type="pic" idx="3"/>
          </p:nvPr>
        </p:nvSpPr>
        <p:spPr>
          <a:xfrm>
            <a:off x="336000" y="986371"/>
            <a:ext cx="1799167" cy="639233"/>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999"/>
              </a:spcBef>
              <a:spcAft>
                <a:spcPts val="0"/>
              </a:spcAft>
              <a:buClr>
                <a:schemeClr val="dk1"/>
              </a:buClr>
              <a:buSzPts val="1333"/>
              <a:buFont typeface="Arial"/>
              <a:buNone/>
              <a:defRPr sz="1333" b="0" i="0" u="none" strike="noStrike" cap="none">
                <a:solidFill>
                  <a:schemeClr val="dk1"/>
                </a:solidFill>
                <a:latin typeface="Arial"/>
                <a:ea typeface="Arial"/>
                <a:cs typeface="Arial"/>
                <a:sym typeface="Arial"/>
              </a:defRPr>
            </a:lvl1pPr>
            <a:lvl2pPr marR="0" lvl="1" algn="l" rtl="0">
              <a:lnSpc>
                <a:spcPct val="90000"/>
              </a:lnSpc>
              <a:spcBef>
                <a:spcPts val="500"/>
              </a:spcBef>
              <a:spcAft>
                <a:spcPts val="0"/>
              </a:spcAft>
              <a:buClr>
                <a:schemeClr val="dk1"/>
              </a:buClr>
              <a:buSzPts val="2399"/>
              <a:buFont typeface="Arial"/>
              <a:buChar char="•"/>
              <a:defRPr sz="2399"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1999"/>
              <a:buFont typeface="Arial"/>
              <a:buChar char="•"/>
              <a:defRPr sz="1999"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pic>
        <p:nvPicPr>
          <p:cNvPr id="14" name="Google Shape;14;p13"/>
          <p:cNvPicPr preferRelativeResize="0"/>
          <p:nvPr/>
        </p:nvPicPr>
        <p:blipFill rotWithShape="1">
          <a:blip r:embed="rId2">
            <a:alphaModFix/>
          </a:blip>
          <a:srcRect/>
          <a:stretch/>
        </p:blipFill>
        <p:spPr>
          <a:xfrm>
            <a:off x="8085668" y="6337302"/>
            <a:ext cx="1444604" cy="176283"/>
          </a:xfrm>
          <a:prstGeom prst="rect">
            <a:avLst/>
          </a:prstGeom>
          <a:noFill/>
          <a:ln>
            <a:noFill/>
          </a:ln>
        </p:spPr>
      </p:pic>
      <p:pic>
        <p:nvPicPr>
          <p:cNvPr id="15" name="Google Shape;15;p13"/>
          <p:cNvPicPr preferRelativeResize="0"/>
          <p:nvPr/>
        </p:nvPicPr>
        <p:blipFill rotWithShape="1">
          <a:blip r:embed="rId3">
            <a:alphaModFix/>
          </a:blip>
          <a:srcRect/>
          <a:stretch/>
        </p:blipFill>
        <p:spPr>
          <a:xfrm>
            <a:off x="385014" y="6118996"/>
            <a:ext cx="1795156" cy="356183"/>
          </a:xfrm>
          <a:prstGeom prst="rect">
            <a:avLst/>
          </a:prstGeom>
          <a:noFill/>
          <a:ln>
            <a:noFill/>
          </a:ln>
        </p:spPr>
      </p:pic>
      <p:grpSp>
        <p:nvGrpSpPr>
          <p:cNvPr id="16" name="Google Shape;16;p13"/>
          <p:cNvGrpSpPr/>
          <p:nvPr/>
        </p:nvGrpSpPr>
        <p:grpSpPr>
          <a:xfrm>
            <a:off x="6855149" y="1346032"/>
            <a:ext cx="2082116" cy="3698006"/>
            <a:chOff x="4707212" y="1022350"/>
            <a:chExt cx="1561588" cy="2774950"/>
          </a:xfrm>
        </p:grpSpPr>
        <p:sp>
          <p:nvSpPr>
            <p:cNvPr id="17" name="Google Shape;17;p13"/>
            <p:cNvSpPr/>
            <p:nvPr/>
          </p:nvSpPr>
          <p:spPr>
            <a:xfrm>
              <a:off x="4707731" y="1022350"/>
              <a:ext cx="171450" cy="2774950"/>
            </a:xfrm>
            <a:custGeom>
              <a:avLst/>
              <a:gdLst/>
              <a:ahLst/>
              <a:cxnLst/>
              <a:rect l="l" t="t" r="r" b="b"/>
              <a:pathLst>
                <a:path w="171450" h="2761456" extrusionOk="0">
                  <a:moveTo>
                    <a:pt x="0" y="0"/>
                  </a:moveTo>
                  <a:lnTo>
                    <a:pt x="168275" y="47393"/>
                  </a:lnTo>
                  <a:cubicBezTo>
                    <a:pt x="169333" y="934089"/>
                    <a:pt x="170392" y="1820785"/>
                    <a:pt x="171450" y="2707481"/>
                  </a:cubicBezTo>
                  <a:lnTo>
                    <a:pt x="0" y="2761456"/>
                  </a:lnTo>
                  <a:lnTo>
                    <a:pt x="0" y="0"/>
                  </a:ln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18" name="Google Shape;18;p13"/>
            <p:cNvSpPr/>
            <p:nvPr/>
          </p:nvSpPr>
          <p:spPr>
            <a:xfrm>
              <a:off x="6096000" y="1470024"/>
              <a:ext cx="172800" cy="1879601"/>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19" name="Google Shape;19;p13"/>
            <p:cNvSpPr/>
            <p:nvPr/>
          </p:nvSpPr>
          <p:spPr>
            <a:xfrm rot="6360000">
              <a:off x="5398802" y="549962"/>
              <a:ext cx="172800" cy="1569135"/>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20" name="Google Shape;20;p13"/>
            <p:cNvSpPr/>
            <p:nvPr/>
          </p:nvSpPr>
          <p:spPr>
            <a:xfrm rot="4440000">
              <a:off x="5430331" y="2717021"/>
              <a:ext cx="172800" cy="1507683"/>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grpSp>
      <p:grpSp>
        <p:nvGrpSpPr>
          <p:cNvPr id="21" name="Google Shape;21;p13"/>
          <p:cNvGrpSpPr/>
          <p:nvPr/>
        </p:nvGrpSpPr>
        <p:grpSpPr>
          <a:xfrm>
            <a:off x="8163558" y="1346032"/>
            <a:ext cx="2082116" cy="3698006"/>
            <a:chOff x="4707212" y="1022350"/>
            <a:chExt cx="1561588" cy="2774950"/>
          </a:xfrm>
        </p:grpSpPr>
        <p:sp>
          <p:nvSpPr>
            <p:cNvPr id="22" name="Google Shape;22;p13"/>
            <p:cNvSpPr/>
            <p:nvPr/>
          </p:nvSpPr>
          <p:spPr>
            <a:xfrm>
              <a:off x="4707731" y="1022350"/>
              <a:ext cx="171450" cy="2774950"/>
            </a:xfrm>
            <a:custGeom>
              <a:avLst/>
              <a:gdLst/>
              <a:ahLst/>
              <a:cxnLst/>
              <a:rect l="l" t="t" r="r" b="b"/>
              <a:pathLst>
                <a:path w="171450" h="2761456" extrusionOk="0">
                  <a:moveTo>
                    <a:pt x="0" y="0"/>
                  </a:moveTo>
                  <a:lnTo>
                    <a:pt x="168275" y="47393"/>
                  </a:lnTo>
                  <a:cubicBezTo>
                    <a:pt x="169333" y="934089"/>
                    <a:pt x="170392" y="1820785"/>
                    <a:pt x="171450" y="2707481"/>
                  </a:cubicBezTo>
                  <a:lnTo>
                    <a:pt x="0" y="2761456"/>
                  </a:lnTo>
                  <a:lnTo>
                    <a:pt x="0" y="0"/>
                  </a:lnTo>
                  <a:close/>
                </a:path>
              </a:pathLst>
            </a:cu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23" name="Google Shape;23;p13"/>
            <p:cNvSpPr/>
            <p:nvPr/>
          </p:nvSpPr>
          <p:spPr>
            <a:xfrm>
              <a:off x="6096000" y="1470024"/>
              <a:ext cx="172800" cy="1879601"/>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24" name="Google Shape;24;p13"/>
            <p:cNvSpPr/>
            <p:nvPr/>
          </p:nvSpPr>
          <p:spPr>
            <a:xfrm rot="6360000">
              <a:off x="5398802" y="549962"/>
              <a:ext cx="172800" cy="1569135"/>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25" name="Google Shape;25;p13"/>
            <p:cNvSpPr/>
            <p:nvPr/>
          </p:nvSpPr>
          <p:spPr>
            <a:xfrm rot="4440000">
              <a:off x="5430331" y="2717021"/>
              <a:ext cx="172800" cy="1507683"/>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grpSp>
      <p:grpSp>
        <p:nvGrpSpPr>
          <p:cNvPr id="26" name="Google Shape;26;p13"/>
          <p:cNvGrpSpPr/>
          <p:nvPr/>
        </p:nvGrpSpPr>
        <p:grpSpPr>
          <a:xfrm>
            <a:off x="9471969" y="1346032"/>
            <a:ext cx="2082116" cy="3698006"/>
            <a:chOff x="4707212" y="1022350"/>
            <a:chExt cx="1561588" cy="2774950"/>
          </a:xfrm>
        </p:grpSpPr>
        <p:sp>
          <p:nvSpPr>
            <p:cNvPr id="27" name="Google Shape;27;p13"/>
            <p:cNvSpPr/>
            <p:nvPr/>
          </p:nvSpPr>
          <p:spPr>
            <a:xfrm>
              <a:off x="4707731" y="1022350"/>
              <a:ext cx="171450" cy="2774950"/>
            </a:xfrm>
            <a:custGeom>
              <a:avLst/>
              <a:gdLst/>
              <a:ahLst/>
              <a:cxnLst/>
              <a:rect l="l" t="t" r="r" b="b"/>
              <a:pathLst>
                <a:path w="171450" h="2761456" extrusionOk="0">
                  <a:moveTo>
                    <a:pt x="0" y="0"/>
                  </a:moveTo>
                  <a:lnTo>
                    <a:pt x="168275" y="47393"/>
                  </a:lnTo>
                  <a:cubicBezTo>
                    <a:pt x="169333" y="934089"/>
                    <a:pt x="170392" y="1820785"/>
                    <a:pt x="171450" y="2707481"/>
                  </a:cubicBezTo>
                  <a:lnTo>
                    <a:pt x="0" y="2761456"/>
                  </a:lnTo>
                  <a:lnTo>
                    <a:pt x="0" y="0"/>
                  </a:lnTo>
                  <a:close/>
                </a:path>
              </a:pathLst>
            </a:cu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28" name="Google Shape;28;p13"/>
            <p:cNvSpPr/>
            <p:nvPr/>
          </p:nvSpPr>
          <p:spPr>
            <a:xfrm>
              <a:off x="6096000" y="1470024"/>
              <a:ext cx="172800" cy="1879601"/>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29" name="Google Shape;29;p13"/>
            <p:cNvSpPr/>
            <p:nvPr/>
          </p:nvSpPr>
          <p:spPr>
            <a:xfrm rot="6360000">
              <a:off x="5398802" y="549962"/>
              <a:ext cx="172800" cy="1569135"/>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30" name="Google Shape;30;p13"/>
            <p:cNvSpPr/>
            <p:nvPr/>
          </p:nvSpPr>
          <p:spPr>
            <a:xfrm rot="4440000">
              <a:off x="5430331" y="2717021"/>
              <a:ext cx="172800" cy="1507683"/>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Indice">
  <p:cSld name="Indice">
    <p:bg>
      <p:bgPr>
        <a:solidFill>
          <a:schemeClr val="lt2"/>
        </a:solidFill>
        <a:effectLst/>
      </p:bgPr>
    </p:bg>
    <p:spTree>
      <p:nvGrpSpPr>
        <p:cNvPr id="1" name="Shape 76"/>
        <p:cNvGrpSpPr/>
        <p:nvPr/>
      </p:nvGrpSpPr>
      <p:grpSpPr>
        <a:xfrm>
          <a:off x="0" y="0"/>
          <a:ext cx="0" cy="0"/>
          <a:chOff x="0" y="0"/>
          <a:chExt cx="0" cy="0"/>
        </a:xfrm>
      </p:grpSpPr>
      <p:sp>
        <p:nvSpPr>
          <p:cNvPr id="77" name="Google Shape;77;p20"/>
          <p:cNvSpPr txBox="1">
            <a:spLocks noGrp="1"/>
          </p:cNvSpPr>
          <p:nvPr>
            <p:ph type="title"/>
          </p:nvPr>
        </p:nvSpPr>
        <p:spPr>
          <a:xfrm>
            <a:off x="336000" y="645587"/>
            <a:ext cx="11017800" cy="863601"/>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2798"/>
              <a:buFont typeface="Playfair Display"/>
              <a:buNone/>
              <a:defRPr sz="2798"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78" name="Google Shape;78;p20"/>
          <p:cNvSpPr/>
          <p:nvPr/>
        </p:nvSpPr>
        <p:spPr>
          <a:xfrm>
            <a:off x="4328250" y="2232949"/>
            <a:ext cx="7939453" cy="4757592"/>
          </a:xfrm>
          <a:custGeom>
            <a:avLst/>
            <a:gdLst/>
            <a:ahLst/>
            <a:cxnLst/>
            <a:rect l="l" t="t" r="r" b="b"/>
            <a:pathLst>
              <a:path w="3575725" h="2142697" extrusionOk="0">
                <a:moveTo>
                  <a:pt x="0" y="2126285"/>
                </a:moveTo>
                <a:cubicBezTo>
                  <a:pt x="3156" y="1423160"/>
                  <a:pt x="-1211" y="1724205"/>
                  <a:pt x="1945" y="1021080"/>
                </a:cubicBezTo>
                <a:lnTo>
                  <a:pt x="3575725" y="0"/>
                </a:lnTo>
                <a:cubicBezTo>
                  <a:pt x="3575401" y="714232"/>
                  <a:pt x="3575076" y="1428465"/>
                  <a:pt x="3574752" y="2142697"/>
                </a:cubicBezTo>
                <a:lnTo>
                  <a:pt x="2606583" y="2141725"/>
                </a:lnTo>
                <a:lnTo>
                  <a:pt x="0" y="2126285"/>
                </a:lnTo>
                <a:close/>
              </a:path>
            </a:pathLst>
          </a:cu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79" name="Google Shape;79;p20"/>
          <p:cNvSpPr/>
          <p:nvPr/>
        </p:nvSpPr>
        <p:spPr>
          <a:xfrm>
            <a:off x="2796363" y="894269"/>
            <a:ext cx="7956155" cy="6096272"/>
          </a:xfrm>
          <a:custGeom>
            <a:avLst/>
            <a:gdLst/>
            <a:ahLst/>
            <a:cxnLst/>
            <a:rect l="l" t="t" r="r" b="b"/>
            <a:pathLst>
              <a:path w="3583247" h="2745604" extrusionOk="0">
                <a:moveTo>
                  <a:pt x="0" y="2736231"/>
                </a:moveTo>
                <a:cubicBezTo>
                  <a:pt x="3156" y="2033106"/>
                  <a:pt x="6311" y="1724205"/>
                  <a:pt x="9467" y="1021080"/>
                </a:cubicBezTo>
                <a:lnTo>
                  <a:pt x="3583247" y="0"/>
                </a:lnTo>
                <a:cubicBezTo>
                  <a:pt x="3582151" y="915201"/>
                  <a:pt x="3581056" y="1830403"/>
                  <a:pt x="3579960" y="2745604"/>
                </a:cubicBezTo>
                <a:lnTo>
                  <a:pt x="1448410" y="2740388"/>
                </a:lnTo>
                <a:lnTo>
                  <a:pt x="0" y="2736231"/>
                </a:lnTo>
                <a:close/>
              </a:path>
            </a:pathLst>
          </a:custGeom>
          <a:solidFill>
            <a:srgbClr val="FAE6EB"/>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80" name="Google Shape;80;p20"/>
          <p:cNvSpPr/>
          <p:nvPr/>
        </p:nvSpPr>
        <p:spPr>
          <a:xfrm>
            <a:off x="-92286" y="20016"/>
            <a:ext cx="8259460" cy="6970525"/>
          </a:xfrm>
          <a:custGeom>
            <a:avLst/>
            <a:gdLst/>
            <a:ahLst/>
            <a:cxnLst/>
            <a:rect l="l" t="t" r="r" b="b"/>
            <a:pathLst>
              <a:path w="3583247" h="3139345" extrusionOk="0">
                <a:moveTo>
                  <a:pt x="0" y="3130454"/>
                </a:moveTo>
                <a:cubicBezTo>
                  <a:pt x="3156" y="2427329"/>
                  <a:pt x="6311" y="1724205"/>
                  <a:pt x="9467" y="1021080"/>
                </a:cubicBezTo>
                <a:lnTo>
                  <a:pt x="3583247" y="0"/>
                </a:lnTo>
                <a:lnTo>
                  <a:pt x="3578513" y="3139345"/>
                </a:lnTo>
                <a:lnTo>
                  <a:pt x="1011948" y="3134611"/>
                </a:lnTo>
                <a:lnTo>
                  <a:pt x="0" y="3130454"/>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81" name="Google Shape;81;p20"/>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lt1"/>
                </a:solidFill>
                <a:latin typeface="Arial"/>
                <a:ea typeface="Arial"/>
                <a:cs typeface="Arial"/>
                <a:sym typeface="Arial"/>
              </a:rPr>
              <a:t>‹Nº›</a:t>
            </a:fld>
            <a:endParaRPr sz="1066" b="0" i="0" u="none" strike="noStrike" cap="none">
              <a:solidFill>
                <a:schemeClr val="lt1"/>
              </a:solidFill>
              <a:latin typeface="Arial"/>
              <a:ea typeface="Arial"/>
              <a:cs typeface="Arial"/>
              <a:sym typeface="Arial"/>
            </a:endParaRPr>
          </a:p>
        </p:txBody>
      </p:sp>
      <p:pic>
        <p:nvPicPr>
          <p:cNvPr id="82" name="Google Shape;82;p20"/>
          <p:cNvPicPr preferRelativeResize="0"/>
          <p:nvPr/>
        </p:nvPicPr>
        <p:blipFill rotWithShape="1">
          <a:blip r:embed="rId2">
            <a:alphaModFix/>
          </a:blip>
          <a:srcRect/>
          <a:stretch/>
        </p:blipFill>
        <p:spPr>
          <a:xfrm>
            <a:off x="8887258" y="6540533"/>
            <a:ext cx="1145182" cy="248840"/>
          </a:xfrm>
          <a:prstGeom prst="rect">
            <a:avLst/>
          </a:prstGeom>
          <a:noFill/>
          <a:ln>
            <a:noFill/>
          </a:ln>
        </p:spPr>
      </p:pic>
      <p:sp>
        <p:nvSpPr>
          <p:cNvPr id="83" name="Google Shape;83;p20"/>
          <p:cNvSpPr txBox="1">
            <a:spLocks noGrp="1"/>
          </p:cNvSpPr>
          <p:nvPr>
            <p:ph type="body" idx="1"/>
          </p:nvPr>
        </p:nvSpPr>
        <p:spPr>
          <a:xfrm>
            <a:off x="336000" y="2444755"/>
            <a:ext cx="5760000" cy="3577167"/>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8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399"/>
              <a:buFont typeface="Arial"/>
              <a:buNone/>
              <a:defRPr sz="2399"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
        <p:nvSpPr>
          <p:cNvPr id="84" name="Google Shape;84;p20"/>
          <p:cNvSpPr/>
          <p:nvPr/>
        </p:nvSpPr>
        <p:spPr>
          <a:xfrm>
            <a:off x="336000" y="6506083"/>
            <a:ext cx="858184" cy="171408"/>
          </a:xfrm>
          <a:custGeom>
            <a:avLst/>
            <a:gdLst/>
            <a:ahLst/>
            <a:cxnLst/>
            <a:rect l="l" t="t" r="r" b="b"/>
            <a:pathLst>
              <a:path w="1701" h="337" extrusionOk="0">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spcFirstLastPara="1" wrap="square" lIns="121850" tIns="60925" rIns="121850" bIns="60925" anchor="t" anchorCtr="0">
            <a:noAutofit/>
          </a:bodyPr>
          <a:lstStyle/>
          <a:p>
            <a:pPr marL="0" marR="0" lvl="0" indent="0" algn="l" rtl="0">
              <a:lnSpc>
                <a:spcPct val="100000"/>
              </a:lnSpc>
              <a:spcBef>
                <a:spcPts val="0"/>
              </a:spcBef>
              <a:spcAft>
                <a:spcPts val="0"/>
              </a:spcAft>
              <a:buClr>
                <a:srgbClr val="000000"/>
              </a:buClr>
              <a:buSzPts val="2397"/>
              <a:buFont typeface="Arial"/>
              <a:buNone/>
            </a:pPr>
            <a:endParaRPr sz="2397" b="0" i="0" u="none" strike="noStrike" cap="none">
              <a:solidFill>
                <a:schemeClr val="dk1"/>
              </a:solidFill>
              <a:latin typeface="Arial"/>
              <a:ea typeface="Arial"/>
              <a:cs typeface="Arial"/>
              <a:sym typeface="Arial"/>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Cierre">
  <p:cSld name="Cierre">
    <p:bg>
      <p:bgPr>
        <a:solidFill>
          <a:schemeClr val="lt2"/>
        </a:solidFill>
        <a:effectLst/>
      </p:bgPr>
    </p:bg>
    <p:spTree>
      <p:nvGrpSpPr>
        <p:cNvPr id="1" name="Shape 85"/>
        <p:cNvGrpSpPr/>
        <p:nvPr/>
      </p:nvGrpSpPr>
      <p:grpSpPr>
        <a:xfrm>
          <a:off x="0" y="0"/>
          <a:ext cx="0" cy="0"/>
          <a:chOff x="0" y="0"/>
          <a:chExt cx="0" cy="0"/>
        </a:xfrm>
      </p:grpSpPr>
      <p:sp>
        <p:nvSpPr>
          <p:cNvPr id="86" name="Google Shape;86;p21"/>
          <p:cNvSpPr txBox="1">
            <a:spLocks noGrp="1"/>
          </p:cNvSpPr>
          <p:nvPr>
            <p:ph type="title"/>
          </p:nvPr>
        </p:nvSpPr>
        <p:spPr>
          <a:xfrm>
            <a:off x="404837" y="712437"/>
            <a:ext cx="7553833" cy="714581"/>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5330"/>
              <a:buFont typeface="Playfair Display"/>
              <a:buNone/>
              <a:defRPr sz="5330"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87" name="Google Shape;87;p21"/>
          <p:cNvSpPr/>
          <p:nvPr/>
        </p:nvSpPr>
        <p:spPr>
          <a:xfrm>
            <a:off x="7744691" y="3699164"/>
            <a:ext cx="2575779" cy="3810000"/>
          </a:xfrm>
          <a:custGeom>
            <a:avLst/>
            <a:gdLst/>
            <a:ahLst/>
            <a:cxnLst/>
            <a:rect l="l" t="t" r="r" b="b"/>
            <a:pathLst>
              <a:path w="1610767" h="2857500" extrusionOk="0">
                <a:moveTo>
                  <a:pt x="0" y="0"/>
                </a:moveTo>
                <a:lnTo>
                  <a:pt x="1610590" y="477982"/>
                </a:lnTo>
                <a:cubicBezTo>
                  <a:pt x="1614054" y="1274618"/>
                  <a:pt x="1565563" y="2060864"/>
                  <a:pt x="1569027" y="2857500"/>
                </a:cubicBezTo>
                <a:lnTo>
                  <a:pt x="0" y="2857500"/>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88" name="Google Shape;88;p21"/>
          <p:cNvSpPr/>
          <p:nvPr/>
        </p:nvSpPr>
        <p:spPr>
          <a:xfrm>
            <a:off x="10128451" y="2715495"/>
            <a:ext cx="1010606" cy="4793673"/>
          </a:xfrm>
          <a:custGeom>
            <a:avLst/>
            <a:gdLst/>
            <a:ahLst/>
            <a:cxnLst/>
            <a:rect l="l" t="t" r="r" b="b"/>
            <a:pathLst>
              <a:path w="985405" h="3595255" extrusionOk="0">
                <a:moveTo>
                  <a:pt x="0" y="0"/>
                </a:moveTo>
                <a:lnTo>
                  <a:pt x="985405" y="259773"/>
                </a:lnTo>
                <a:lnTo>
                  <a:pt x="985405" y="3595255"/>
                </a:lnTo>
                <a:lnTo>
                  <a:pt x="0" y="3595255"/>
                </a:lnTo>
                <a:lnTo>
                  <a:pt x="0" y="0"/>
                </a:lnTo>
                <a:close/>
              </a:path>
            </a:pathLst>
          </a:cu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89" name="Google Shape;89;p21"/>
          <p:cNvSpPr/>
          <p:nvPr/>
        </p:nvSpPr>
        <p:spPr>
          <a:xfrm>
            <a:off x="10992544" y="1288475"/>
            <a:ext cx="1383028" cy="6220692"/>
          </a:xfrm>
          <a:custGeom>
            <a:avLst/>
            <a:gdLst/>
            <a:ahLst/>
            <a:cxnLst/>
            <a:rect l="l" t="t" r="r" b="b"/>
            <a:pathLst>
              <a:path w="1289338" h="4665519" extrusionOk="0">
                <a:moveTo>
                  <a:pt x="0" y="0"/>
                </a:moveTo>
                <a:lnTo>
                  <a:pt x="1278947" y="394854"/>
                </a:lnTo>
                <a:cubicBezTo>
                  <a:pt x="1282411" y="1818409"/>
                  <a:pt x="1285874" y="3241964"/>
                  <a:pt x="1289338" y="4665519"/>
                </a:cubicBezTo>
                <a:lnTo>
                  <a:pt x="0" y="4665519"/>
                </a:lnTo>
                <a:lnTo>
                  <a:pt x="0" y="0"/>
                </a:lnTo>
                <a:close/>
              </a:path>
            </a:pathLst>
          </a:cu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90" name="Google Shape;90;p21"/>
          <p:cNvSpPr/>
          <p:nvPr/>
        </p:nvSpPr>
        <p:spPr>
          <a:xfrm>
            <a:off x="336000" y="6506083"/>
            <a:ext cx="858184" cy="171408"/>
          </a:xfrm>
          <a:custGeom>
            <a:avLst/>
            <a:gdLst/>
            <a:ahLst/>
            <a:cxnLst/>
            <a:rect l="l" t="t" r="r" b="b"/>
            <a:pathLst>
              <a:path w="1701" h="337" extrusionOk="0">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spcFirstLastPara="1" wrap="square" lIns="121850" tIns="60925" rIns="121850" bIns="60925" anchor="t" anchorCtr="0">
            <a:noAutofit/>
          </a:bodyPr>
          <a:lstStyle/>
          <a:p>
            <a:pPr marL="0" marR="0" lvl="0" indent="0" algn="l" rtl="0">
              <a:lnSpc>
                <a:spcPct val="100000"/>
              </a:lnSpc>
              <a:spcBef>
                <a:spcPts val="0"/>
              </a:spcBef>
              <a:spcAft>
                <a:spcPts val="0"/>
              </a:spcAft>
              <a:buClr>
                <a:srgbClr val="000000"/>
              </a:buClr>
              <a:buSzPts val="2397"/>
              <a:buFont typeface="Arial"/>
              <a:buNone/>
            </a:pPr>
            <a:endParaRPr sz="2397" b="0" i="0" u="none" strike="noStrike" cap="none">
              <a:solidFill>
                <a:schemeClr val="dk1"/>
              </a:solidFill>
              <a:latin typeface="Arial"/>
              <a:ea typeface="Arial"/>
              <a:cs typeface="Arial"/>
              <a:sym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Separata n1. Grafito">
  <p:cSld name="Separata n1. Grafito">
    <p:spTree>
      <p:nvGrpSpPr>
        <p:cNvPr id="1" name="Shape 91"/>
        <p:cNvGrpSpPr/>
        <p:nvPr/>
      </p:nvGrpSpPr>
      <p:grpSpPr>
        <a:xfrm>
          <a:off x="0" y="0"/>
          <a:ext cx="0" cy="0"/>
          <a:chOff x="0" y="0"/>
          <a:chExt cx="0" cy="0"/>
        </a:xfrm>
      </p:grpSpPr>
      <p:sp>
        <p:nvSpPr>
          <p:cNvPr id="92" name="Google Shape;92;p22"/>
          <p:cNvSpPr/>
          <p:nvPr/>
        </p:nvSpPr>
        <p:spPr>
          <a:xfrm>
            <a:off x="7457440" y="40640"/>
            <a:ext cx="4785360" cy="6868160"/>
          </a:xfrm>
          <a:custGeom>
            <a:avLst/>
            <a:gdLst/>
            <a:ahLst/>
            <a:cxnLst/>
            <a:rect l="l" t="t" r="r" b="b"/>
            <a:pathLst>
              <a:path w="3589020" h="5151120" extrusionOk="0">
                <a:moveTo>
                  <a:pt x="15240" y="5090160"/>
                </a:moveTo>
                <a:lnTo>
                  <a:pt x="15240" y="1021080"/>
                </a:lnTo>
                <a:lnTo>
                  <a:pt x="3589020" y="0"/>
                </a:lnTo>
                <a:lnTo>
                  <a:pt x="3589020" y="5151120"/>
                </a:lnTo>
                <a:lnTo>
                  <a:pt x="0" y="5151120"/>
                </a:lnTo>
                <a:lnTo>
                  <a:pt x="15240" y="5090160"/>
                </a:lnTo>
                <a:close/>
              </a:path>
            </a:pathLst>
          </a:cu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93" name="Google Shape;93;p22"/>
          <p:cNvSpPr txBox="1">
            <a:spLocks noGrp="1"/>
          </p:cNvSpPr>
          <p:nvPr>
            <p:ph type="title"/>
          </p:nvPr>
        </p:nvSpPr>
        <p:spPr>
          <a:xfrm>
            <a:off x="336000" y="1592921"/>
            <a:ext cx="6951931" cy="1648341"/>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4000"/>
              <a:buFont typeface="Playfair Display"/>
              <a:buNone/>
              <a:defRPr sz="4000"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94" name="Google Shape;94;p22"/>
          <p:cNvSpPr txBox="1">
            <a:spLocks noGrp="1"/>
          </p:cNvSpPr>
          <p:nvPr>
            <p:ph type="body" idx="1"/>
          </p:nvPr>
        </p:nvSpPr>
        <p:spPr>
          <a:xfrm>
            <a:off x="8081435" y="1503240"/>
            <a:ext cx="3734647" cy="2021839"/>
          </a:xfrm>
          <a:prstGeom prst="rect">
            <a:avLst/>
          </a:prstGeom>
          <a:noFill/>
          <a:ln>
            <a:noFill/>
          </a:ln>
        </p:spPr>
        <p:txBody>
          <a:bodyPr spcFirstLastPara="1" wrap="square" lIns="91425" tIns="45700" rIns="91425" bIns="45700" anchor="t" anchorCtr="0">
            <a:noAutofit/>
          </a:bodyPr>
          <a:lstStyle>
            <a:lvl1pPr marL="457200" marR="0" lvl="0" indent="-228600" algn="ctr" rtl="0">
              <a:lnSpc>
                <a:spcPct val="90000"/>
              </a:lnSpc>
              <a:spcBef>
                <a:spcPts val="999"/>
              </a:spcBef>
              <a:spcAft>
                <a:spcPts val="0"/>
              </a:spcAft>
              <a:buClr>
                <a:schemeClr val="lt1"/>
              </a:buClr>
              <a:buSzPts val="15991"/>
              <a:buFont typeface="Arial"/>
              <a:buNone/>
              <a:defRPr sz="15991" b="0" i="0" u="none" strike="noStrike" cap="none">
                <a:solidFill>
                  <a:schemeClr val="lt1"/>
                </a:solidFill>
                <a:latin typeface="Playfair Display"/>
                <a:ea typeface="Playfair Display"/>
                <a:cs typeface="Playfair Display"/>
                <a:sym typeface="Playfair Display"/>
              </a:defRPr>
            </a:lvl1pPr>
            <a:lvl2pPr marL="914400" marR="0" lvl="1" indent="-380936" algn="l" rtl="0">
              <a:lnSpc>
                <a:spcPct val="90000"/>
              </a:lnSpc>
              <a:spcBef>
                <a:spcPts val="500"/>
              </a:spcBef>
              <a:spcAft>
                <a:spcPts val="0"/>
              </a:spcAft>
              <a:buClr>
                <a:schemeClr val="dk1"/>
              </a:buClr>
              <a:buSzPts val="2399"/>
              <a:buFont typeface="Arial"/>
              <a:buChar char="•"/>
              <a:defRPr sz="2399" b="0" i="0" u="none" strike="noStrike" cap="none">
                <a:solidFill>
                  <a:schemeClr val="dk1"/>
                </a:solidFill>
                <a:latin typeface="Arial"/>
                <a:ea typeface="Arial"/>
                <a:cs typeface="Arial"/>
                <a:sym typeface="Arial"/>
              </a:defRPr>
            </a:lvl2pPr>
            <a:lvl3pPr marL="1371600" marR="0" lvl="2" indent="-355536" algn="l" rtl="0">
              <a:lnSpc>
                <a:spcPct val="90000"/>
              </a:lnSpc>
              <a:spcBef>
                <a:spcPts val="500"/>
              </a:spcBef>
              <a:spcAft>
                <a:spcPts val="0"/>
              </a:spcAft>
              <a:buClr>
                <a:schemeClr val="dk1"/>
              </a:buClr>
              <a:buSzPts val="1999"/>
              <a:buFont typeface="Arial"/>
              <a:buChar char="•"/>
              <a:defRPr sz="1999" b="0" i="0" u="none" strike="noStrike" cap="none">
                <a:solidFill>
                  <a:schemeClr val="dk1"/>
                </a:solidFill>
                <a:latin typeface="Arial"/>
                <a:ea typeface="Arial"/>
                <a:cs typeface="Arial"/>
                <a:sym typeface="Arial"/>
              </a:defRPr>
            </a:lvl3pPr>
            <a:lvl4pPr marL="1828800" marR="0" lvl="3"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4pPr>
            <a:lvl5pPr marL="2286000" marR="0" lvl="4"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
        <p:nvSpPr>
          <p:cNvPr id="95" name="Google Shape;95;p22"/>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lt1"/>
                </a:solidFill>
                <a:latin typeface="Arial"/>
                <a:ea typeface="Arial"/>
                <a:cs typeface="Arial"/>
                <a:sym typeface="Arial"/>
              </a:rPr>
              <a:t>‹Nº›</a:t>
            </a:fld>
            <a:endParaRPr sz="1066" b="0" i="0" u="none" strike="noStrike" cap="none">
              <a:solidFill>
                <a:schemeClr val="lt1"/>
              </a:solidFill>
              <a:latin typeface="Arial"/>
              <a:ea typeface="Arial"/>
              <a:cs typeface="Arial"/>
              <a:sym typeface="Arial"/>
            </a:endParaRPr>
          </a:p>
        </p:txBody>
      </p:sp>
      <p:sp>
        <p:nvSpPr>
          <p:cNvPr id="96" name="Google Shape;96;p22"/>
          <p:cNvSpPr/>
          <p:nvPr/>
        </p:nvSpPr>
        <p:spPr>
          <a:xfrm>
            <a:off x="336000" y="6506083"/>
            <a:ext cx="858184" cy="171408"/>
          </a:xfrm>
          <a:custGeom>
            <a:avLst/>
            <a:gdLst/>
            <a:ahLst/>
            <a:cxnLst/>
            <a:rect l="l" t="t" r="r" b="b"/>
            <a:pathLst>
              <a:path w="1701" h="337" extrusionOk="0">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spcFirstLastPara="1" wrap="square" lIns="121850" tIns="60925" rIns="121850" bIns="60925" anchor="t" anchorCtr="0">
            <a:noAutofit/>
          </a:bodyPr>
          <a:lstStyle/>
          <a:p>
            <a:pPr marL="0" marR="0" lvl="0" indent="0" algn="l" rtl="0">
              <a:lnSpc>
                <a:spcPct val="100000"/>
              </a:lnSpc>
              <a:spcBef>
                <a:spcPts val="0"/>
              </a:spcBef>
              <a:spcAft>
                <a:spcPts val="0"/>
              </a:spcAft>
              <a:buClr>
                <a:srgbClr val="000000"/>
              </a:buClr>
              <a:buSzPts val="2397"/>
              <a:buFont typeface="Arial"/>
              <a:buNone/>
            </a:pPr>
            <a:endParaRPr sz="2397" b="0" i="0" u="none" strike="noStrike" cap="none">
              <a:solidFill>
                <a:schemeClr val="dk1"/>
              </a:solidFill>
              <a:latin typeface="Arial"/>
              <a:ea typeface="Arial"/>
              <a:cs typeface="Arial"/>
              <a:sym typeface="Arial"/>
            </a:endParaRPr>
          </a:p>
        </p:txBody>
      </p:sp>
      <p:sp>
        <p:nvSpPr>
          <p:cNvPr id="97" name="Google Shape;97;p22"/>
          <p:cNvSpPr txBox="1">
            <a:spLocks noGrp="1"/>
          </p:cNvSpPr>
          <p:nvPr>
            <p:ph type="body" idx="2"/>
          </p:nvPr>
        </p:nvSpPr>
        <p:spPr>
          <a:xfrm>
            <a:off x="336000" y="3770676"/>
            <a:ext cx="5760000" cy="2634888"/>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8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399"/>
              <a:buFont typeface="Arial"/>
              <a:buNone/>
              <a:defRPr sz="2399"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Separata n1. Piel">
  <p:cSld name="Separata n1. Piel">
    <p:spTree>
      <p:nvGrpSpPr>
        <p:cNvPr id="1" name="Shape 98"/>
        <p:cNvGrpSpPr/>
        <p:nvPr/>
      </p:nvGrpSpPr>
      <p:grpSpPr>
        <a:xfrm>
          <a:off x="0" y="0"/>
          <a:ext cx="0" cy="0"/>
          <a:chOff x="0" y="0"/>
          <a:chExt cx="0" cy="0"/>
        </a:xfrm>
      </p:grpSpPr>
      <p:sp>
        <p:nvSpPr>
          <p:cNvPr id="99" name="Google Shape;99;p23"/>
          <p:cNvSpPr/>
          <p:nvPr/>
        </p:nvSpPr>
        <p:spPr>
          <a:xfrm>
            <a:off x="7457440" y="40640"/>
            <a:ext cx="4785360" cy="6868160"/>
          </a:xfrm>
          <a:custGeom>
            <a:avLst/>
            <a:gdLst/>
            <a:ahLst/>
            <a:cxnLst/>
            <a:rect l="l" t="t" r="r" b="b"/>
            <a:pathLst>
              <a:path w="3589020" h="5151120" extrusionOk="0">
                <a:moveTo>
                  <a:pt x="15240" y="5090160"/>
                </a:moveTo>
                <a:lnTo>
                  <a:pt x="15240" y="1021080"/>
                </a:lnTo>
                <a:lnTo>
                  <a:pt x="3589020" y="0"/>
                </a:lnTo>
                <a:lnTo>
                  <a:pt x="3589020" y="5151120"/>
                </a:lnTo>
                <a:lnTo>
                  <a:pt x="0" y="5151120"/>
                </a:lnTo>
                <a:lnTo>
                  <a:pt x="15240" y="5090160"/>
                </a:lnTo>
                <a:close/>
              </a:path>
            </a:pathLst>
          </a:cu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100" name="Google Shape;100;p23"/>
          <p:cNvSpPr txBox="1">
            <a:spLocks noGrp="1"/>
          </p:cNvSpPr>
          <p:nvPr>
            <p:ph type="title"/>
          </p:nvPr>
        </p:nvSpPr>
        <p:spPr>
          <a:xfrm>
            <a:off x="336002" y="1592921"/>
            <a:ext cx="6938076" cy="1648341"/>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4000"/>
              <a:buFont typeface="Playfair Display"/>
              <a:buNone/>
              <a:defRPr sz="4000"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01" name="Google Shape;101;p23"/>
          <p:cNvSpPr txBox="1">
            <a:spLocks noGrp="1"/>
          </p:cNvSpPr>
          <p:nvPr>
            <p:ph type="body" idx="1"/>
          </p:nvPr>
        </p:nvSpPr>
        <p:spPr>
          <a:xfrm>
            <a:off x="8081435" y="1503240"/>
            <a:ext cx="3734647" cy="2021839"/>
          </a:xfrm>
          <a:prstGeom prst="rect">
            <a:avLst/>
          </a:prstGeom>
          <a:noFill/>
          <a:ln>
            <a:noFill/>
          </a:ln>
        </p:spPr>
        <p:txBody>
          <a:bodyPr spcFirstLastPara="1" wrap="square" lIns="91425" tIns="45700" rIns="91425" bIns="45700" anchor="t" anchorCtr="0">
            <a:noAutofit/>
          </a:bodyPr>
          <a:lstStyle>
            <a:lvl1pPr marL="457200" marR="0" lvl="0" indent="-228600" algn="ctr" rtl="0">
              <a:lnSpc>
                <a:spcPct val="90000"/>
              </a:lnSpc>
              <a:spcBef>
                <a:spcPts val="999"/>
              </a:spcBef>
              <a:spcAft>
                <a:spcPts val="0"/>
              </a:spcAft>
              <a:buClr>
                <a:schemeClr val="lt1"/>
              </a:buClr>
              <a:buSzPts val="15991"/>
              <a:buFont typeface="Arial"/>
              <a:buNone/>
              <a:defRPr sz="15991" b="0" i="0" u="none" strike="noStrike" cap="none">
                <a:solidFill>
                  <a:schemeClr val="lt1"/>
                </a:solidFill>
                <a:latin typeface="Playfair Display"/>
                <a:ea typeface="Playfair Display"/>
                <a:cs typeface="Playfair Display"/>
                <a:sym typeface="Playfair Display"/>
              </a:defRPr>
            </a:lvl1pPr>
            <a:lvl2pPr marL="914400" marR="0" lvl="1" indent="-380936" algn="l" rtl="0">
              <a:lnSpc>
                <a:spcPct val="90000"/>
              </a:lnSpc>
              <a:spcBef>
                <a:spcPts val="500"/>
              </a:spcBef>
              <a:spcAft>
                <a:spcPts val="0"/>
              </a:spcAft>
              <a:buClr>
                <a:schemeClr val="dk1"/>
              </a:buClr>
              <a:buSzPts val="2399"/>
              <a:buFont typeface="Arial"/>
              <a:buChar char="•"/>
              <a:defRPr sz="2399" b="0" i="0" u="none" strike="noStrike" cap="none">
                <a:solidFill>
                  <a:schemeClr val="dk1"/>
                </a:solidFill>
                <a:latin typeface="Arial"/>
                <a:ea typeface="Arial"/>
                <a:cs typeface="Arial"/>
                <a:sym typeface="Arial"/>
              </a:defRPr>
            </a:lvl2pPr>
            <a:lvl3pPr marL="1371600" marR="0" lvl="2" indent="-355536" algn="l" rtl="0">
              <a:lnSpc>
                <a:spcPct val="90000"/>
              </a:lnSpc>
              <a:spcBef>
                <a:spcPts val="500"/>
              </a:spcBef>
              <a:spcAft>
                <a:spcPts val="0"/>
              </a:spcAft>
              <a:buClr>
                <a:schemeClr val="dk1"/>
              </a:buClr>
              <a:buSzPts val="1999"/>
              <a:buFont typeface="Arial"/>
              <a:buChar char="•"/>
              <a:defRPr sz="1999" b="0" i="0" u="none" strike="noStrike" cap="none">
                <a:solidFill>
                  <a:schemeClr val="dk1"/>
                </a:solidFill>
                <a:latin typeface="Arial"/>
                <a:ea typeface="Arial"/>
                <a:cs typeface="Arial"/>
                <a:sym typeface="Arial"/>
              </a:defRPr>
            </a:lvl3pPr>
            <a:lvl4pPr marL="1828800" marR="0" lvl="3"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4pPr>
            <a:lvl5pPr marL="2286000" marR="0" lvl="4"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
        <p:nvSpPr>
          <p:cNvPr id="102" name="Google Shape;102;p23"/>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dk1"/>
                </a:solidFill>
                <a:latin typeface="Arial"/>
                <a:ea typeface="Arial"/>
                <a:cs typeface="Arial"/>
                <a:sym typeface="Arial"/>
              </a:rPr>
              <a:t>‹Nº›</a:t>
            </a:fld>
            <a:endParaRPr sz="1066" b="0" i="0" u="none" strike="noStrike" cap="none">
              <a:solidFill>
                <a:schemeClr val="dk1"/>
              </a:solidFill>
              <a:latin typeface="Arial"/>
              <a:ea typeface="Arial"/>
              <a:cs typeface="Arial"/>
              <a:sym typeface="Arial"/>
            </a:endParaRPr>
          </a:p>
        </p:txBody>
      </p:sp>
      <p:pic>
        <p:nvPicPr>
          <p:cNvPr id="103" name="Google Shape;103;p23"/>
          <p:cNvPicPr preferRelativeResize="0"/>
          <p:nvPr/>
        </p:nvPicPr>
        <p:blipFill rotWithShape="1">
          <a:blip r:embed="rId2">
            <a:alphaModFix/>
          </a:blip>
          <a:srcRect/>
          <a:stretch/>
        </p:blipFill>
        <p:spPr>
          <a:xfrm>
            <a:off x="8887258" y="6540533"/>
            <a:ext cx="1145182" cy="248840"/>
          </a:xfrm>
          <a:prstGeom prst="rect">
            <a:avLst/>
          </a:prstGeom>
          <a:noFill/>
          <a:ln>
            <a:noFill/>
          </a:ln>
        </p:spPr>
      </p:pic>
      <p:sp>
        <p:nvSpPr>
          <p:cNvPr id="104" name="Google Shape;104;p23"/>
          <p:cNvSpPr/>
          <p:nvPr/>
        </p:nvSpPr>
        <p:spPr>
          <a:xfrm>
            <a:off x="336000" y="6506083"/>
            <a:ext cx="858184" cy="171408"/>
          </a:xfrm>
          <a:custGeom>
            <a:avLst/>
            <a:gdLst/>
            <a:ahLst/>
            <a:cxnLst/>
            <a:rect l="l" t="t" r="r" b="b"/>
            <a:pathLst>
              <a:path w="1701" h="337" extrusionOk="0">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spcFirstLastPara="1" wrap="square" lIns="121850" tIns="60925" rIns="121850" bIns="60925" anchor="t" anchorCtr="0">
            <a:noAutofit/>
          </a:bodyPr>
          <a:lstStyle/>
          <a:p>
            <a:pPr marL="0" marR="0" lvl="0" indent="0" algn="l" rtl="0">
              <a:lnSpc>
                <a:spcPct val="100000"/>
              </a:lnSpc>
              <a:spcBef>
                <a:spcPts val="0"/>
              </a:spcBef>
              <a:spcAft>
                <a:spcPts val="0"/>
              </a:spcAft>
              <a:buClr>
                <a:srgbClr val="000000"/>
              </a:buClr>
              <a:buSzPts val="2397"/>
              <a:buFont typeface="Arial"/>
              <a:buNone/>
            </a:pPr>
            <a:endParaRPr sz="2397" b="0" i="0" u="none" strike="noStrike" cap="none">
              <a:solidFill>
                <a:schemeClr val="dk1"/>
              </a:solidFill>
              <a:latin typeface="Arial"/>
              <a:ea typeface="Arial"/>
              <a:cs typeface="Arial"/>
              <a:sym typeface="Arial"/>
            </a:endParaRPr>
          </a:p>
        </p:txBody>
      </p:sp>
      <p:sp>
        <p:nvSpPr>
          <p:cNvPr id="105" name="Google Shape;105;p23"/>
          <p:cNvSpPr txBox="1">
            <a:spLocks noGrp="1"/>
          </p:cNvSpPr>
          <p:nvPr>
            <p:ph type="body" idx="2"/>
          </p:nvPr>
        </p:nvSpPr>
        <p:spPr>
          <a:xfrm>
            <a:off x="336000" y="3770676"/>
            <a:ext cx="5760000" cy="2634888"/>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8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399"/>
              <a:buFont typeface="Arial"/>
              <a:buNone/>
              <a:defRPr sz="2399"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Separata n1. Amarillo">
  <p:cSld name="Separata n1. Amarillo">
    <p:spTree>
      <p:nvGrpSpPr>
        <p:cNvPr id="1" name="Shape 106"/>
        <p:cNvGrpSpPr/>
        <p:nvPr/>
      </p:nvGrpSpPr>
      <p:grpSpPr>
        <a:xfrm>
          <a:off x="0" y="0"/>
          <a:ext cx="0" cy="0"/>
          <a:chOff x="0" y="0"/>
          <a:chExt cx="0" cy="0"/>
        </a:xfrm>
      </p:grpSpPr>
      <p:sp>
        <p:nvSpPr>
          <p:cNvPr id="107" name="Google Shape;107;p24"/>
          <p:cNvSpPr/>
          <p:nvPr/>
        </p:nvSpPr>
        <p:spPr>
          <a:xfrm>
            <a:off x="7457440" y="40640"/>
            <a:ext cx="4785360" cy="6868160"/>
          </a:xfrm>
          <a:custGeom>
            <a:avLst/>
            <a:gdLst/>
            <a:ahLst/>
            <a:cxnLst/>
            <a:rect l="l" t="t" r="r" b="b"/>
            <a:pathLst>
              <a:path w="3589020" h="5151120" extrusionOk="0">
                <a:moveTo>
                  <a:pt x="15240" y="5090160"/>
                </a:moveTo>
                <a:lnTo>
                  <a:pt x="15240" y="1021080"/>
                </a:lnTo>
                <a:lnTo>
                  <a:pt x="3589020" y="0"/>
                </a:lnTo>
                <a:lnTo>
                  <a:pt x="3589020" y="5151120"/>
                </a:lnTo>
                <a:lnTo>
                  <a:pt x="0" y="5151120"/>
                </a:lnTo>
                <a:lnTo>
                  <a:pt x="15240" y="5090160"/>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108" name="Google Shape;108;p24"/>
          <p:cNvSpPr txBox="1">
            <a:spLocks noGrp="1"/>
          </p:cNvSpPr>
          <p:nvPr>
            <p:ph type="title"/>
          </p:nvPr>
        </p:nvSpPr>
        <p:spPr>
          <a:xfrm>
            <a:off x="336005" y="1592921"/>
            <a:ext cx="7052606" cy="1648341"/>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4000"/>
              <a:buFont typeface="Playfair Display"/>
              <a:buNone/>
              <a:defRPr sz="4000"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09" name="Google Shape;109;p24"/>
          <p:cNvSpPr txBox="1">
            <a:spLocks noGrp="1"/>
          </p:cNvSpPr>
          <p:nvPr>
            <p:ph type="body" idx="1"/>
          </p:nvPr>
        </p:nvSpPr>
        <p:spPr>
          <a:xfrm>
            <a:off x="8081435" y="1503240"/>
            <a:ext cx="3734647" cy="2021839"/>
          </a:xfrm>
          <a:prstGeom prst="rect">
            <a:avLst/>
          </a:prstGeom>
          <a:noFill/>
          <a:ln>
            <a:noFill/>
          </a:ln>
        </p:spPr>
        <p:txBody>
          <a:bodyPr spcFirstLastPara="1" wrap="square" lIns="91425" tIns="45700" rIns="91425" bIns="45700" anchor="t" anchorCtr="0">
            <a:noAutofit/>
          </a:bodyPr>
          <a:lstStyle>
            <a:lvl1pPr marL="457200" marR="0" lvl="0" indent="-228600" algn="ctr" rtl="0">
              <a:lnSpc>
                <a:spcPct val="90000"/>
              </a:lnSpc>
              <a:spcBef>
                <a:spcPts val="999"/>
              </a:spcBef>
              <a:spcAft>
                <a:spcPts val="0"/>
              </a:spcAft>
              <a:buClr>
                <a:schemeClr val="lt1"/>
              </a:buClr>
              <a:buSzPts val="15991"/>
              <a:buFont typeface="Arial"/>
              <a:buNone/>
              <a:defRPr sz="15991" b="0" i="0" u="none" strike="noStrike" cap="none">
                <a:solidFill>
                  <a:schemeClr val="lt1"/>
                </a:solidFill>
                <a:latin typeface="Playfair Display"/>
                <a:ea typeface="Playfair Display"/>
                <a:cs typeface="Playfair Display"/>
                <a:sym typeface="Playfair Display"/>
              </a:defRPr>
            </a:lvl1pPr>
            <a:lvl2pPr marL="914400" marR="0" lvl="1" indent="-380936" algn="l" rtl="0">
              <a:lnSpc>
                <a:spcPct val="90000"/>
              </a:lnSpc>
              <a:spcBef>
                <a:spcPts val="500"/>
              </a:spcBef>
              <a:spcAft>
                <a:spcPts val="0"/>
              </a:spcAft>
              <a:buClr>
                <a:schemeClr val="dk1"/>
              </a:buClr>
              <a:buSzPts val="2399"/>
              <a:buFont typeface="Arial"/>
              <a:buChar char="•"/>
              <a:defRPr sz="2399" b="0" i="0" u="none" strike="noStrike" cap="none">
                <a:solidFill>
                  <a:schemeClr val="dk1"/>
                </a:solidFill>
                <a:latin typeface="Arial"/>
                <a:ea typeface="Arial"/>
                <a:cs typeface="Arial"/>
                <a:sym typeface="Arial"/>
              </a:defRPr>
            </a:lvl2pPr>
            <a:lvl3pPr marL="1371600" marR="0" lvl="2" indent="-355536" algn="l" rtl="0">
              <a:lnSpc>
                <a:spcPct val="90000"/>
              </a:lnSpc>
              <a:spcBef>
                <a:spcPts val="500"/>
              </a:spcBef>
              <a:spcAft>
                <a:spcPts val="0"/>
              </a:spcAft>
              <a:buClr>
                <a:schemeClr val="dk1"/>
              </a:buClr>
              <a:buSzPts val="1999"/>
              <a:buFont typeface="Arial"/>
              <a:buChar char="•"/>
              <a:defRPr sz="1999" b="0" i="0" u="none" strike="noStrike" cap="none">
                <a:solidFill>
                  <a:schemeClr val="dk1"/>
                </a:solidFill>
                <a:latin typeface="Arial"/>
                <a:ea typeface="Arial"/>
                <a:cs typeface="Arial"/>
                <a:sym typeface="Arial"/>
              </a:defRPr>
            </a:lvl3pPr>
            <a:lvl4pPr marL="1828800" marR="0" lvl="3"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4pPr>
            <a:lvl5pPr marL="2286000" marR="0" lvl="4"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
        <p:nvSpPr>
          <p:cNvPr id="110" name="Google Shape;110;p24"/>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dk1"/>
                </a:solidFill>
                <a:latin typeface="Arial"/>
                <a:ea typeface="Arial"/>
                <a:cs typeface="Arial"/>
                <a:sym typeface="Arial"/>
              </a:rPr>
              <a:t>‹Nº›</a:t>
            </a:fld>
            <a:endParaRPr sz="1066" b="0" i="0" u="none" strike="noStrike" cap="none">
              <a:solidFill>
                <a:schemeClr val="dk1"/>
              </a:solidFill>
              <a:latin typeface="Arial"/>
              <a:ea typeface="Arial"/>
              <a:cs typeface="Arial"/>
              <a:sym typeface="Arial"/>
            </a:endParaRPr>
          </a:p>
        </p:txBody>
      </p:sp>
      <p:sp>
        <p:nvSpPr>
          <p:cNvPr id="111" name="Google Shape;111;p24"/>
          <p:cNvSpPr/>
          <p:nvPr/>
        </p:nvSpPr>
        <p:spPr>
          <a:xfrm>
            <a:off x="336000" y="6506083"/>
            <a:ext cx="858184" cy="171408"/>
          </a:xfrm>
          <a:custGeom>
            <a:avLst/>
            <a:gdLst/>
            <a:ahLst/>
            <a:cxnLst/>
            <a:rect l="l" t="t" r="r" b="b"/>
            <a:pathLst>
              <a:path w="1701" h="337" extrusionOk="0">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spcFirstLastPara="1" wrap="square" lIns="121850" tIns="60925" rIns="121850" bIns="60925" anchor="t" anchorCtr="0">
            <a:noAutofit/>
          </a:bodyPr>
          <a:lstStyle/>
          <a:p>
            <a:pPr marL="0" marR="0" lvl="0" indent="0" algn="l" rtl="0">
              <a:lnSpc>
                <a:spcPct val="100000"/>
              </a:lnSpc>
              <a:spcBef>
                <a:spcPts val="0"/>
              </a:spcBef>
              <a:spcAft>
                <a:spcPts val="0"/>
              </a:spcAft>
              <a:buClr>
                <a:srgbClr val="000000"/>
              </a:buClr>
              <a:buSzPts val="2397"/>
              <a:buFont typeface="Arial"/>
              <a:buNone/>
            </a:pPr>
            <a:endParaRPr sz="2397" b="0" i="0" u="none" strike="noStrike" cap="none">
              <a:solidFill>
                <a:schemeClr val="dk1"/>
              </a:solidFill>
              <a:latin typeface="Arial"/>
              <a:ea typeface="Arial"/>
              <a:cs typeface="Arial"/>
              <a:sym typeface="Arial"/>
            </a:endParaRPr>
          </a:p>
        </p:txBody>
      </p:sp>
      <p:sp>
        <p:nvSpPr>
          <p:cNvPr id="112" name="Google Shape;112;p24"/>
          <p:cNvSpPr txBox="1">
            <a:spLocks noGrp="1"/>
          </p:cNvSpPr>
          <p:nvPr>
            <p:ph type="body" idx="2"/>
          </p:nvPr>
        </p:nvSpPr>
        <p:spPr>
          <a:xfrm>
            <a:off x="336000" y="3770676"/>
            <a:ext cx="5760000" cy="2634888"/>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8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399"/>
              <a:buFont typeface="Arial"/>
              <a:buNone/>
              <a:defRPr sz="2399"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1_Separata n1. Naranja">
  <p:cSld name="1_Separata n1. Naranja">
    <p:spTree>
      <p:nvGrpSpPr>
        <p:cNvPr id="1" name="Shape 113"/>
        <p:cNvGrpSpPr/>
        <p:nvPr/>
      </p:nvGrpSpPr>
      <p:grpSpPr>
        <a:xfrm>
          <a:off x="0" y="0"/>
          <a:ext cx="0" cy="0"/>
          <a:chOff x="0" y="0"/>
          <a:chExt cx="0" cy="0"/>
        </a:xfrm>
      </p:grpSpPr>
      <p:sp>
        <p:nvSpPr>
          <p:cNvPr id="114" name="Google Shape;114;p25"/>
          <p:cNvSpPr/>
          <p:nvPr/>
        </p:nvSpPr>
        <p:spPr>
          <a:xfrm>
            <a:off x="7457440" y="40640"/>
            <a:ext cx="4785360" cy="6868160"/>
          </a:xfrm>
          <a:custGeom>
            <a:avLst/>
            <a:gdLst/>
            <a:ahLst/>
            <a:cxnLst/>
            <a:rect l="l" t="t" r="r" b="b"/>
            <a:pathLst>
              <a:path w="3589020" h="5151120" extrusionOk="0">
                <a:moveTo>
                  <a:pt x="15240" y="5090160"/>
                </a:moveTo>
                <a:lnTo>
                  <a:pt x="15240" y="1021080"/>
                </a:lnTo>
                <a:lnTo>
                  <a:pt x="3589020" y="0"/>
                </a:lnTo>
                <a:lnTo>
                  <a:pt x="3589020" y="5151120"/>
                </a:lnTo>
                <a:lnTo>
                  <a:pt x="0" y="5151120"/>
                </a:lnTo>
                <a:lnTo>
                  <a:pt x="15240" y="5090160"/>
                </a:ln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115" name="Google Shape;115;p25"/>
          <p:cNvSpPr txBox="1">
            <a:spLocks noGrp="1"/>
          </p:cNvSpPr>
          <p:nvPr>
            <p:ph type="title"/>
          </p:nvPr>
        </p:nvSpPr>
        <p:spPr>
          <a:xfrm>
            <a:off x="336005" y="1592921"/>
            <a:ext cx="7052606" cy="1648341"/>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4000"/>
              <a:buFont typeface="Playfair Display"/>
              <a:buNone/>
              <a:defRPr sz="4000"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6" name="Google Shape;116;p25"/>
          <p:cNvSpPr txBox="1">
            <a:spLocks noGrp="1"/>
          </p:cNvSpPr>
          <p:nvPr>
            <p:ph type="body" idx="1"/>
          </p:nvPr>
        </p:nvSpPr>
        <p:spPr>
          <a:xfrm>
            <a:off x="8081435" y="1503240"/>
            <a:ext cx="3734647" cy="2021839"/>
          </a:xfrm>
          <a:prstGeom prst="rect">
            <a:avLst/>
          </a:prstGeom>
          <a:noFill/>
          <a:ln>
            <a:noFill/>
          </a:ln>
        </p:spPr>
        <p:txBody>
          <a:bodyPr spcFirstLastPara="1" wrap="square" lIns="91425" tIns="45700" rIns="91425" bIns="45700" anchor="t" anchorCtr="0">
            <a:noAutofit/>
          </a:bodyPr>
          <a:lstStyle>
            <a:lvl1pPr marL="457200" marR="0" lvl="0" indent="-228600" algn="ctr" rtl="0">
              <a:lnSpc>
                <a:spcPct val="90000"/>
              </a:lnSpc>
              <a:spcBef>
                <a:spcPts val="999"/>
              </a:spcBef>
              <a:spcAft>
                <a:spcPts val="0"/>
              </a:spcAft>
              <a:buClr>
                <a:schemeClr val="lt1"/>
              </a:buClr>
              <a:buSzPts val="15991"/>
              <a:buFont typeface="Arial"/>
              <a:buNone/>
              <a:defRPr sz="15991" b="0" i="0" u="none" strike="noStrike" cap="none">
                <a:solidFill>
                  <a:schemeClr val="lt1"/>
                </a:solidFill>
                <a:latin typeface="Playfair Display"/>
                <a:ea typeface="Playfair Display"/>
                <a:cs typeface="Playfair Display"/>
                <a:sym typeface="Playfair Display"/>
              </a:defRPr>
            </a:lvl1pPr>
            <a:lvl2pPr marL="914400" marR="0" lvl="1" indent="-380936" algn="l" rtl="0">
              <a:lnSpc>
                <a:spcPct val="90000"/>
              </a:lnSpc>
              <a:spcBef>
                <a:spcPts val="500"/>
              </a:spcBef>
              <a:spcAft>
                <a:spcPts val="0"/>
              </a:spcAft>
              <a:buClr>
                <a:schemeClr val="dk1"/>
              </a:buClr>
              <a:buSzPts val="2399"/>
              <a:buFont typeface="Arial"/>
              <a:buChar char="•"/>
              <a:defRPr sz="2399" b="0" i="0" u="none" strike="noStrike" cap="none">
                <a:solidFill>
                  <a:schemeClr val="dk1"/>
                </a:solidFill>
                <a:latin typeface="Arial"/>
                <a:ea typeface="Arial"/>
                <a:cs typeface="Arial"/>
                <a:sym typeface="Arial"/>
              </a:defRPr>
            </a:lvl2pPr>
            <a:lvl3pPr marL="1371600" marR="0" lvl="2" indent="-355536" algn="l" rtl="0">
              <a:lnSpc>
                <a:spcPct val="90000"/>
              </a:lnSpc>
              <a:spcBef>
                <a:spcPts val="500"/>
              </a:spcBef>
              <a:spcAft>
                <a:spcPts val="0"/>
              </a:spcAft>
              <a:buClr>
                <a:schemeClr val="dk1"/>
              </a:buClr>
              <a:buSzPts val="1999"/>
              <a:buFont typeface="Arial"/>
              <a:buChar char="•"/>
              <a:defRPr sz="1999" b="0" i="0" u="none" strike="noStrike" cap="none">
                <a:solidFill>
                  <a:schemeClr val="dk1"/>
                </a:solidFill>
                <a:latin typeface="Arial"/>
                <a:ea typeface="Arial"/>
                <a:cs typeface="Arial"/>
                <a:sym typeface="Arial"/>
              </a:defRPr>
            </a:lvl3pPr>
            <a:lvl4pPr marL="1828800" marR="0" lvl="3"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4pPr>
            <a:lvl5pPr marL="2286000" marR="0" lvl="4"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
        <p:nvSpPr>
          <p:cNvPr id="117" name="Google Shape;117;p25"/>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lt1"/>
                </a:solidFill>
                <a:latin typeface="Arial"/>
                <a:ea typeface="Arial"/>
                <a:cs typeface="Arial"/>
                <a:sym typeface="Arial"/>
              </a:rPr>
              <a:t>‹Nº›</a:t>
            </a:fld>
            <a:endParaRPr sz="1066" b="0" i="0" u="none" strike="noStrike" cap="none">
              <a:solidFill>
                <a:schemeClr val="lt1"/>
              </a:solidFill>
              <a:latin typeface="Arial"/>
              <a:ea typeface="Arial"/>
              <a:cs typeface="Arial"/>
              <a:sym typeface="Arial"/>
            </a:endParaRPr>
          </a:p>
        </p:txBody>
      </p:sp>
      <p:sp>
        <p:nvSpPr>
          <p:cNvPr id="118" name="Google Shape;118;p25"/>
          <p:cNvSpPr/>
          <p:nvPr/>
        </p:nvSpPr>
        <p:spPr>
          <a:xfrm>
            <a:off x="336000" y="6506083"/>
            <a:ext cx="858184" cy="171408"/>
          </a:xfrm>
          <a:custGeom>
            <a:avLst/>
            <a:gdLst/>
            <a:ahLst/>
            <a:cxnLst/>
            <a:rect l="l" t="t" r="r" b="b"/>
            <a:pathLst>
              <a:path w="1701" h="337" extrusionOk="0">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spcFirstLastPara="1" wrap="square" lIns="121850" tIns="60925" rIns="121850" bIns="60925" anchor="t" anchorCtr="0">
            <a:noAutofit/>
          </a:bodyPr>
          <a:lstStyle/>
          <a:p>
            <a:pPr marL="0" marR="0" lvl="0" indent="0" algn="l" rtl="0">
              <a:lnSpc>
                <a:spcPct val="100000"/>
              </a:lnSpc>
              <a:spcBef>
                <a:spcPts val="0"/>
              </a:spcBef>
              <a:spcAft>
                <a:spcPts val="0"/>
              </a:spcAft>
              <a:buClr>
                <a:srgbClr val="000000"/>
              </a:buClr>
              <a:buSzPts val="2397"/>
              <a:buFont typeface="Arial"/>
              <a:buNone/>
            </a:pPr>
            <a:endParaRPr sz="2397" b="0" i="0" u="none" strike="noStrike" cap="none">
              <a:solidFill>
                <a:schemeClr val="dk1"/>
              </a:solidFill>
              <a:latin typeface="Arial"/>
              <a:ea typeface="Arial"/>
              <a:cs typeface="Arial"/>
              <a:sym typeface="Arial"/>
            </a:endParaRPr>
          </a:p>
        </p:txBody>
      </p:sp>
      <p:sp>
        <p:nvSpPr>
          <p:cNvPr id="119" name="Google Shape;119;p25"/>
          <p:cNvSpPr txBox="1">
            <a:spLocks noGrp="1"/>
          </p:cNvSpPr>
          <p:nvPr>
            <p:ph type="body" idx="2"/>
          </p:nvPr>
        </p:nvSpPr>
        <p:spPr>
          <a:xfrm>
            <a:off x="336000" y="3770676"/>
            <a:ext cx="5760000" cy="2634888"/>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8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399"/>
              <a:buFont typeface="Arial"/>
              <a:buNone/>
              <a:defRPr sz="2399"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2_Separata n1. Rojo">
  <p:cSld name="2_Separata n1. Rojo">
    <p:spTree>
      <p:nvGrpSpPr>
        <p:cNvPr id="1" name="Shape 120"/>
        <p:cNvGrpSpPr/>
        <p:nvPr/>
      </p:nvGrpSpPr>
      <p:grpSpPr>
        <a:xfrm>
          <a:off x="0" y="0"/>
          <a:ext cx="0" cy="0"/>
          <a:chOff x="0" y="0"/>
          <a:chExt cx="0" cy="0"/>
        </a:xfrm>
      </p:grpSpPr>
      <p:sp>
        <p:nvSpPr>
          <p:cNvPr id="121" name="Google Shape;121;p26"/>
          <p:cNvSpPr/>
          <p:nvPr/>
        </p:nvSpPr>
        <p:spPr>
          <a:xfrm>
            <a:off x="7457440" y="40640"/>
            <a:ext cx="4785360" cy="6868160"/>
          </a:xfrm>
          <a:custGeom>
            <a:avLst/>
            <a:gdLst/>
            <a:ahLst/>
            <a:cxnLst/>
            <a:rect l="l" t="t" r="r" b="b"/>
            <a:pathLst>
              <a:path w="3589020" h="5151120" extrusionOk="0">
                <a:moveTo>
                  <a:pt x="15240" y="5090160"/>
                </a:moveTo>
                <a:lnTo>
                  <a:pt x="15240" y="1021080"/>
                </a:lnTo>
                <a:lnTo>
                  <a:pt x="3589020" y="0"/>
                </a:lnTo>
                <a:lnTo>
                  <a:pt x="3589020" y="5151120"/>
                </a:lnTo>
                <a:lnTo>
                  <a:pt x="0" y="5151120"/>
                </a:lnTo>
                <a:lnTo>
                  <a:pt x="15240" y="5090160"/>
                </a:lnTo>
                <a:close/>
              </a:path>
            </a:pathLst>
          </a:cu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122" name="Google Shape;122;p26"/>
          <p:cNvSpPr txBox="1">
            <a:spLocks noGrp="1"/>
          </p:cNvSpPr>
          <p:nvPr>
            <p:ph type="title"/>
          </p:nvPr>
        </p:nvSpPr>
        <p:spPr>
          <a:xfrm>
            <a:off x="336005" y="1592921"/>
            <a:ext cx="7052606" cy="1648341"/>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4000"/>
              <a:buFont typeface="Playfair Display"/>
              <a:buNone/>
              <a:defRPr sz="4000"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23" name="Google Shape;123;p26"/>
          <p:cNvSpPr txBox="1">
            <a:spLocks noGrp="1"/>
          </p:cNvSpPr>
          <p:nvPr>
            <p:ph type="body" idx="1"/>
          </p:nvPr>
        </p:nvSpPr>
        <p:spPr>
          <a:xfrm>
            <a:off x="8081435" y="1503240"/>
            <a:ext cx="3734647" cy="2021839"/>
          </a:xfrm>
          <a:prstGeom prst="rect">
            <a:avLst/>
          </a:prstGeom>
          <a:noFill/>
          <a:ln>
            <a:noFill/>
          </a:ln>
        </p:spPr>
        <p:txBody>
          <a:bodyPr spcFirstLastPara="1" wrap="square" lIns="91425" tIns="45700" rIns="91425" bIns="45700" anchor="t" anchorCtr="0">
            <a:noAutofit/>
          </a:bodyPr>
          <a:lstStyle>
            <a:lvl1pPr marL="457200" marR="0" lvl="0" indent="-228600" algn="ctr" rtl="0">
              <a:lnSpc>
                <a:spcPct val="90000"/>
              </a:lnSpc>
              <a:spcBef>
                <a:spcPts val="999"/>
              </a:spcBef>
              <a:spcAft>
                <a:spcPts val="0"/>
              </a:spcAft>
              <a:buClr>
                <a:schemeClr val="lt1"/>
              </a:buClr>
              <a:buSzPts val="15991"/>
              <a:buFont typeface="Arial"/>
              <a:buNone/>
              <a:defRPr sz="15991" b="0" i="0" u="none" strike="noStrike" cap="none">
                <a:solidFill>
                  <a:schemeClr val="lt1"/>
                </a:solidFill>
                <a:latin typeface="Playfair Display"/>
                <a:ea typeface="Playfair Display"/>
                <a:cs typeface="Playfair Display"/>
                <a:sym typeface="Playfair Display"/>
              </a:defRPr>
            </a:lvl1pPr>
            <a:lvl2pPr marL="914400" marR="0" lvl="1" indent="-380936" algn="l" rtl="0">
              <a:lnSpc>
                <a:spcPct val="90000"/>
              </a:lnSpc>
              <a:spcBef>
                <a:spcPts val="500"/>
              </a:spcBef>
              <a:spcAft>
                <a:spcPts val="0"/>
              </a:spcAft>
              <a:buClr>
                <a:schemeClr val="dk1"/>
              </a:buClr>
              <a:buSzPts val="2399"/>
              <a:buFont typeface="Arial"/>
              <a:buChar char="•"/>
              <a:defRPr sz="2399" b="0" i="0" u="none" strike="noStrike" cap="none">
                <a:solidFill>
                  <a:schemeClr val="dk1"/>
                </a:solidFill>
                <a:latin typeface="Arial"/>
                <a:ea typeface="Arial"/>
                <a:cs typeface="Arial"/>
                <a:sym typeface="Arial"/>
              </a:defRPr>
            </a:lvl2pPr>
            <a:lvl3pPr marL="1371600" marR="0" lvl="2" indent="-355536" algn="l" rtl="0">
              <a:lnSpc>
                <a:spcPct val="90000"/>
              </a:lnSpc>
              <a:spcBef>
                <a:spcPts val="500"/>
              </a:spcBef>
              <a:spcAft>
                <a:spcPts val="0"/>
              </a:spcAft>
              <a:buClr>
                <a:schemeClr val="dk1"/>
              </a:buClr>
              <a:buSzPts val="1999"/>
              <a:buFont typeface="Arial"/>
              <a:buChar char="•"/>
              <a:defRPr sz="1999" b="0" i="0" u="none" strike="noStrike" cap="none">
                <a:solidFill>
                  <a:schemeClr val="dk1"/>
                </a:solidFill>
                <a:latin typeface="Arial"/>
                <a:ea typeface="Arial"/>
                <a:cs typeface="Arial"/>
                <a:sym typeface="Arial"/>
              </a:defRPr>
            </a:lvl3pPr>
            <a:lvl4pPr marL="1828800" marR="0" lvl="3"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4pPr>
            <a:lvl5pPr marL="2286000" marR="0" lvl="4"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
        <p:nvSpPr>
          <p:cNvPr id="124" name="Google Shape;124;p26"/>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lt1"/>
                </a:solidFill>
                <a:latin typeface="Arial"/>
                <a:ea typeface="Arial"/>
                <a:cs typeface="Arial"/>
                <a:sym typeface="Arial"/>
              </a:rPr>
              <a:t>‹Nº›</a:t>
            </a:fld>
            <a:endParaRPr sz="1066" b="0" i="0" u="none" strike="noStrike" cap="none">
              <a:solidFill>
                <a:schemeClr val="lt1"/>
              </a:solidFill>
              <a:latin typeface="Arial"/>
              <a:ea typeface="Arial"/>
              <a:cs typeface="Arial"/>
              <a:sym typeface="Arial"/>
            </a:endParaRPr>
          </a:p>
        </p:txBody>
      </p:sp>
      <p:sp>
        <p:nvSpPr>
          <p:cNvPr id="125" name="Google Shape;125;p26"/>
          <p:cNvSpPr/>
          <p:nvPr/>
        </p:nvSpPr>
        <p:spPr>
          <a:xfrm>
            <a:off x="336000" y="6506083"/>
            <a:ext cx="858184" cy="171408"/>
          </a:xfrm>
          <a:custGeom>
            <a:avLst/>
            <a:gdLst/>
            <a:ahLst/>
            <a:cxnLst/>
            <a:rect l="l" t="t" r="r" b="b"/>
            <a:pathLst>
              <a:path w="1701" h="337" extrusionOk="0">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spcFirstLastPara="1" wrap="square" lIns="121850" tIns="60925" rIns="121850" bIns="60925" anchor="t" anchorCtr="0">
            <a:noAutofit/>
          </a:bodyPr>
          <a:lstStyle/>
          <a:p>
            <a:pPr marL="0" marR="0" lvl="0" indent="0" algn="l" rtl="0">
              <a:lnSpc>
                <a:spcPct val="100000"/>
              </a:lnSpc>
              <a:spcBef>
                <a:spcPts val="0"/>
              </a:spcBef>
              <a:spcAft>
                <a:spcPts val="0"/>
              </a:spcAft>
              <a:buClr>
                <a:srgbClr val="000000"/>
              </a:buClr>
              <a:buSzPts val="2397"/>
              <a:buFont typeface="Arial"/>
              <a:buNone/>
            </a:pPr>
            <a:endParaRPr sz="2397" b="0" i="0" u="none" strike="noStrike" cap="none">
              <a:solidFill>
                <a:schemeClr val="dk1"/>
              </a:solidFill>
              <a:latin typeface="Arial"/>
              <a:ea typeface="Arial"/>
              <a:cs typeface="Arial"/>
              <a:sym typeface="Arial"/>
            </a:endParaRPr>
          </a:p>
        </p:txBody>
      </p:sp>
      <p:sp>
        <p:nvSpPr>
          <p:cNvPr id="126" name="Google Shape;126;p26"/>
          <p:cNvSpPr txBox="1">
            <a:spLocks noGrp="1"/>
          </p:cNvSpPr>
          <p:nvPr>
            <p:ph type="body" idx="2"/>
          </p:nvPr>
        </p:nvSpPr>
        <p:spPr>
          <a:xfrm>
            <a:off x="336000" y="3770676"/>
            <a:ext cx="5760000" cy="2634888"/>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8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399"/>
              <a:buFont typeface="Arial"/>
              <a:buNone/>
              <a:defRPr sz="2399"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3_Separata n1. Verde">
  <p:cSld name="3_Separata n1. Verde">
    <p:spTree>
      <p:nvGrpSpPr>
        <p:cNvPr id="1" name="Shape 127"/>
        <p:cNvGrpSpPr/>
        <p:nvPr/>
      </p:nvGrpSpPr>
      <p:grpSpPr>
        <a:xfrm>
          <a:off x="0" y="0"/>
          <a:ext cx="0" cy="0"/>
          <a:chOff x="0" y="0"/>
          <a:chExt cx="0" cy="0"/>
        </a:xfrm>
      </p:grpSpPr>
      <p:sp>
        <p:nvSpPr>
          <p:cNvPr id="128" name="Google Shape;128;p27"/>
          <p:cNvSpPr/>
          <p:nvPr/>
        </p:nvSpPr>
        <p:spPr>
          <a:xfrm>
            <a:off x="7457440" y="40640"/>
            <a:ext cx="4785360" cy="6868160"/>
          </a:xfrm>
          <a:custGeom>
            <a:avLst/>
            <a:gdLst/>
            <a:ahLst/>
            <a:cxnLst/>
            <a:rect l="l" t="t" r="r" b="b"/>
            <a:pathLst>
              <a:path w="3589020" h="5151120" extrusionOk="0">
                <a:moveTo>
                  <a:pt x="15240" y="5090160"/>
                </a:moveTo>
                <a:lnTo>
                  <a:pt x="15240" y="1021080"/>
                </a:lnTo>
                <a:lnTo>
                  <a:pt x="3589020" y="0"/>
                </a:lnTo>
                <a:lnTo>
                  <a:pt x="3589020" y="5151120"/>
                </a:lnTo>
                <a:lnTo>
                  <a:pt x="0" y="5151120"/>
                </a:lnTo>
                <a:lnTo>
                  <a:pt x="15240" y="5090160"/>
                </a:lnTo>
                <a:close/>
              </a:path>
            </a:pathLst>
          </a:cu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129" name="Google Shape;129;p27"/>
          <p:cNvSpPr txBox="1">
            <a:spLocks noGrp="1"/>
          </p:cNvSpPr>
          <p:nvPr>
            <p:ph type="title"/>
          </p:nvPr>
        </p:nvSpPr>
        <p:spPr>
          <a:xfrm>
            <a:off x="336005" y="1592921"/>
            <a:ext cx="7052606" cy="1648341"/>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4000"/>
              <a:buFont typeface="Playfair Display"/>
              <a:buNone/>
              <a:defRPr sz="4000"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30" name="Google Shape;130;p27"/>
          <p:cNvSpPr txBox="1">
            <a:spLocks noGrp="1"/>
          </p:cNvSpPr>
          <p:nvPr>
            <p:ph type="body" idx="1"/>
          </p:nvPr>
        </p:nvSpPr>
        <p:spPr>
          <a:xfrm>
            <a:off x="8081435" y="1503240"/>
            <a:ext cx="3734647" cy="2021839"/>
          </a:xfrm>
          <a:prstGeom prst="rect">
            <a:avLst/>
          </a:prstGeom>
          <a:noFill/>
          <a:ln>
            <a:noFill/>
          </a:ln>
        </p:spPr>
        <p:txBody>
          <a:bodyPr spcFirstLastPara="1" wrap="square" lIns="91425" tIns="45700" rIns="91425" bIns="45700" anchor="t" anchorCtr="0">
            <a:noAutofit/>
          </a:bodyPr>
          <a:lstStyle>
            <a:lvl1pPr marL="457200" marR="0" lvl="0" indent="-228600" algn="ctr" rtl="0">
              <a:lnSpc>
                <a:spcPct val="90000"/>
              </a:lnSpc>
              <a:spcBef>
                <a:spcPts val="999"/>
              </a:spcBef>
              <a:spcAft>
                <a:spcPts val="0"/>
              </a:spcAft>
              <a:buClr>
                <a:schemeClr val="lt1"/>
              </a:buClr>
              <a:buSzPts val="15991"/>
              <a:buFont typeface="Arial"/>
              <a:buNone/>
              <a:defRPr sz="15991" b="0" i="0" u="none" strike="noStrike" cap="none">
                <a:solidFill>
                  <a:schemeClr val="lt1"/>
                </a:solidFill>
                <a:latin typeface="Playfair Display"/>
                <a:ea typeface="Playfair Display"/>
                <a:cs typeface="Playfair Display"/>
                <a:sym typeface="Playfair Display"/>
              </a:defRPr>
            </a:lvl1pPr>
            <a:lvl2pPr marL="914400" marR="0" lvl="1" indent="-380936" algn="l" rtl="0">
              <a:lnSpc>
                <a:spcPct val="90000"/>
              </a:lnSpc>
              <a:spcBef>
                <a:spcPts val="500"/>
              </a:spcBef>
              <a:spcAft>
                <a:spcPts val="0"/>
              </a:spcAft>
              <a:buClr>
                <a:schemeClr val="dk1"/>
              </a:buClr>
              <a:buSzPts val="2399"/>
              <a:buFont typeface="Arial"/>
              <a:buChar char="•"/>
              <a:defRPr sz="2399" b="0" i="0" u="none" strike="noStrike" cap="none">
                <a:solidFill>
                  <a:schemeClr val="dk1"/>
                </a:solidFill>
                <a:latin typeface="Arial"/>
                <a:ea typeface="Arial"/>
                <a:cs typeface="Arial"/>
                <a:sym typeface="Arial"/>
              </a:defRPr>
            </a:lvl2pPr>
            <a:lvl3pPr marL="1371600" marR="0" lvl="2" indent="-355536" algn="l" rtl="0">
              <a:lnSpc>
                <a:spcPct val="90000"/>
              </a:lnSpc>
              <a:spcBef>
                <a:spcPts val="500"/>
              </a:spcBef>
              <a:spcAft>
                <a:spcPts val="0"/>
              </a:spcAft>
              <a:buClr>
                <a:schemeClr val="dk1"/>
              </a:buClr>
              <a:buSzPts val="1999"/>
              <a:buFont typeface="Arial"/>
              <a:buChar char="•"/>
              <a:defRPr sz="1999" b="0" i="0" u="none" strike="noStrike" cap="none">
                <a:solidFill>
                  <a:schemeClr val="dk1"/>
                </a:solidFill>
                <a:latin typeface="Arial"/>
                <a:ea typeface="Arial"/>
                <a:cs typeface="Arial"/>
                <a:sym typeface="Arial"/>
              </a:defRPr>
            </a:lvl3pPr>
            <a:lvl4pPr marL="1828800" marR="0" lvl="3"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4pPr>
            <a:lvl5pPr marL="2286000" marR="0" lvl="4"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
        <p:nvSpPr>
          <p:cNvPr id="131" name="Google Shape;131;p27"/>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lt1"/>
                </a:solidFill>
                <a:latin typeface="Arial"/>
                <a:ea typeface="Arial"/>
                <a:cs typeface="Arial"/>
                <a:sym typeface="Arial"/>
              </a:rPr>
              <a:t>‹Nº›</a:t>
            </a:fld>
            <a:endParaRPr sz="1066" b="0" i="0" u="none" strike="noStrike" cap="none">
              <a:solidFill>
                <a:schemeClr val="lt1"/>
              </a:solidFill>
              <a:latin typeface="Arial"/>
              <a:ea typeface="Arial"/>
              <a:cs typeface="Arial"/>
              <a:sym typeface="Arial"/>
            </a:endParaRPr>
          </a:p>
        </p:txBody>
      </p:sp>
      <p:sp>
        <p:nvSpPr>
          <p:cNvPr id="132" name="Google Shape;132;p27"/>
          <p:cNvSpPr/>
          <p:nvPr/>
        </p:nvSpPr>
        <p:spPr>
          <a:xfrm>
            <a:off x="336000" y="6506083"/>
            <a:ext cx="858184" cy="171408"/>
          </a:xfrm>
          <a:custGeom>
            <a:avLst/>
            <a:gdLst/>
            <a:ahLst/>
            <a:cxnLst/>
            <a:rect l="l" t="t" r="r" b="b"/>
            <a:pathLst>
              <a:path w="1701" h="337" extrusionOk="0">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spcFirstLastPara="1" wrap="square" lIns="121850" tIns="60925" rIns="121850" bIns="60925" anchor="t" anchorCtr="0">
            <a:noAutofit/>
          </a:bodyPr>
          <a:lstStyle/>
          <a:p>
            <a:pPr marL="0" marR="0" lvl="0" indent="0" algn="l" rtl="0">
              <a:lnSpc>
                <a:spcPct val="100000"/>
              </a:lnSpc>
              <a:spcBef>
                <a:spcPts val="0"/>
              </a:spcBef>
              <a:spcAft>
                <a:spcPts val="0"/>
              </a:spcAft>
              <a:buClr>
                <a:srgbClr val="000000"/>
              </a:buClr>
              <a:buSzPts val="2397"/>
              <a:buFont typeface="Arial"/>
              <a:buNone/>
            </a:pPr>
            <a:endParaRPr sz="2397" b="0" i="0" u="none" strike="noStrike" cap="none">
              <a:solidFill>
                <a:schemeClr val="dk1"/>
              </a:solidFill>
              <a:latin typeface="Arial"/>
              <a:ea typeface="Arial"/>
              <a:cs typeface="Arial"/>
              <a:sym typeface="Arial"/>
            </a:endParaRPr>
          </a:p>
        </p:txBody>
      </p:sp>
      <p:sp>
        <p:nvSpPr>
          <p:cNvPr id="133" name="Google Shape;133;p27"/>
          <p:cNvSpPr txBox="1">
            <a:spLocks noGrp="1"/>
          </p:cNvSpPr>
          <p:nvPr>
            <p:ph type="body" idx="2"/>
          </p:nvPr>
        </p:nvSpPr>
        <p:spPr>
          <a:xfrm>
            <a:off x="336000" y="3770676"/>
            <a:ext cx="5760000" cy="2634888"/>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8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399"/>
              <a:buFont typeface="Arial"/>
              <a:buNone/>
              <a:defRPr sz="2399"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4_Separata n1. Azul">
  <p:cSld name="4_Separata n1. Azul">
    <p:spTree>
      <p:nvGrpSpPr>
        <p:cNvPr id="1" name="Shape 134"/>
        <p:cNvGrpSpPr/>
        <p:nvPr/>
      </p:nvGrpSpPr>
      <p:grpSpPr>
        <a:xfrm>
          <a:off x="0" y="0"/>
          <a:ext cx="0" cy="0"/>
          <a:chOff x="0" y="0"/>
          <a:chExt cx="0" cy="0"/>
        </a:xfrm>
      </p:grpSpPr>
      <p:sp>
        <p:nvSpPr>
          <p:cNvPr id="135" name="Google Shape;135;p28"/>
          <p:cNvSpPr/>
          <p:nvPr/>
        </p:nvSpPr>
        <p:spPr>
          <a:xfrm>
            <a:off x="7457440" y="40640"/>
            <a:ext cx="4785360" cy="6868160"/>
          </a:xfrm>
          <a:custGeom>
            <a:avLst/>
            <a:gdLst/>
            <a:ahLst/>
            <a:cxnLst/>
            <a:rect l="l" t="t" r="r" b="b"/>
            <a:pathLst>
              <a:path w="3589020" h="5151120" extrusionOk="0">
                <a:moveTo>
                  <a:pt x="15240" y="5090160"/>
                </a:moveTo>
                <a:lnTo>
                  <a:pt x="15240" y="1021080"/>
                </a:lnTo>
                <a:lnTo>
                  <a:pt x="3589020" y="0"/>
                </a:lnTo>
                <a:lnTo>
                  <a:pt x="3589020" y="5151120"/>
                </a:lnTo>
                <a:lnTo>
                  <a:pt x="0" y="5151120"/>
                </a:lnTo>
                <a:lnTo>
                  <a:pt x="15240" y="5090160"/>
                </a:lnTo>
                <a:close/>
              </a:path>
            </a:pathLst>
          </a:cu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136" name="Google Shape;136;p28"/>
          <p:cNvSpPr txBox="1">
            <a:spLocks noGrp="1"/>
          </p:cNvSpPr>
          <p:nvPr>
            <p:ph type="title"/>
          </p:nvPr>
        </p:nvSpPr>
        <p:spPr>
          <a:xfrm>
            <a:off x="336005" y="1592921"/>
            <a:ext cx="7052606" cy="1648341"/>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4000"/>
              <a:buFont typeface="Playfair Display"/>
              <a:buNone/>
              <a:defRPr sz="4000"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37" name="Google Shape;137;p28"/>
          <p:cNvSpPr txBox="1">
            <a:spLocks noGrp="1"/>
          </p:cNvSpPr>
          <p:nvPr>
            <p:ph type="body" idx="1"/>
          </p:nvPr>
        </p:nvSpPr>
        <p:spPr>
          <a:xfrm>
            <a:off x="8081435" y="1503240"/>
            <a:ext cx="3734647" cy="2021839"/>
          </a:xfrm>
          <a:prstGeom prst="rect">
            <a:avLst/>
          </a:prstGeom>
          <a:noFill/>
          <a:ln>
            <a:noFill/>
          </a:ln>
        </p:spPr>
        <p:txBody>
          <a:bodyPr spcFirstLastPara="1" wrap="square" lIns="91425" tIns="45700" rIns="91425" bIns="45700" anchor="t" anchorCtr="0">
            <a:noAutofit/>
          </a:bodyPr>
          <a:lstStyle>
            <a:lvl1pPr marL="457200" marR="0" lvl="0" indent="-228600" algn="ctr" rtl="0">
              <a:lnSpc>
                <a:spcPct val="90000"/>
              </a:lnSpc>
              <a:spcBef>
                <a:spcPts val="999"/>
              </a:spcBef>
              <a:spcAft>
                <a:spcPts val="0"/>
              </a:spcAft>
              <a:buClr>
                <a:schemeClr val="lt1"/>
              </a:buClr>
              <a:buSzPts val="15991"/>
              <a:buFont typeface="Arial"/>
              <a:buNone/>
              <a:defRPr sz="15991" b="0" i="0" u="none" strike="noStrike" cap="none">
                <a:solidFill>
                  <a:schemeClr val="lt1"/>
                </a:solidFill>
                <a:latin typeface="Playfair Display"/>
                <a:ea typeface="Playfair Display"/>
                <a:cs typeface="Playfair Display"/>
                <a:sym typeface="Playfair Display"/>
              </a:defRPr>
            </a:lvl1pPr>
            <a:lvl2pPr marL="914400" marR="0" lvl="1" indent="-380936" algn="l" rtl="0">
              <a:lnSpc>
                <a:spcPct val="90000"/>
              </a:lnSpc>
              <a:spcBef>
                <a:spcPts val="500"/>
              </a:spcBef>
              <a:spcAft>
                <a:spcPts val="0"/>
              </a:spcAft>
              <a:buClr>
                <a:schemeClr val="dk1"/>
              </a:buClr>
              <a:buSzPts val="2399"/>
              <a:buFont typeface="Arial"/>
              <a:buChar char="•"/>
              <a:defRPr sz="2399" b="0" i="0" u="none" strike="noStrike" cap="none">
                <a:solidFill>
                  <a:schemeClr val="dk1"/>
                </a:solidFill>
                <a:latin typeface="Arial"/>
                <a:ea typeface="Arial"/>
                <a:cs typeface="Arial"/>
                <a:sym typeface="Arial"/>
              </a:defRPr>
            </a:lvl2pPr>
            <a:lvl3pPr marL="1371600" marR="0" lvl="2" indent="-355536" algn="l" rtl="0">
              <a:lnSpc>
                <a:spcPct val="90000"/>
              </a:lnSpc>
              <a:spcBef>
                <a:spcPts val="500"/>
              </a:spcBef>
              <a:spcAft>
                <a:spcPts val="0"/>
              </a:spcAft>
              <a:buClr>
                <a:schemeClr val="dk1"/>
              </a:buClr>
              <a:buSzPts val="1999"/>
              <a:buFont typeface="Arial"/>
              <a:buChar char="•"/>
              <a:defRPr sz="1999" b="0" i="0" u="none" strike="noStrike" cap="none">
                <a:solidFill>
                  <a:schemeClr val="dk1"/>
                </a:solidFill>
                <a:latin typeface="Arial"/>
                <a:ea typeface="Arial"/>
                <a:cs typeface="Arial"/>
                <a:sym typeface="Arial"/>
              </a:defRPr>
            </a:lvl3pPr>
            <a:lvl4pPr marL="1828800" marR="0" lvl="3"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4pPr>
            <a:lvl5pPr marL="2286000" marR="0" lvl="4"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
        <p:nvSpPr>
          <p:cNvPr id="138" name="Google Shape;138;p28"/>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lt1"/>
                </a:solidFill>
                <a:latin typeface="Arial"/>
                <a:ea typeface="Arial"/>
                <a:cs typeface="Arial"/>
                <a:sym typeface="Arial"/>
              </a:rPr>
              <a:t>‹Nº›</a:t>
            </a:fld>
            <a:endParaRPr sz="1066" b="0" i="0" u="none" strike="noStrike" cap="none">
              <a:solidFill>
                <a:schemeClr val="lt1"/>
              </a:solidFill>
              <a:latin typeface="Arial"/>
              <a:ea typeface="Arial"/>
              <a:cs typeface="Arial"/>
              <a:sym typeface="Arial"/>
            </a:endParaRPr>
          </a:p>
        </p:txBody>
      </p:sp>
      <p:sp>
        <p:nvSpPr>
          <p:cNvPr id="139" name="Google Shape;139;p28"/>
          <p:cNvSpPr/>
          <p:nvPr/>
        </p:nvSpPr>
        <p:spPr>
          <a:xfrm>
            <a:off x="336000" y="6506083"/>
            <a:ext cx="858184" cy="171408"/>
          </a:xfrm>
          <a:custGeom>
            <a:avLst/>
            <a:gdLst/>
            <a:ahLst/>
            <a:cxnLst/>
            <a:rect l="l" t="t" r="r" b="b"/>
            <a:pathLst>
              <a:path w="1701" h="337" extrusionOk="0">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spcFirstLastPara="1" wrap="square" lIns="121850" tIns="60925" rIns="121850" bIns="60925" anchor="t" anchorCtr="0">
            <a:noAutofit/>
          </a:bodyPr>
          <a:lstStyle/>
          <a:p>
            <a:pPr marL="0" marR="0" lvl="0" indent="0" algn="l" rtl="0">
              <a:lnSpc>
                <a:spcPct val="100000"/>
              </a:lnSpc>
              <a:spcBef>
                <a:spcPts val="0"/>
              </a:spcBef>
              <a:spcAft>
                <a:spcPts val="0"/>
              </a:spcAft>
              <a:buClr>
                <a:srgbClr val="000000"/>
              </a:buClr>
              <a:buSzPts val="2397"/>
              <a:buFont typeface="Arial"/>
              <a:buNone/>
            </a:pPr>
            <a:endParaRPr sz="2397" b="0" i="0" u="none" strike="noStrike" cap="none">
              <a:solidFill>
                <a:schemeClr val="dk1"/>
              </a:solidFill>
              <a:latin typeface="Arial"/>
              <a:ea typeface="Arial"/>
              <a:cs typeface="Arial"/>
              <a:sym typeface="Arial"/>
            </a:endParaRPr>
          </a:p>
        </p:txBody>
      </p:sp>
      <p:sp>
        <p:nvSpPr>
          <p:cNvPr id="140" name="Google Shape;140;p28"/>
          <p:cNvSpPr txBox="1">
            <a:spLocks noGrp="1"/>
          </p:cNvSpPr>
          <p:nvPr>
            <p:ph type="body" idx="2"/>
          </p:nvPr>
        </p:nvSpPr>
        <p:spPr>
          <a:xfrm>
            <a:off x="336000" y="3770676"/>
            <a:ext cx="5760000" cy="2634888"/>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8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399"/>
              <a:buFont typeface="Arial"/>
              <a:buNone/>
              <a:defRPr sz="2399"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5_Separata n1. Morado">
  <p:cSld name="5_Separata n1. Morado">
    <p:spTree>
      <p:nvGrpSpPr>
        <p:cNvPr id="1" name="Shape 141"/>
        <p:cNvGrpSpPr/>
        <p:nvPr/>
      </p:nvGrpSpPr>
      <p:grpSpPr>
        <a:xfrm>
          <a:off x="0" y="0"/>
          <a:ext cx="0" cy="0"/>
          <a:chOff x="0" y="0"/>
          <a:chExt cx="0" cy="0"/>
        </a:xfrm>
      </p:grpSpPr>
      <p:sp>
        <p:nvSpPr>
          <p:cNvPr id="142" name="Google Shape;142;p29"/>
          <p:cNvSpPr/>
          <p:nvPr/>
        </p:nvSpPr>
        <p:spPr>
          <a:xfrm>
            <a:off x="7457440" y="40640"/>
            <a:ext cx="4785360" cy="6868160"/>
          </a:xfrm>
          <a:custGeom>
            <a:avLst/>
            <a:gdLst/>
            <a:ahLst/>
            <a:cxnLst/>
            <a:rect l="l" t="t" r="r" b="b"/>
            <a:pathLst>
              <a:path w="3589020" h="5151120" extrusionOk="0">
                <a:moveTo>
                  <a:pt x="15240" y="5090160"/>
                </a:moveTo>
                <a:lnTo>
                  <a:pt x="15240" y="1021080"/>
                </a:lnTo>
                <a:lnTo>
                  <a:pt x="3589020" y="0"/>
                </a:lnTo>
                <a:lnTo>
                  <a:pt x="3589020" y="5151120"/>
                </a:lnTo>
                <a:lnTo>
                  <a:pt x="0" y="5151120"/>
                </a:lnTo>
                <a:lnTo>
                  <a:pt x="15240" y="5090160"/>
                </a:lnTo>
                <a:close/>
              </a:path>
            </a:pathLst>
          </a:cu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143" name="Google Shape;143;p29"/>
          <p:cNvSpPr txBox="1">
            <a:spLocks noGrp="1"/>
          </p:cNvSpPr>
          <p:nvPr>
            <p:ph type="title"/>
          </p:nvPr>
        </p:nvSpPr>
        <p:spPr>
          <a:xfrm>
            <a:off x="336005" y="1592921"/>
            <a:ext cx="7052606" cy="1648341"/>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4000"/>
              <a:buFont typeface="Playfair Display"/>
              <a:buNone/>
              <a:defRPr sz="4000"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44" name="Google Shape;144;p29"/>
          <p:cNvSpPr txBox="1">
            <a:spLocks noGrp="1"/>
          </p:cNvSpPr>
          <p:nvPr>
            <p:ph type="body" idx="1"/>
          </p:nvPr>
        </p:nvSpPr>
        <p:spPr>
          <a:xfrm>
            <a:off x="8081435" y="1503240"/>
            <a:ext cx="3734647" cy="2021839"/>
          </a:xfrm>
          <a:prstGeom prst="rect">
            <a:avLst/>
          </a:prstGeom>
          <a:noFill/>
          <a:ln>
            <a:noFill/>
          </a:ln>
        </p:spPr>
        <p:txBody>
          <a:bodyPr spcFirstLastPara="1" wrap="square" lIns="91425" tIns="45700" rIns="91425" bIns="45700" anchor="t" anchorCtr="0">
            <a:noAutofit/>
          </a:bodyPr>
          <a:lstStyle>
            <a:lvl1pPr marL="457200" marR="0" lvl="0" indent="-228600" algn="ctr" rtl="0">
              <a:lnSpc>
                <a:spcPct val="90000"/>
              </a:lnSpc>
              <a:spcBef>
                <a:spcPts val="999"/>
              </a:spcBef>
              <a:spcAft>
                <a:spcPts val="0"/>
              </a:spcAft>
              <a:buClr>
                <a:schemeClr val="lt1"/>
              </a:buClr>
              <a:buSzPts val="15991"/>
              <a:buFont typeface="Arial"/>
              <a:buNone/>
              <a:defRPr sz="15991" b="0" i="0" u="none" strike="noStrike" cap="none">
                <a:solidFill>
                  <a:schemeClr val="lt1"/>
                </a:solidFill>
                <a:latin typeface="Playfair Display"/>
                <a:ea typeface="Playfair Display"/>
                <a:cs typeface="Playfair Display"/>
                <a:sym typeface="Playfair Display"/>
              </a:defRPr>
            </a:lvl1pPr>
            <a:lvl2pPr marL="914400" marR="0" lvl="1" indent="-380936" algn="l" rtl="0">
              <a:lnSpc>
                <a:spcPct val="90000"/>
              </a:lnSpc>
              <a:spcBef>
                <a:spcPts val="500"/>
              </a:spcBef>
              <a:spcAft>
                <a:spcPts val="0"/>
              </a:spcAft>
              <a:buClr>
                <a:schemeClr val="dk1"/>
              </a:buClr>
              <a:buSzPts val="2399"/>
              <a:buFont typeface="Arial"/>
              <a:buChar char="•"/>
              <a:defRPr sz="2399" b="0" i="0" u="none" strike="noStrike" cap="none">
                <a:solidFill>
                  <a:schemeClr val="dk1"/>
                </a:solidFill>
                <a:latin typeface="Arial"/>
                <a:ea typeface="Arial"/>
                <a:cs typeface="Arial"/>
                <a:sym typeface="Arial"/>
              </a:defRPr>
            </a:lvl2pPr>
            <a:lvl3pPr marL="1371600" marR="0" lvl="2" indent="-355536" algn="l" rtl="0">
              <a:lnSpc>
                <a:spcPct val="90000"/>
              </a:lnSpc>
              <a:spcBef>
                <a:spcPts val="500"/>
              </a:spcBef>
              <a:spcAft>
                <a:spcPts val="0"/>
              </a:spcAft>
              <a:buClr>
                <a:schemeClr val="dk1"/>
              </a:buClr>
              <a:buSzPts val="1999"/>
              <a:buFont typeface="Arial"/>
              <a:buChar char="•"/>
              <a:defRPr sz="1999" b="0" i="0" u="none" strike="noStrike" cap="none">
                <a:solidFill>
                  <a:schemeClr val="dk1"/>
                </a:solidFill>
                <a:latin typeface="Arial"/>
                <a:ea typeface="Arial"/>
                <a:cs typeface="Arial"/>
                <a:sym typeface="Arial"/>
              </a:defRPr>
            </a:lvl3pPr>
            <a:lvl4pPr marL="1828800" marR="0" lvl="3"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4pPr>
            <a:lvl5pPr marL="2286000" marR="0" lvl="4"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
        <p:nvSpPr>
          <p:cNvPr id="145" name="Google Shape;145;p29"/>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lt1"/>
                </a:solidFill>
                <a:latin typeface="Arial"/>
                <a:ea typeface="Arial"/>
                <a:cs typeface="Arial"/>
                <a:sym typeface="Arial"/>
              </a:rPr>
              <a:t>‹Nº›</a:t>
            </a:fld>
            <a:endParaRPr sz="1066" b="0" i="0" u="none" strike="noStrike" cap="none">
              <a:solidFill>
                <a:schemeClr val="lt1"/>
              </a:solidFill>
              <a:latin typeface="Arial"/>
              <a:ea typeface="Arial"/>
              <a:cs typeface="Arial"/>
              <a:sym typeface="Arial"/>
            </a:endParaRPr>
          </a:p>
        </p:txBody>
      </p:sp>
      <p:sp>
        <p:nvSpPr>
          <p:cNvPr id="146" name="Google Shape;146;p29"/>
          <p:cNvSpPr/>
          <p:nvPr/>
        </p:nvSpPr>
        <p:spPr>
          <a:xfrm>
            <a:off x="336000" y="6506083"/>
            <a:ext cx="858184" cy="171408"/>
          </a:xfrm>
          <a:custGeom>
            <a:avLst/>
            <a:gdLst/>
            <a:ahLst/>
            <a:cxnLst/>
            <a:rect l="l" t="t" r="r" b="b"/>
            <a:pathLst>
              <a:path w="1701" h="337" extrusionOk="0">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spcFirstLastPara="1" wrap="square" lIns="121850" tIns="60925" rIns="121850" bIns="60925" anchor="t" anchorCtr="0">
            <a:noAutofit/>
          </a:bodyPr>
          <a:lstStyle/>
          <a:p>
            <a:pPr marL="0" marR="0" lvl="0" indent="0" algn="l" rtl="0">
              <a:lnSpc>
                <a:spcPct val="100000"/>
              </a:lnSpc>
              <a:spcBef>
                <a:spcPts val="0"/>
              </a:spcBef>
              <a:spcAft>
                <a:spcPts val="0"/>
              </a:spcAft>
              <a:buClr>
                <a:srgbClr val="000000"/>
              </a:buClr>
              <a:buSzPts val="2397"/>
              <a:buFont typeface="Arial"/>
              <a:buNone/>
            </a:pPr>
            <a:endParaRPr sz="2397" b="0" i="0" u="none" strike="noStrike" cap="none">
              <a:solidFill>
                <a:schemeClr val="dk1"/>
              </a:solidFill>
              <a:latin typeface="Arial"/>
              <a:ea typeface="Arial"/>
              <a:cs typeface="Arial"/>
              <a:sym typeface="Arial"/>
            </a:endParaRPr>
          </a:p>
        </p:txBody>
      </p:sp>
      <p:sp>
        <p:nvSpPr>
          <p:cNvPr id="147" name="Google Shape;147;p29"/>
          <p:cNvSpPr txBox="1">
            <a:spLocks noGrp="1"/>
          </p:cNvSpPr>
          <p:nvPr>
            <p:ph type="body" idx="2"/>
          </p:nvPr>
        </p:nvSpPr>
        <p:spPr>
          <a:xfrm>
            <a:off x="336000" y="3770676"/>
            <a:ext cx="5760000" cy="2634888"/>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8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399"/>
              <a:buFont typeface="Arial"/>
              <a:buNone/>
              <a:defRPr sz="2399"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Verde endoso">
  <p:cSld name="Verde endoso">
    <p:spTree>
      <p:nvGrpSpPr>
        <p:cNvPr id="1" name="Shape 31"/>
        <p:cNvGrpSpPr/>
        <p:nvPr/>
      </p:nvGrpSpPr>
      <p:grpSpPr>
        <a:xfrm>
          <a:off x="0" y="0"/>
          <a:ext cx="0" cy="0"/>
          <a:chOff x="0" y="0"/>
          <a:chExt cx="0" cy="0"/>
        </a:xfrm>
      </p:grpSpPr>
      <p:graphicFrame>
        <p:nvGraphicFramePr>
          <p:cNvPr id="32" name="Google Shape;32;p15"/>
          <p:cNvGraphicFramePr/>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1086" r:id="rId3" imgW="2117" imgH="2117" progId="TCLayout.ActiveDocument.1">
                  <p:embed/>
                </p:oleObj>
              </mc:Choice>
              <mc:Fallback>
                <p:oleObj r:id="rId3" imgW="2117" imgH="2117" progId="TCLayout.ActiveDocument.1">
                  <p:embed/>
                  <p:pic>
                    <p:nvPicPr>
                      <p:cNvPr id="32" name="Google Shape;32;p15"/>
                      <p:cNvPicPr preferRelativeResize="0"/>
                      <p:nvPr/>
                    </p:nvPicPr>
                    <p:blipFill rotWithShape="1">
                      <a:blip r:embed="rId4">
                        <a:alphaModFix/>
                      </a:blip>
                      <a:srcRect/>
                      <a:stretch/>
                    </p:blipFill>
                    <p:spPr>
                      <a:xfrm>
                        <a:off x="2117" y="2121"/>
                        <a:ext cx="2117" cy="2117"/>
                      </a:xfrm>
                      <a:prstGeom prst="rect">
                        <a:avLst/>
                      </a:prstGeom>
                      <a:noFill/>
                      <a:ln>
                        <a:noFill/>
                      </a:ln>
                    </p:spPr>
                  </p:pic>
                </p:oleObj>
              </mc:Fallback>
            </mc:AlternateContent>
          </a:graphicData>
        </a:graphic>
      </p:graphicFrame>
      <p:sp>
        <p:nvSpPr>
          <p:cNvPr id="33" name="Google Shape;33;p15"/>
          <p:cNvSpPr txBox="1">
            <a:spLocks noGrp="1"/>
          </p:cNvSpPr>
          <p:nvPr>
            <p:ph type="title"/>
          </p:nvPr>
        </p:nvSpPr>
        <p:spPr>
          <a:xfrm>
            <a:off x="336000" y="649095"/>
            <a:ext cx="11519451" cy="919343"/>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2400"/>
              <a:buFont typeface="Playfair Display"/>
              <a:buNone/>
              <a:defRPr sz="2400"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34" name="Google Shape;34;p15"/>
          <p:cNvSpPr txBox="1">
            <a:spLocks noGrp="1"/>
          </p:cNvSpPr>
          <p:nvPr>
            <p:ph type="body" idx="1"/>
          </p:nvPr>
        </p:nvSpPr>
        <p:spPr>
          <a:xfrm>
            <a:off x="336000" y="357000"/>
            <a:ext cx="11519451" cy="251520"/>
          </a:xfrm>
          <a:prstGeom prst="rect">
            <a:avLst/>
          </a:prstGeom>
          <a:noFill/>
          <a:ln>
            <a:noFill/>
          </a:ln>
        </p:spPr>
        <p:txBody>
          <a:bodyPr spcFirstLastPara="1" wrap="square" lIns="0" tIns="45700" rIns="91425" bIns="45700" anchor="t" anchorCtr="0">
            <a:noAutofit/>
          </a:bodyPr>
          <a:lstStyle>
            <a:lvl1pPr marL="457200" marR="0" lvl="0" indent="-228600" algn="l" rtl="0">
              <a:lnSpc>
                <a:spcPct val="90000"/>
              </a:lnSpc>
              <a:spcBef>
                <a:spcPts val="999"/>
              </a:spcBef>
              <a:spcAft>
                <a:spcPts val="0"/>
              </a:spcAft>
              <a:buClr>
                <a:srgbClr val="1A3B47"/>
              </a:buClr>
              <a:buSzPts val="1000"/>
              <a:buFont typeface="Arial"/>
              <a:buNone/>
              <a:defRPr sz="1000" b="0" i="0" u="none" strike="noStrike" cap="none">
                <a:solidFill>
                  <a:srgbClr val="1A3B47"/>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399"/>
              <a:buFont typeface="Arial"/>
              <a:buNone/>
              <a:defRPr sz="2399"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grpSp>
        <p:nvGrpSpPr>
          <p:cNvPr id="35" name="Google Shape;35;p15"/>
          <p:cNvGrpSpPr/>
          <p:nvPr/>
        </p:nvGrpSpPr>
        <p:grpSpPr>
          <a:xfrm>
            <a:off x="10328936" y="6242390"/>
            <a:ext cx="1871531" cy="642611"/>
            <a:chOff x="8064500" y="4790414"/>
            <a:chExt cx="1083150" cy="371911"/>
          </a:xfrm>
        </p:grpSpPr>
        <p:sp>
          <p:nvSpPr>
            <p:cNvPr id="36" name="Google Shape;36;p15"/>
            <p:cNvSpPr/>
            <p:nvPr/>
          </p:nvSpPr>
          <p:spPr>
            <a:xfrm>
              <a:off x="8261825" y="4790414"/>
              <a:ext cx="885825" cy="349250"/>
            </a:xfrm>
            <a:custGeom>
              <a:avLst/>
              <a:gdLst/>
              <a:ahLst/>
              <a:cxnLst/>
              <a:rect l="l" t="t" r="r" b="b"/>
              <a:pathLst>
                <a:path w="885825" h="349250" extrusionOk="0">
                  <a:moveTo>
                    <a:pt x="885825" y="225425"/>
                  </a:moveTo>
                  <a:lnTo>
                    <a:pt x="885825" y="0"/>
                  </a:lnTo>
                  <a:lnTo>
                    <a:pt x="0" y="250825"/>
                  </a:lnTo>
                  <a:lnTo>
                    <a:pt x="0" y="349250"/>
                  </a:lnTo>
                  <a:lnTo>
                    <a:pt x="885825" y="225425"/>
                  </a:lnTo>
                  <a:close/>
                </a:path>
              </a:pathLst>
            </a:cu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37" name="Google Shape;37;p15"/>
            <p:cNvSpPr/>
            <p:nvPr/>
          </p:nvSpPr>
          <p:spPr>
            <a:xfrm>
              <a:off x="8064500" y="4844050"/>
              <a:ext cx="1083150" cy="318275"/>
            </a:xfrm>
            <a:custGeom>
              <a:avLst/>
              <a:gdLst/>
              <a:ahLst/>
              <a:cxnLst/>
              <a:rect l="l" t="t" r="r" b="b"/>
              <a:pathLst>
                <a:path w="1083150" h="318275" extrusionOk="0">
                  <a:moveTo>
                    <a:pt x="0" y="307900"/>
                  </a:moveTo>
                  <a:lnTo>
                    <a:pt x="1083150" y="0"/>
                  </a:lnTo>
                  <a:cubicBezTo>
                    <a:pt x="1082442" y="106092"/>
                    <a:pt x="1081733" y="212183"/>
                    <a:pt x="1081025" y="318275"/>
                  </a:cubicBezTo>
                  <a:lnTo>
                    <a:pt x="0" y="307900"/>
                  </a:lnTo>
                  <a:close/>
                </a:path>
              </a:pathLst>
            </a:cu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grpSp>
      <p:sp>
        <p:nvSpPr>
          <p:cNvPr id="38" name="Google Shape;38;p15"/>
          <p:cNvSpPr/>
          <p:nvPr/>
        </p:nvSpPr>
        <p:spPr>
          <a:xfrm>
            <a:off x="336000" y="6506083"/>
            <a:ext cx="858184" cy="171408"/>
          </a:xfrm>
          <a:custGeom>
            <a:avLst/>
            <a:gdLst/>
            <a:ahLst/>
            <a:cxnLst/>
            <a:rect l="l" t="t" r="r" b="b"/>
            <a:pathLst>
              <a:path w="1701" h="337" extrusionOk="0">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spcFirstLastPara="1" wrap="square" lIns="121850" tIns="60925" rIns="121850" bIns="60925" anchor="t" anchorCtr="0">
            <a:noAutofit/>
          </a:bodyPr>
          <a:lstStyle/>
          <a:p>
            <a:pPr marL="0" marR="0" lvl="0" indent="0" algn="l" rtl="0">
              <a:lnSpc>
                <a:spcPct val="100000"/>
              </a:lnSpc>
              <a:spcBef>
                <a:spcPts val="0"/>
              </a:spcBef>
              <a:spcAft>
                <a:spcPts val="0"/>
              </a:spcAft>
              <a:buClr>
                <a:srgbClr val="000000"/>
              </a:buClr>
              <a:buSzPts val="2397"/>
              <a:buFont typeface="Arial"/>
              <a:buNone/>
            </a:pPr>
            <a:endParaRPr sz="2397" b="0" i="0" u="none" strike="noStrike" cap="none">
              <a:solidFill>
                <a:schemeClr val="dk1"/>
              </a:solidFill>
              <a:latin typeface="Arial"/>
              <a:ea typeface="Arial"/>
              <a:cs typeface="Arial"/>
              <a:sym typeface="Arial"/>
            </a:endParaRPr>
          </a:p>
        </p:txBody>
      </p:sp>
      <p:sp>
        <p:nvSpPr>
          <p:cNvPr id="39" name="Google Shape;39;p15"/>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lt1"/>
                </a:solidFill>
                <a:latin typeface="Arial"/>
                <a:ea typeface="Arial"/>
                <a:cs typeface="Arial"/>
                <a:sym typeface="Arial"/>
              </a:rPr>
              <a:t>‹Nº›</a:t>
            </a:fld>
            <a:endParaRPr sz="1066" b="0" i="0" u="none" strike="noStrike" cap="none">
              <a:solidFill>
                <a:schemeClr val="lt1"/>
              </a:solidFill>
              <a:latin typeface="Arial"/>
              <a:ea typeface="Arial"/>
              <a:cs typeface="Arial"/>
              <a:sym typeface="Aria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Separa n2_Grafito">
  <p:cSld name="Separa n2_Grafito">
    <p:spTree>
      <p:nvGrpSpPr>
        <p:cNvPr id="1" name="Shape 148"/>
        <p:cNvGrpSpPr/>
        <p:nvPr/>
      </p:nvGrpSpPr>
      <p:grpSpPr>
        <a:xfrm>
          <a:off x="0" y="0"/>
          <a:ext cx="0" cy="0"/>
          <a:chOff x="0" y="0"/>
          <a:chExt cx="0" cy="0"/>
        </a:xfrm>
      </p:grpSpPr>
      <p:sp>
        <p:nvSpPr>
          <p:cNvPr id="149" name="Google Shape;149;p30"/>
          <p:cNvSpPr/>
          <p:nvPr/>
        </p:nvSpPr>
        <p:spPr>
          <a:xfrm>
            <a:off x="8633460" y="3190461"/>
            <a:ext cx="3839167" cy="3980157"/>
          </a:xfrm>
          <a:custGeom>
            <a:avLst/>
            <a:gdLst/>
            <a:ahLst/>
            <a:cxnLst/>
            <a:rect l="l" t="t" r="r" b="b"/>
            <a:pathLst>
              <a:path w="2879375" h="2985118" extrusionOk="0">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150" name="Google Shape;150;p30"/>
          <p:cNvSpPr/>
          <p:nvPr/>
        </p:nvSpPr>
        <p:spPr>
          <a:xfrm>
            <a:off x="6154656" y="3533835"/>
            <a:ext cx="6451367" cy="3440631"/>
          </a:xfrm>
          <a:custGeom>
            <a:avLst/>
            <a:gdLst/>
            <a:ahLst/>
            <a:cxnLst/>
            <a:rect l="l" t="t" r="r" b="b"/>
            <a:pathLst>
              <a:path w="3581301" h="1909972" extrusionOk="0">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151" name="Google Shape;151;p30"/>
          <p:cNvSpPr/>
          <p:nvPr/>
        </p:nvSpPr>
        <p:spPr>
          <a:xfrm>
            <a:off x="7647938" y="3750358"/>
            <a:ext cx="4765040" cy="3224107"/>
          </a:xfrm>
          <a:custGeom>
            <a:avLst/>
            <a:gdLst/>
            <a:ahLst/>
            <a:cxnLst/>
            <a:rect l="l" t="t" r="r" b="b"/>
            <a:pathLst>
              <a:path w="3573780" h="2418080" extrusionOk="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152" name="Google Shape;152;p30"/>
          <p:cNvSpPr txBox="1">
            <a:spLocks noGrp="1"/>
          </p:cNvSpPr>
          <p:nvPr>
            <p:ph type="title"/>
          </p:nvPr>
        </p:nvSpPr>
        <p:spPr>
          <a:xfrm>
            <a:off x="336004" y="1592921"/>
            <a:ext cx="7553833" cy="1648341"/>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4000"/>
              <a:buFont typeface="Playfair Display"/>
              <a:buNone/>
              <a:defRPr sz="4000"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53" name="Google Shape;153;p30"/>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lt1"/>
                </a:solidFill>
                <a:latin typeface="Arial"/>
                <a:ea typeface="Arial"/>
                <a:cs typeface="Arial"/>
                <a:sym typeface="Arial"/>
              </a:rPr>
              <a:t>‹Nº›</a:t>
            </a:fld>
            <a:endParaRPr sz="1066" b="0" i="0" u="none" strike="noStrike" cap="none">
              <a:solidFill>
                <a:schemeClr val="lt1"/>
              </a:solidFill>
              <a:latin typeface="Arial"/>
              <a:ea typeface="Arial"/>
              <a:cs typeface="Arial"/>
              <a:sym typeface="Arial"/>
            </a:endParaRPr>
          </a:p>
        </p:txBody>
      </p:sp>
      <p:sp>
        <p:nvSpPr>
          <p:cNvPr id="154" name="Google Shape;154;p30"/>
          <p:cNvSpPr/>
          <p:nvPr/>
        </p:nvSpPr>
        <p:spPr>
          <a:xfrm>
            <a:off x="336000" y="6506083"/>
            <a:ext cx="858184" cy="171408"/>
          </a:xfrm>
          <a:custGeom>
            <a:avLst/>
            <a:gdLst/>
            <a:ahLst/>
            <a:cxnLst/>
            <a:rect l="l" t="t" r="r" b="b"/>
            <a:pathLst>
              <a:path w="1701" h="337" extrusionOk="0">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spcFirstLastPara="1" wrap="square" lIns="121850" tIns="60925" rIns="121850" bIns="60925" anchor="t" anchorCtr="0">
            <a:noAutofit/>
          </a:bodyPr>
          <a:lstStyle/>
          <a:p>
            <a:pPr marL="0" marR="0" lvl="0" indent="0" algn="l" rtl="0">
              <a:lnSpc>
                <a:spcPct val="100000"/>
              </a:lnSpc>
              <a:spcBef>
                <a:spcPts val="0"/>
              </a:spcBef>
              <a:spcAft>
                <a:spcPts val="0"/>
              </a:spcAft>
              <a:buClr>
                <a:srgbClr val="000000"/>
              </a:buClr>
              <a:buSzPts val="2397"/>
              <a:buFont typeface="Arial"/>
              <a:buNone/>
            </a:pPr>
            <a:endParaRPr sz="2397" b="0" i="0" u="none" strike="noStrike" cap="none">
              <a:solidFill>
                <a:schemeClr val="dk1"/>
              </a:solidFill>
              <a:latin typeface="Arial"/>
              <a:ea typeface="Arial"/>
              <a:cs typeface="Arial"/>
              <a:sym typeface="Arial"/>
            </a:endParaRPr>
          </a:p>
        </p:txBody>
      </p:sp>
      <p:sp>
        <p:nvSpPr>
          <p:cNvPr id="155" name="Google Shape;155;p30"/>
          <p:cNvSpPr txBox="1">
            <a:spLocks noGrp="1"/>
          </p:cNvSpPr>
          <p:nvPr>
            <p:ph type="body" idx="1"/>
          </p:nvPr>
        </p:nvSpPr>
        <p:spPr>
          <a:xfrm>
            <a:off x="336000" y="3770676"/>
            <a:ext cx="5760000" cy="2634888"/>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8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399"/>
              <a:buFont typeface="Arial"/>
              <a:buNone/>
              <a:defRPr sz="2399"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Separa n2_Piel">
  <p:cSld name="Separa n2_Piel">
    <p:spTree>
      <p:nvGrpSpPr>
        <p:cNvPr id="1" name="Shape 156"/>
        <p:cNvGrpSpPr/>
        <p:nvPr/>
      </p:nvGrpSpPr>
      <p:grpSpPr>
        <a:xfrm>
          <a:off x="0" y="0"/>
          <a:ext cx="0" cy="0"/>
          <a:chOff x="0" y="0"/>
          <a:chExt cx="0" cy="0"/>
        </a:xfrm>
      </p:grpSpPr>
      <p:sp>
        <p:nvSpPr>
          <p:cNvPr id="157" name="Google Shape;157;p31"/>
          <p:cNvSpPr/>
          <p:nvPr/>
        </p:nvSpPr>
        <p:spPr>
          <a:xfrm>
            <a:off x="8633460" y="3190461"/>
            <a:ext cx="3839167" cy="3980157"/>
          </a:xfrm>
          <a:custGeom>
            <a:avLst/>
            <a:gdLst/>
            <a:ahLst/>
            <a:cxnLst/>
            <a:rect l="l" t="t" r="r" b="b"/>
            <a:pathLst>
              <a:path w="2879375" h="2985118" extrusionOk="0">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158" name="Google Shape;158;p31"/>
          <p:cNvSpPr/>
          <p:nvPr/>
        </p:nvSpPr>
        <p:spPr>
          <a:xfrm>
            <a:off x="6154656" y="3533835"/>
            <a:ext cx="6451367" cy="3440631"/>
          </a:xfrm>
          <a:custGeom>
            <a:avLst/>
            <a:gdLst/>
            <a:ahLst/>
            <a:cxnLst/>
            <a:rect l="l" t="t" r="r" b="b"/>
            <a:pathLst>
              <a:path w="3581301" h="1909972" extrusionOk="0">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159" name="Google Shape;159;p31"/>
          <p:cNvSpPr/>
          <p:nvPr/>
        </p:nvSpPr>
        <p:spPr>
          <a:xfrm>
            <a:off x="7647938" y="3750358"/>
            <a:ext cx="4765040" cy="3224107"/>
          </a:xfrm>
          <a:custGeom>
            <a:avLst/>
            <a:gdLst/>
            <a:ahLst/>
            <a:cxnLst/>
            <a:rect l="l" t="t" r="r" b="b"/>
            <a:pathLst>
              <a:path w="3573780" h="2418080" extrusionOk="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160" name="Google Shape;160;p31"/>
          <p:cNvSpPr txBox="1">
            <a:spLocks noGrp="1"/>
          </p:cNvSpPr>
          <p:nvPr>
            <p:ph type="title"/>
          </p:nvPr>
        </p:nvSpPr>
        <p:spPr>
          <a:xfrm>
            <a:off x="336004" y="1592921"/>
            <a:ext cx="7553833" cy="1648341"/>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4000"/>
              <a:buFont typeface="Playfair Display"/>
              <a:buNone/>
              <a:defRPr sz="4000"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61" name="Google Shape;161;p31"/>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dk1"/>
                </a:solidFill>
                <a:latin typeface="Arial"/>
                <a:ea typeface="Arial"/>
                <a:cs typeface="Arial"/>
                <a:sym typeface="Arial"/>
              </a:rPr>
              <a:t>‹Nº›</a:t>
            </a:fld>
            <a:endParaRPr sz="1066" b="0" i="0" u="none" strike="noStrike" cap="none">
              <a:solidFill>
                <a:schemeClr val="dk1"/>
              </a:solidFill>
              <a:latin typeface="Arial"/>
              <a:ea typeface="Arial"/>
              <a:cs typeface="Arial"/>
              <a:sym typeface="Arial"/>
            </a:endParaRPr>
          </a:p>
        </p:txBody>
      </p:sp>
      <p:sp>
        <p:nvSpPr>
          <p:cNvPr id="162" name="Google Shape;162;p31"/>
          <p:cNvSpPr/>
          <p:nvPr/>
        </p:nvSpPr>
        <p:spPr>
          <a:xfrm>
            <a:off x="336000" y="6506083"/>
            <a:ext cx="858184" cy="171408"/>
          </a:xfrm>
          <a:custGeom>
            <a:avLst/>
            <a:gdLst/>
            <a:ahLst/>
            <a:cxnLst/>
            <a:rect l="l" t="t" r="r" b="b"/>
            <a:pathLst>
              <a:path w="1701" h="337" extrusionOk="0">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spcFirstLastPara="1" wrap="square" lIns="121850" tIns="60925" rIns="121850" bIns="60925" anchor="t" anchorCtr="0">
            <a:noAutofit/>
          </a:bodyPr>
          <a:lstStyle/>
          <a:p>
            <a:pPr marL="0" marR="0" lvl="0" indent="0" algn="l" rtl="0">
              <a:lnSpc>
                <a:spcPct val="100000"/>
              </a:lnSpc>
              <a:spcBef>
                <a:spcPts val="0"/>
              </a:spcBef>
              <a:spcAft>
                <a:spcPts val="0"/>
              </a:spcAft>
              <a:buClr>
                <a:srgbClr val="000000"/>
              </a:buClr>
              <a:buSzPts val="2397"/>
              <a:buFont typeface="Arial"/>
              <a:buNone/>
            </a:pPr>
            <a:endParaRPr sz="2397" b="0" i="0" u="none" strike="noStrike" cap="none">
              <a:solidFill>
                <a:schemeClr val="dk1"/>
              </a:solidFill>
              <a:latin typeface="Arial"/>
              <a:ea typeface="Arial"/>
              <a:cs typeface="Arial"/>
              <a:sym typeface="Arial"/>
            </a:endParaRPr>
          </a:p>
        </p:txBody>
      </p:sp>
      <p:sp>
        <p:nvSpPr>
          <p:cNvPr id="163" name="Google Shape;163;p31"/>
          <p:cNvSpPr txBox="1">
            <a:spLocks noGrp="1"/>
          </p:cNvSpPr>
          <p:nvPr>
            <p:ph type="body" idx="1"/>
          </p:nvPr>
        </p:nvSpPr>
        <p:spPr>
          <a:xfrm>
            <a:off x="336000" y="3770676"/>
            <a:ext cx="5760000" cy="2634888"/>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8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399"/>
              <a:buFont typeface="Arial"/>
              <a:buNone/>
              <a:defRPr sz="2399"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Separa n1_Amarillo">
  <p:cSld name="Separa n1_Amarillo">
    <p:spTree>
      <p:nvGrpSpPr>
        <p:cNvPr id="1" name="Shape 164"/>
        <p:cNvGrpSpPr/>
        <p:nvPr/>
      </p:nvGrpSpPr>
      <p:grpSpPr>
        <a:xfrm>
          <a:off x="0" y="0"/>
          <a:ext cx="0" cy="0"/>
          <a:chOff x="0" y="0"/>
          <a:chExt cx="0" cy="0"/>
        </a:xfrm>
      </p:grpSpPr>
      <p:sp>
        <p:nvSpPr>
          <p:cNvPr id="165" name="Google Shape;165;p32"/>
          <p:cNvSpPr/>
          <p:nvPr/>
        </p:nvSpPr>
        <p:spPr>
          <a:xfrm>
            <a:off x="8633460" y="3190461"/>
            <a:ext cx="3839167" cy="3980157"/>
          </a:xfrm>
          <a:custGeom>
            <a:avLst/>
            <a:gdLst/>
            <a:ahLst/>
            <a:cxnLst/>
            <a:rect l="l" t="t" r="r" b="b"/>
            <a:pathLst>
              <a:path w="2879375" h="2985118" extrusionOk="0">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166" name="Google Shape;166;p32"/>
          <p:cNvSpPr/>
          <p:nvPr/>
        </p:nvSpPr>
        <p:spPr>
          <a:xfrm>
            <a:off x="6154656" y="3533835"/>
            <a:ext cx="6451367" cy="3440631"/>
          </a:xfrm>
          <a:custGeom>
            <a:avLst/>
            <a:gdLst/>
            <a:ahLst/>
            <a:cxnLst/>
            <a:rect l="l" t="t" r="r" b="b"/>
            <a:pathLst>
              <a:path w="3581301" h="1909972" extrusionOk="0">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167" name="Google Shape;167;p32"/>
          <p:cNvSpPr/>
          <p:nvPr/>
        </p:nvSpPr>
        <p:spPr>
          <a:xfrm>
            <a:off x="7647938" y="3750358"/>
            <a:ext cx="4765040" cy="3224107"/>
          </a:xfrm>
          <a:custGeom>
            <a:avLst/>
            <a:gdLst/>
            <a:ahLst/>
            <a:cxnLst/>
            <a:rect l="l" t="t" r="r" b="b"/>
            <a:pathLst>
              <a:path w="3573780" h="2418080" extrusionOk="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168" name="Google Shape;168;p32"/>
          <p:cNvSpPr txBox="1">
            <a:spLocks noGrp="1"/>
          </p:cNvSpPr>
          <p:nvPr>
            <p:ph type="title"/>
          </p:nvPr>
        </p:nvSpPr>
        <p:spPr>
          <a:xfrm>
            <a:off x="336004" y="1592921"/>
            <a:ext cx="7553833" cy="1648341"/>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4000"/>
              <a:buFont typeface="Playfair Display"/>
              <a:buNone/>
              <a:defRPr sz="4000"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69" name="Google Shape;169;p32"/>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dk1"/>
                </a:solidFill>
                <a:latin typeface="Arial"/>
                <a:ea typeface="Arial"/>
                <a:cs typeface="Arial"/>
                <a:sym typeface="Arial"/>
              </a:rPr>
              <a:t>‹Nº›</a:t>
            </a:fld>
            <a:endParaRPr sz="1066" b="0" i="0" u="none" strike="noStrike" cap="none">
              <a:solidFill>
                <a:schemeClr val="dk1"/>
              </a:solidFill>
              <a:latin typeface="Arial"/>
              <a:ea typeface="Arial"/>
              <a:cs typeface="Arial"/>
              <a:sym typeface="Arial"/>
            </a:endParaRPr>
          </a:p>
        </p:txBody>
      </p:sp>
      <p:sp>
        <p:nvSpPr>
          <p:cNvPr id="170" name="Google Shape;170;p32"/>
          <p:cNvSpPr/>
          <p:nvPr/>
        </p:nvSpPr>
        <p:spPr>
          <a:xfrm>
            <a:off x="336000" y="6506083"/>
            <a:ext cx="858184" cy="171408"/>
          </a:xfrm>
          <a:custGeom>
            <a:avLst/>
            <a:gdLst/>
            <a:ahLst/>
            <a:cxnLst/>
            <a:rect l="l" t="t" r="r" b="b"/>
            <a:pathLst>
              <a:path w="1701" h="337" extrusionOk="0">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spcFirstLastPara="1" wrap="square" lIns="121850" tIns="60925" rIns="121850" bIns="60925" anchor="t" anchorCtr="0">
            <a:noAutofit/>
          </a:bodyPr>
          <a:lstStyle/>
          <a:p>
            <a:pPr marL="0" marR="0" lvl="0" indent="0" algn="l" rtl="0">
              <a:lnSpc>
                <a:spcPct val="100000"/>
              </a:lnSpc>
              <a:spcBef>
                <a:spcPts val="0"/>
              </a:spcBef>
              <a:spcAft>
                <a:spcPts val="0"/>
              </a:spcAft>
              <a:buClr>
                <a:srgbClr val="000000"/>
              </a:buClr>
              <a:buSzPts val="2397"/>
              <a:buFont typeface="Arial"/>
              <a:buNone/>
            </a:pPr>
            <a:endParaRPr sz="2397" b="0" i="0" u="none" strike="noStrike" cap="none">
              <a:solidFill>
                <a:schemeClr val="dk1"/>
              </a:solidFill>
              <a:latin typeface="Arial"/>
              <a:ea typeface="Arial"/>
              <a:cs typeface="Arial"/>
              <a:sym typeface="Arial"/>
            </a:endParaRPr>
          </a:p>
        </p:txBody>
      </p:sp>
      <p:sp>
        <p:nvSpPr>
          <p:cNvPr id="171" name="Google Shape;171;p32"/>
          <p:cNvSpPr txBox="1">
            <a:spLocks noGrp="1"/>
          </p:cNvSpPr>
          <p:nvPr>
            <p:ph type="body" idx="1"/>
          </p:nvPr>
        </p:nvSpPr>
        <p:spPr>
          <a:xfrm>
            <a:off x="336000" y="3770676"/>
            <a:ext cx="5760000" cy="2634888"/>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8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399"/>
              <a:buFont typeface="Arial"/>
              <a:buNone/>
              <a:defRPr sz="2399"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Separa n2_Naranja">
  <p:cSld name="Separa n2_Naranja">
    <p:spTree>
      <p:nvGrpSpPr>
        <p:cNvPr id="1" name="Shape 172"/>
        <p:cNvGrpSpPr/>
        <p:nvPr/>
      </p:nvGrpSpPr>
      <p:grpSpPr>
        <a:xfrm>
          <a:off x="0" y="0"/>
          <a:ext cx="0" cy="0"/>
          <a:chOff x="0" y="0"/>
          <a:chExt cx="0" cy="0"/>
        </a:xfrm>
      </p:grpSpPr>
      <p:sp>
        <p:nvSpPr>
          <p:cNvPr id="173" name="Google Shape;173;p33"/>
          <p:cNvSpPr/>
          <p:nvPr/>
        </p:nvSpPr>
        <p:spPr>
          <a:xfrm>
            <a:off x="8633460" y="3190461"/>
            <a:ext cx="3839167" cy="3980157"/>
          </a:xfrm>
          <a:custGeom>
            <a:avLst/>
            <a:gdLst/>
            <a:ahLst/>
            <a:cxnLst/>
            <a:rect l="l" t="t" r="r" b="b"/>
            <a:pathLst>
              <a:path w="2879375" h="2985118" extrusionOk="0">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174" name="Google Shape;174;p33"/>
          <p:cNvSpPr/>
          <p:nvPr/>
        </p:nvSpPr>
        <p:spPr>
          <a:xfrm>
            <a:off x="6154656" y="3533835"/>
            <a:ext cx="6451367" cy="3440631"/>
          </a:xfrm>
          <a:custGeom>
            <a:avLst/>
            <a:gdLst/>
            <a:ahLst/>
            <a:cxnLst/>
            <a:rect l="l" t="t" r="r" b="b"/>
            <a:pathLst>
              <a:path w="3581301" h="1909972" extrusionOk="0">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175" name="Google Shape;175;p33"/>
          <p:cNvSpPr/>
          <p:nvPr/>
        </p:nvSpPr>
        <p:spPr>
          <a:xfrm>
            <a:off x="7647938" y="3750358"/>
            <a:ext cx="4765040" cy="3224107"/>
          </a:xfrm>
          <a:custGeom>
            <a:avLst/>
            <a:gdLst/>
            <a:ahLst/>
            <a:cxnLst/>
            <a:rect l="l" t="t" r="r" b="b"/>
            <a:pathLst>
              <a:path w="3573780" h="2418080" extrusionOk="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176" name="Google Shape;176;p33"/>
          <p:cNvSpPr txBox="1">
            <a:spLocks noGrp="1"/>
          </p:cNvSpPr>
          <p:nvPr>
            <p:ph type="title"/>
          </p:nvPr>
        </p:nvSpPr>
        <p:spPr>
          <a:xfrm>
            <a:off x="336003" y="1592921"/>
            <a:ext cx="6818927" cy="1648341"/>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4000"/>
              <a:buFont typeface="Playfair Display"/>
              <a:buNone/>
              <a:defRPr sz="4000"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77" name="Google Shape;177;p33"/>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lt1"/>
                </a:solidFill>
                <a:latin typeface="Arial"/>
                <a:ea typeface="Arial"/>
                <a:cs typeface="Arial"/>
                <a:sym typeface="Arial"/>
              </a:rPr>
              <a:t>‹Nº›</a:t>
            </a:fld>
            <a:endParaRPr sz="1066" b="0" i="0" u="none" strike="noStrike" cap="none">
              <a:solidFill>
                <a:schemeClr val="lt1"/>
              </a:solidFill>
              <a:latin typeface="Arial"/>
              <a:ea typeface="Arial"/>
              <a:cs typeface="Arial"/>
              <a:sym typeface="Arial"/>
            </a:endParaRPr>
          </a:p>
        </p:txBody>
      </p:sp>
      <p:sp>
        <p:nvSpPr>
          <p:cNvPr id="178" name="Google Shape;178;p33"/>
          <p:cNvSpPr/>
          <p:nvPr/>
        </p:nvSpPr>
        <p:spPr>
          <a:xfrm>
            <a:off x="336000" y="6506083"/>
            <a:ext cx="858184" cy="171408"/>
          </a:xfrm>
          <a:custGeom>
            <a:avLst/>
            <a:gdLst/>
            <a:ahLst/>
            <a:cxnLst/>
            <a:rect l="l" t="t" r="r" b="b"/>
            <a:pathLst>
              <a:path w="1701" h="337" extrusionOk="0">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spcFirstLastPara="1" wrap="square" lIns="121850" tIns="60925" rIns="121850" bIns="60925" anchor="t" anchorCtr="0">
            <a:noAutofit/>
          </a:bodyPr>
          <a:lstStyle/>
          <a:p>
            <a:pPr marL="0" marR="0" lvl="0" indent="0" algn="l" rtl="0">
              <a:lnSpc>
                <a:spcPct val="100000"/>
              </a:lnSpc>
              <a:spcBef>
                <a:spcPts val="0"/>
              </a:spcBef>
              <a:spcAft>
                <a:spcPts val="0"/>
              </a:spcAft>
              <a:buClr>
                <a:srgbClr val="000000"/>
              </a:buClr>
              <a:buSzPts val="2397"/>
              <a:buFont typeface="Arial"/>
              <a:buNone/>
            </a:pPr>
            <a:endParaRPr sz="2397" b="0" i="0" u="none" strike="noStrike" cap="none">
              <a:solidFill>
                <a:schemeClr val="dk1"/>
              </a:solidFill>
              <a:latin typeface="Arial"/>
              <a:ea typeface="Arial"/>
              <a:cs typeface="Arial"/>
              <a:sym typeface="Arial"/>
            </a:endParaRPr>
          </a:p>
        </p:txBody>
      </p:sp>
      <p:sp>
        <p:nvSpPr>
          <p:cNvPr id="179" name="Google Shape;179;p33"/>
          <p:cNvSpPr txBox="1">
            <a:spLocks noGrp="1"/>
          </p:cNvSpPr>
          <p:nvPr>
            <p:ph type="body" idx="1"/>
          </p:nvPr>
        </p:nvSpPr>
        <p:spPr>
          <a:xfrm>
            <a:off x="336000" y="3770676"/>
            <a:ext cx="5760000" cy="2634888"/>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8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399"/>
              <a:buFont typeface="Arial"/>
              <a:buNone/>
              <a:defRPr sz="2399"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Separa n2_rojo">
  <p:cSld name="Separa n2_rojo">
    <p:spTree>
      <p:nvGrpSpPr>
        <p:cNvPr id="1" name="Shape 180"/>
        <p:cNvGrpSpPr/>
        <p:nvPr/>
      </p:nvGrpSpPr>
      <p:grpSpPr>
        <a:xfrm>
          <a:off x="0" y="0"/>
          <a:ext cx="0" cy="0"/>
          <a:chOff x="0" y="0"/>
          <a:chExt cx="0" cy="0"/>
        </a:xfrm>
      </p:grpSpPr>
      <p:sp>
        <p:nvSpPr>
          <p:cNvPr id="181" name="Google Shape;181;p34"/>
          <p:cNvSpPr/>
          <p:nvPr/>
        </p:nvSpPr>
        <p:spPr>
          <a:xfrm>
            <a:off x="8633460" y="3190461"/>
            <a:ext cx="3839167" cy="3980157"/>
          </a:xfrm>
          <a:custGeom>
            <a:avLst/>
            <a:gdLst/>
            <a:ahLst/>
            <a:cxnLst/>
            <a:rect l="l" t="t" r="r" b="b"/>
            <a:pathLst>
              <a:path w="2879375" h="2985118" extrusionOk="0">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182" name="Google Shape;182;p34"/>
          <p:cNvSpPr/>
          <p:nvPr/>
        </p:nvSpPr>
        <p:spPr>
          <a:xfrm>
            <a:off x="6154656" y="3533835"/>
            <a:ext cx="6451367" cy="3440631"/>
          </a:xfrm>
          <a:custGeom>
            <a:avLst/>
            <a:gdLst/>
            <a:ahLst/>
            <a:cxnLst/>
            <a:rect l="l" t="t" r="r" b="b"/>
            <a:pathLst>
              <a:path w="3581301" h="1909972" extrusionOk="0">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183" name="Google Shape;183;p34"/>
          <p:cNvSpPr/>
          <p:nvPr/>
        </p:nvSpPr>
        <p:spPr>
          <a:xfrm>
            <a:off x="7647938" y="3750358"/>
            <a:ext cx="4765040" cy="3224107"/>
          </a:xfrm>
          <a:custGeom>
            <a:avLst/>
            <a:gdLst/>
            <a:ahLst/>
            <a:cxnLst/>
            <a:rect l="l" t="t" r="r" b="b"/>
            <a:pathLst>
              <a:path w="3573780" h="2418080" extrusionOk="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184" name="Google Shape;184;p34"/>
          <p:cNvSpPr txBox="1">
            <a:spLocks noGrp="1"/>
          </p:cNvSpPr>
          <p:nvPr>
            <p:ph type="title"/>
          </p:nvPr>
        </p:nvSpPr>
        <p:spPr>
          <a:xfrm>
            <a:off x="336004" y="1592921"/>
            <a:ext cx="7553833" cy="1648341"/>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4000"/>
              <a:buFont typeface="Playfair Display"/>
              <a:buNone/>
              <a:defRPr sz="4000"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85" name="Google Shape;185;p34"/>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lt1"/>
                </a:solidFill>
                <a:latin typeface="Arial"/>
                <a:ea typeface="Arial"/>
                <a:cs typeface="Arial"/>
                <a:sym typeface="Arial"/>
              </a:rPr>
              <a:t>‹Nº›</a:t>
            </a:fld>
            <a:endParaRPr sz="1066" b="0" i="0" u="none" strike="noStrike" cap="none">
              <a:solidFill>
                <a:schemeClr val="lt1"/>
              </a:solidFill>
              <a:latin typeface="Arial"/>
              <a:ea typeface="Arial"/>
              <a:cs typeface="Arial"/>
              <a:sym typeface="Arial"/>
            </a:endParaRPr>
          </a:p>
        </p:txBody>
      </p:sp>
      <p:sp>
        <p:nvSpPr>
          <p:cNvPr id="186" name="Google Shape;186;p34"/>
          <p:cNvSpPr/>
          <p:nvPr/>
        </p:nvSpPr>
        <p:spPr>
          <a:xfrm>
            <a:off x="336000" y="6506083"/>
            <a:ext cx="858184" cy="171408"/>
          </a:xfrm>
          <a:custGeom>
            <a:avLst/>
            <a:gdLst/>
            <a:ahLst/>
            <a:cxnLst/>
            <a:rect l="l" t="t" r="r" b="b"/>
            <a:pathLst>
              <a:path w="1701" h="337" extrusionOk="0">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spcFirstLastPara="1" wrap="square" lIns="121850" tIns="60925" rIns="121850" bIns="60925" anchor="t" anchorCtr="0">
            <a:noAutofit/>
          </a:bodyPr>
          <a:lstStyle/>
          <a:p>
            <a:pPr marL="0" marR="0" lvl="0" indent="0" algn="l" rtl="0">
              <a:lnSpc>
                <a:spcPct val="100000"/>
              </a:lnSpc>
              <a:spcBef>
                <a:spcPts val="0"/>
              </a:spcBef>
              <a:spcAft>
                <a:spcPts val="0"/>
              </a:spcAft>
              <a:buClr>
                <a:srgbClr val="000000"/>
              </a:buClr>
              <a:buSzPts val="2397"/>
              <a:buFont typeface="Arial"/>
              <a:buNone/>
            </a:pPr>
            <a:endParaRPr sz="2397" b="0" i="0" u="none" strike="noStrike" cap="none">
              <a:solidFill>
                <a:schemeClr val="dk1"/>
              </a:solidFill>
              <a:latin typeface="Arial"/>
              <a:ea typeface="Arial"/>
              <a:cs typeface="Arial"/>
              <a:sym typeface="Arial"/>
            </a:endParaRPr>
          </a:p>
        </p:txBody>
      </p:sp>
      <p:sp>
        <p:nvSpPr>
          <p:cNvPr id="187" name="Google Shape;187;p34"/>
          <p:cNvSpPr txBox="1">
            <a:spLocks noGrp="1"/>
          </p:cNvSpPr>
          <p:nvPr>
            <p:ph type="body" idx="1"/>
          </p:nvPr>
        </p:nvSpPr>
        <p:spPr>
          <a:xfrm>
            <a:off x="336000" y="3770676"/>
            <a:ext cx="5760000" cy="2634888"/>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8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399"/>
              <a:buFont typeface="Arial"/>
              <a:buNone/>
              <a:defRPr sz="2399"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Separa n2_Verde">
  <p:cSld name="Separa n2_Verde">
    <p:spTree>
      <p:nvGrpSpPr>
        <p:cNvPr id="1" name="Shape 188"/>
        <p:cNvGrpSpPr/>
        <p:nvPr/>
      </p:nvGrpSpPr>
      <p:grpSpPr>
        <a:xfrm>
          <a:off x="0" y="0"/>
          <a:ext cx="0" cy="0"/>
          <a:chOff x="0" y="0"/>
          <a:chExt cx="0" cy="0"/>
        </a:xfrm>
      </p:grpSpPr>
      <p:sp>
        <p:nvSpPr>
          <p:cNvPr id="189" name="Google Shape;189;p35"/>
          <p:cNvSpPr/>
          <p:nvPr/>
        </p:nvSpPr>
        <p:spPr>
          <a:xfrm>
            <a:off x="8633460" y="3190461"/>
            <a:ext cx="3839167" cy="3980157"/>
          </a:xfrm>
          <a:custGeom>
            <a:avLst/>
            <a:gdLst/>
            <a:ahLst/>
            <a:cxnLst/>
            <a:rect l="l" t="t" r="r" b="b"/>
            <a:pathLst>
              <a:path w="2879375" h="2985118" extrusionOk="0">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190" name="Google Shape;190;p35"/>
          <p:cNvSpPr/>
          <p:nvPr/>
        </p:nvSpPr>
        <p:spPr>
          <a:xfrm>
            <a:off x="6154656" y="3533835"/>
            <a:ext cx="6451367" cy="3440631"/>
          </a:xfrm>
          <a:custGeom>
            <a:avLst/>
            <a:gdLst/>
            <a:ahLst/>
            <a:cxnLst/>
            <a:rect l="l" t="t" r="r" b="b"/>
            <a:pathLst>
              <a:path w="3581301" h="1909972" extrusionOk="0">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191" name="Google Shape;191;p35"/>
          <p:cNvSpPr/>
          <p:nvPr/>
        </p:nvSpPr>
        <p:spPr>
          <a:xfrm>
            <a:off x="7647938" y="3750358"/>
            <a:ext cx="4765040" cy="3224107"/>
          </a:xfrm>
          <a:custGeom>
            <a:avLst/>
            <a:gdLst/>
            <a:ahLst/>
            <a:cxnLst/>
            <a:rect l="l" t="t" r="r" b="b"/>
            <a:pathLst>
              <a:path w="3573780" h="2418080" extrusionOk="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192" name="Google Shape;192;p35"/>
          <p:cNvSpPr txBox="1">
            <a:spLocks noGrp="1"/>
          </p:cNvSpPr>
          <p:nvPr>
            <p:ph type="title"/>
          </p:nvPr>
        </p:nvSpPr>
        <p:spPr>
          <a:xfrm>
            <a:off x="336004" y="1592921"/>
            <a:ext cx="7553833" cy="1648341"/>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4000"/>
              <a:buFont typeface="Playfair Display"/>
              <a:buNone/>
              <a:defRPr sz="4000"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93" name="Google Shape;193;p35"/>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lt1"/>
                </a:solidFill>
                <a:latin typeface="Arial"/>
                <a:ea typeface="Arial"/>
                <a:cs typeface="Arial"/>
                <a:sym typeface="Arial"/>
              </a:rPr>
              <a:t>‹Nº›</a:t>
            </a:fld>
            <a:endParaRPr sz="1066" b="0" i="0" u="none" strike="noStrike" cap="none">
              <a:solidFill>
                <a:schemeClr val="lt1"/>
              </a:solidFill>
              <a:latin typeface="Arial"/>
              <a:ea typeface="Arial"/>
              <a:cs typeface="Arial"/>
              <a:sym typeface="Arial"/>
            </a:endParaRPr>
          </a:p>
        </p:txBody>
      </p:sp>
      <p:sp>
        <p:nvSpPr>
          <p:cNvPr id="194" name="Google Shape;194;p35"/>
          <p:cNvSpPr/>
          <p:nvPr/>
        </p:nvSpPr>
        <p:spPr>
          <a:xfrm>
            <a:off x="336000" y="6506083"/>
            <a:ext cx="858184" cy="171408"/>
          </a:xfrm>
          <a:custGeom>
            <a:avLst/>
            <a:gdLst/>
            <a:ahLst/>
            <a:cxnLst/>
            <a:rect l="l" t="t" r="r" b="b"/>
            <a:pathLst>
              <a:path w="1701" h="337" extrusionOk="0">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spcFirstLastPara="1" wrap="square" lIns="121850" tIns="60925" rIns="121850" bIns="60925" anchor="t" anchorCtr="0">
            <a:noAutofit/>
          </a:bodyPr>
          <a:lstStyle/>
          <a:p>
            <a:pPr marL="0" marR="0" lvl="0" indent="0" algn="l" rtl="0">
              <a:lnSpc>
                <a:spcPct val="100000"/>
              </a:lnSpc>
              <a:spcBef>
                <a:spcPts val="0"/>
              </a:spcBef>
              <a:spcAft>
                <a:spcPts val="0"/>
              </a:spcAft>
              <a:buClr>
                <a:srgbClr val="000000"/>
              </a:buClr>
              <a:buSzPts val="2397"/>
              <a:buFont typeface="Arial"/>
              <a:buNone/>
            </a:pPr>
            <a:endParaRPr sz="2397" b="0" i="0" u="none" strike="noStrike" cap="none">
              <a:solidFill>
                <a:schemeClr val="dk1"/>
              </a:solidFill>
              <a:latin typeface="Arial"/>
              <a:ea typeface="Arial"/>
              <a:cs typeface="Arial"/>
              <a:sym typeface="Arial"/>
            </a:endParaRPr>
          </a:p>
        </p:txBody>
      </p:sp>
      <p:sp>
        <p:nvSpPr>
          <p:cNvPr id="195" name="Google Shape;195;p35"/>
          <p:cNvSpPr txBox="1">
            <a:spLocks noGrp="1"/>
          </p:cNvSpPr>
          <p:nvPr>
            <p:ph type="body" idx="1"/>
          </p:nvPr>
        </p:nvSpPr>
        <p:spPr>
          <a:xfrm>
            <a:off x="336000" y="3770676"/>
            <a:ext cx="5760000" cy="2634888"/>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8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399"/>
              <a:buFont typeface="Arial"/>
              <a:buNone/>
              <a:defRPr sz="2399"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Separa n2_Azul">
  <p:cSld name="Separa n2_Azul">
    <p:spTree>
      <p:nvGrpSpPr>
        <p:cNvPr id="1" name="Shape 196"/>
        <p:cNvGrpSpPr/>
        <p:nvPr/>
      </p:nvGrpSpPr>
      <p:grpSpPr>
        <a:xfrm>
          <a:off x="0" y="0"/>
          <a:ext cx="0" cy="0"/>
          <a:chOff x="0" y="0"/>
          <a:chExt cx="0" cy="0"/>
        </a:xfrm>
      </p:grpSpPr>
      <p:sp>
        <p:nvSpPr>
          <p:cNvPr id="197" name="Google Shape;197;p36"/>
          <p:cNvSpPr/>
          <p:nvPr/>
        </p:nvSpPr>
        <p:spPr>
          <a:xfrm>
            <a:off x="8633460" y="3190461"/>
            <a:ext cx="3839167" cy="3980157"/>
          </a:xfrm>
          <a:custGeom>
            <a:avLst/>
            <a:gdLst/>
            <a:ahLst/>
            <a:cxnLst/>
            <a:rect l="l" t="t" r="r" b="b"/>
            <a:pathLst>
              <a:path w="2879375" h="2985118" extrusionOk="0">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198" name="Google Shape;198;p36"/>
          <p:cNvSpPr/>
          <p:nvPr/>
        </p:nvSpPr>
        <p:spPr>
          <a:xfrm>
            <a:off x="6154656" y="3533835"/>
            <a:ext cx="6451367" cy="3440631"/>
          </a:xfrm>
          <a:custGeom>
            <a:avLst/>
            <a:gdLst/>
            <a:ahLst/>
            <a:cxnLst/>
            <a:rect l="l" t="t" r="r" b="b"/>
            <a:pathLst>
              <a:path w="3581301" h="1909972" extrusionOk="0">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199" name="Google Shape;199;p36"/>
          <p:cNvSpPr/>
          <p:nvPr/>
        </p:nvSpPr>
        <p:spPr>
          <a:xfrm>
            <a:off x="7647938" y="3750358"/>
            <a:ext cx="4765040" cy="3224107"/>
          </a:xfrm>
          <a:custGeom>
            <a:avLst/>
            <a:gdLst/>
            <a:ahLst/>
            <a:cxnLst/>
            <a:rect l="l" t="t" r="r" b="b"/>
            <a:pathLst>
              <a:path w="3573780" h="2418080" extrusionOk="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200" name="Google Shape;200;p36"/>
          <p:cNvSpPr txBox="1">
            <a:spLocks noGrp="1"/>
          </p:cNvSpPr>
          <p:nvPr>
            <p:ph type="title"/>
          </p:nvPr>
        </p:nvSpPr>
        <p:spPr>
          <a:xfrm>
            <a:off x="336004" y="1592921"/>
            <a:ext cx="7553833" cy="1648341"/>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4000"/>
              <a:buFont typeface="Playfair Display"/>
              <a:buNone/>
              <a:defRPr sz="4000"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01" name="Google Shape;201;p36"/>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lt1"/>
                </a:solidFill>
                <a:latin typeface="Arial"/>
                <a:ea typeface="Arial"/>
                <a:cs typeface="Arial"/>
                <a:sym typeface="Arial"/>
              </a:rPr>
              <a:t>‹Nº›</a:t>
            </a:fld>
            <a:endParaRPr sz="1066" b="0" i="0" u="none" strike="noStrike" cap="none">
              <a:solidFill>
                <a:schemeClr val="lt1"/>
              </a:solidFill>
              <a:latin typeface="Arial"/>
              <a:ea typeface="Arial"/>
              <a:cs typeface="Arial"/>
              <a:sym typeface="Arial"/>
            </a:endParaRPr>
          </a:p>
        </p:txBody>
      </p:sp>
      <p:sp>
        <p:nvSpPr>
          <p:cNvPr id="202" name="Google Shape;202;p36"/>
          <p:cNvSpPr/>
          <p:nvPr/>
        </p:nvSpPr>
        <p:spPr>
          <a:xfrm>
            <a:off x="336000" y="6506083"/>
            <a:ext cx="858184" cy="171408"/>
          </a:xfrm>
          <a:custGeom>
            <a:avLst/>
            <a:gdLst/>
            <a:ahLst/>
            <a:cxnLst/>
            <a:rect l="l" t="t" r="r" b="b"/>
            <a:pathLst>
              <a:path w="1701" h="337" extrusionOk="0">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spcFirstLastPara="1" wrap="square" lIns="121850" tIns="60925" rIns="121850" bIns="60925" anchor="t" anchorCtr="0">
            <a:noAutofit/>
          </a:bodyPr>
          <a:lstStyle/>
          <a:p>
            <a:pPr marL="0" marR="0" lvl="0" indent="0" algn="l" rtl="0">
              <a:lnSpc>
                <a:spcPct val="100000"/>
              </a:lnSpc>
              <a:spcBef>
                <a:spcPts val="0"/>
              </a:spcBef>
              <a:spcAft>
                <a:spcPts val="0"/>
              </a:spcAft>
              <a:buClr>
                <a:srgbClr val="000000"/>
              </a:buClr>
              <a:buSzPts val="2397"/>
              <a:buFont typeface="Arial"/>
              <a:buNone/>
            </a:pPr>
            <a:endParaRPr sz="2397" b="0" i="0" u="none" strike="noStrike" cap="none">
              <a:solidFill>
                <a:schemeClr val="dk1"/>
              </a:solidFill>
              <a:latin typeface="Arial"/>
              <a:ea typeface="Arial"/>
              <a:cs typeface="Arial"/>
              <a:sym typeface="Arial"/>
            </a:endParaRPr>
          </a:p>
        </p:txBody>
      </p:sp>
      <p:sp>
        <p:nvSpPr>
          <p:cNvPr id="203" name="Google Shape;203;p36"/>
          <p:cNvSpPr txBox="1">
            <a:spLocks noGrp="1"/>
          </p:cNvSpPr>
          <p:nvPr>
            <p:ph type="body" idx="1"/>
          </p:nvPr>
        </p:nvSpPr>
        <p:spPr>
          <a:xfrm>
            <a:off x="336000" y="3770676"/>
            <a:ext cx="5760000" cy="2634888"/>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8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399"/>
              <a:buFont typeface="Arial"/>
              <a:buNone/>
              <a:defRPr sz="2399"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Separa n2_Morado">
  <p:cSld name="Separa n2_Morado">
    <p:spTree>
      <p:nvGrpSpPr>
        <p:cNvPr id="1" name="Shape 204"/>
        <p:cNvGrpSpPr/>
        <p:nvPr/>
      </p:nvGrpSpPr>
      <p:grpSpPr>
        <a:xfrm>
          <a:off x="0" y="0"/>
          <a:ext cx="0" cy="0"/>
          <a:chOff x="0" y="0"/>
          <a:chExt cx="0" cy="0"/>
        </a:xfrm>
      </p:grpSpPr>
      <p:sp>
        <p:nvSpPr>
          <p:cNvPr id="205" name="Google Shape;205;p37"/>
          <p:cNvSpPr/>
          <p:nvPr/>
        </p:nvSpPr>
        <p:spPr>
          <a:xfrm>
            <a:off x="8633460" y="3190461"/>
            <a:ext cx="3839167" cy="3980157"/>
          </a:xfrm>
          <a:custGeom>
            <a:avLst/>
            <a:gdLst/>
            <a:ahLst/>
            <a:cxnLst/>
            <a:rect l="l" t="t" r="r" b="b"/>
            <a:pathLst>
              <a:path w="2879375" h="2985118" extrusionOk="0">
                <a:moveTo>
                  <a:pt x="0" y="2169160"/>
                </a:moveTo>
                <a:lnTo>
                  <a:pt x="0" y="817880"/>
                </a:lnTo>
                <a:lnTo>
                  <a:pt x="2877820" y="0"/>
                </a:lnTo>
                <a:cubicBezTo>
                  <a:pt x="2876127" y="797560"/>
                  <a:pt x="2880685" y="2161535"/>
                  <a:pt x="2878992" y="2959095"/>
                </a:cubicBezTo>
                <a:lnTo>
                  <a:pt x="8239" y="2985118"/>
                </a:lnTo>
                <a:cubicBezTo>
                  <a:pt x="5493" y="2713132"/>
                  <a:pt x="2746" y="2441146"/>
                  <a:pt x="0" y="2169160"/>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206" name="Google Shape;206;p37"/>
          <p:cNvSpPr/>
          <p:nvPr/>
        </p:nvSpPr>
        <p:spPr>
          <a:xfrm>
            <a:off x="6154656" y="3533835"/>
            <a:ext cx="6451367" cy="3440631"/>
          </a:xfrm>
          <a:custGeom>
            <a:avLst/>
            <a:gdLst/>
            <a:ahLst/>
            <a:cxnLst/>
            <a:rect l="l" t="t" r="r" b="b"/>
            <a:pathLst>
              <a:path w="3581301" h="1909972" extrusionOk="0">
                <a:moveTo>
                  <a:pt x="3760" y="1860293"/>
                </a:moveTo>
                <a:cubicBezTo>
                  <a:pt x="2507" y="1580555"/>
                  <a:pt x="1253" y="1300818"/>
                  <a:pt x="0" y="1021080"/>
                </a:cubicBezTo>
                <a:lnTo>
                  <a:pt x="3573780" y="0"/>
                </a:lnTo>
                <a:lnTo>
                  <a:pt x="3581301" y="1906212"/>
                </a:lnTo>
                <a:lnTo>
                  <a:pt x="11080" y="1909972"/>
                </a:lnTo>
                <a:lnTo>
                  <a:pt x="3760" y="1860293"/>
                </a:lnTo>
                <a:close/>
              </a:path>
            </a:pathLst>
          </a:cu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207" name="Google Shape;207;p37"/>
          <p:cNvSpPr/>
          <p:nvPr/>
        </p:nvSpPr>
        <p:spPr>
          <a:xfrm>
            <a:off x="7647938" y="3750358"/>
            <a:ext cx="4765040" cy="3224107"/>
          </a:xfrm>
          <a:custGeom>
            <a:avLst/>
            <a:gdLst/>
            <a:ahLst/>
            <a:cxnLst/>
            <a:rect l="l" t="t" r="r" b="b"/>
            <a:pathLst>
              <a:path w="3573780" h="2418080" extrusionOk="0">
                <a:moveTo>
                  <a:pt x="0" y="2372360"/>
                </a:moveTo>
                <a:lnTo>
                  <a:pt x="0" y="1021080"/>
                </a:lnTo>
                <a:lnTo>
                  <a:pt x="3573780" y="0"/>
                </a:lnTo>
                <a:cubicBezTo>
                  <a:pt x="3572087" y="797560"/>
                  <a:pt x="3570393" y="1595120"/>
                  <a:pt x="3568700" y="2392680"/>
                </a:cubicBezTo>
                <a:lnTo>
                  <a:pt x="0" y="2418080"/>
                </a:lnTo>
                <a:lnTo>
                  <a:pt x="0" y="2372360"/>
                </a:lnTo>
                <a:close/>
              </a:path>
            </a:pathLst>
          </a:cu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208" name="Google Shape;208;p37"/>
          <p:cNvSpPr txBox="1">
            <a:spLocks noGrp="1"/>
          </p:cNvSpPr>
          <p:nvPr>
            <p:ph type="title"/>
          </p:nvPr>
        </p:nvSpPr>
        <p:spPr>
          <a:xfrm>
            <a:off x="336004" y="1592921"/>
            <a:ext cx="7553833" cy="1648341"/>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4000"/>
              <a:buFont typeface="Playfair Display"/>
              <a:buNone/>
              <a:defRPr sz="4000"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09" name="Google Shape;209;p37"/>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lt1"/>
                </a:solidFill>
                <a:latin typeface="Arial"/>
                <a:ea typeface="Arial"/>
                <a:cs typeface="Arial"/>
                <a:sym typeface="Arial"/>
              </a:rPr>
              <a:t>‹Nº›</a:t>
            </a:fld>
            <a:endParaRPr sz="1066" b="0" i="0" u="none" strike="noStrike" cap="none">
              <a:solidFill>
                <a:schemeClr val="lt1"/>
              </a:solidFill>
              <a:latin typeface="Arial"/>
              <a:ea typeface="Arial"/>
              <a:cs typeface="Arial"/>
              <a:sym typeface="Arial"/>
            </a:endParaRPr>
          </a:p>
        </p:txBody>
      </p:sp>
      <p:sp>
        <p:nvSpPr>
          <p:cNvPr id="210" name="Google Shape;210;p37"/>
          <p:cNvSpPr/>
          <p:nvPr/>
        </p:nvSpPr>
        <p:spPr>
          <a:xfrm>
            <a:off x="336000" y="6506083"/>
            <a:ext cx="858184" cy="171408"/>
          </a:xfrm>
          <a:custGeom>
            <a:avLst/>
            <a:gdLst/>
            <a:ahLst/>
            <a:cxnLst/>
            <a:rect l="l" t="t" r="r" b="b"/>
            <a:pathLst>
              <a:path w="1701" h="337" extrusionOk="0">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spcFirstLastPara="1" wrap="square" lIns="121850" tIns="60925" rIns="121850" bIns="60925" anchor="t" anchorCtr="0">
            <a:noAutofit/>
          </a:bodyPr>
          <a:lstStyle/>
          <a:p>
            <a:pPr marL="0" marR="0" lvl="0" indent="0" algn="l" rtl="0">
              <a:lnSpc>
                <a:spcPct val="100000"/>
              </a:lnSpc>
              <a:spcBef>
                <a:spcPts val="0"/>
              </a:spcBef>
              <a:spcAft>
                <a:spcPts val="0"/>
              </a:spcAft>
              <a:buClr>
                <a:srgbClr val="000000"/>
              </a:buClr>
              <a:buSzPts val="2397"/>
              <a:buFont typeface="Arial"/>
              <a:buNone/>
            </a:pPr>
            <a:endParaRPr sz="2397" b="0" i="0" u="none" strike="noStrike" cap="none">
              <a:solidFill>
                <a:schemeClr val="dk1"/>
              </a:solidFill>
              <a:latin typeface="Arial"/>
              <a:ea typeface="Arial"/>
              <a:cs typeface="Arial"/>
              <a:sym typeface="Arial"/>
            </a:endParaRPr>
          </a:p>
        </p:txBody>
      </p:sp>
      <p:sp>
        <p:nvSpPr>
          <p:cNvPr id="211" name="Google Shape;211;p37"/>
          <p:cNvSpPr txBox="1">
            <a:spLocks noGrp="1"/>
          </p:cNvSpPr>
          <p:nvPr>
            <p:ph type="body" idx="1"/>
          </p:nvPr>
        </p:nvSpPr>
        <p:spPr>
          <a:xfrm>
            <a:off x="336000" y="3770676"/>
            <a:ext cx="5760000" cy="2634888"/>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8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399"/>
              <a:buFont typeface="Arial"/>
              <a:buNone/>
              <a:defRPr sz="2399"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Idea principal. Piel">
  <p:cSld name="Idea principal. Piel">
    <p:bg>
      <p:bgPr>
        <a:solidFill>
          <a:schemeClr val="dk2"/>
        </a:solidFill>
        <a:effectLst/>
      </p:bgPr>
    </p:bg>
    <p:spTree>
      <p:nvGrpSpPr>
        <p:cNvPr id="1" name="Shape 212"/>
        <p:cNvGrpSpPr/>
        <p:nvPr/>
      </p:nvGrpSpPr>
      <p:grpSpPr>
        <a:xfrm>
          <a:off x="0" y="0"/>
          <a:ext cx="0" cy="0"/>
          <a:chOff x="0" y="0"/>
          <a:chExt cx="0" cy="0"/>
        </a:xfrm>
      </p:grpSpPr>
      <p:sp>
        <p:nvSpPr>
          <p:cNvPr id="213" name="Google Shape;213;p39"/>
          <p:cNvSpPr txBox="1">
            <a:spLocks noGrp="1"/>
          </p:cNvSpPr>
          <p:nvPr>
            <p:ph type="title"/>
          </p:nvPr>
        </p:nvSpPr>
        <p:spPr>
          <a:xfrm>
            <a:off x="383670" y="725394"/>
            <a:ext cx="9475766" cy="5269827"/>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3198"/>
              <a:buFont typeface="Playfair Display"/>
              <a:buNone/>
              <a:defRPr sz="3198"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14" name="Google Shape;214;p39"/>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1A3B47"/>
              </a:buClr>
              <a:buSzPts val="1066"/>
              <a:buFont typeface="Arial"/>
              <a:buNone/>
            </a:pPr>
            <a:fld id="{00000000-1234-1234-1234-123412341234}" type="slidenum">
              <a:rPr lang="es-ES" sz="1066" b="0" i="0" u="none" strike="noStrike" cap="none">
                <a:solidFill>
                  <a:srgbClr val="1A3B47"/>
                </a:solidFill>
                <a:latin typeface="Arial"/>
                <a:ea typeface="Arial"/>
                <a:cs typeface="Arial"/>
                <a:sym typeface="Arial"/>
              </a:rPr>
              <a:t>‹Nº›</a:t>
            </a:fld>
            <a:endParaRPr sz="1066" b="0" i="0" u="none" strike="noStrike" cap="none">
              <a:solidFill>
                <a:srgbClr val="1A3B47"/>
              </a:solidFill>
              <a:latin typeface="Arial"/>
              <a:ea typeface="Arial"/>
              <a:cs typeface="Arial"/>
              <a:sym typeface="Arial"/>
            </a:endParaRPr>
          </a:p>
        </p:txBody>
      </p:sp>
      <p:sp>
        <p:nvSpPr>
          <p:cNvPr id="215" name="Google Shape;215;p39"/>
          <p:cNvSpPr/>
          <p:nvPr/>
        </p:nvSpPr>
        <p:spPr>
          <a:xfrm>
            <a:off x="336000" y="6506083"/>
            <a:ext cx="858184" cy="171408"/>
          </a:xfrm>
          <a:custGeom>
            <a:avLst/>
            <a:gdLst/>
            <a:ahLst/>
            <a:cxnLst/>
            <a:rect l="l" t="t" r="r" b="b"/>
            <a:pathLst>
              <a:path w="1701" h="337" extrusionOk="0">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spcFirstLastPara="1" wrap="square" lIns="121850" tIns="60925" rIns="121850" bIns="60925" anchor="t" anchorCtr="0">
            <a:noAutofit/>
          </a:bodyPr>
          <a:lstStyle/>
          <a:p>
            <a:pPr marL="0" marR="0" lvl="0" indent="0" algn="l"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Idea principal. Grafito">
  <p:cSld name="Idea principal. Grafito">
    <p:bg>
      <p:bgPr>
        <a:solidFill>
          <a:schemeClr val="dk1"/>
        </a:solidFill>
        <a:effectLst/>
      </p:bgPr>
    </p:bg>
    <p:spTree>
      <p:nvGrpSpPr>
        <p:cNvPr id="1" name="Shape 216"/>
        <p:cNvGrpSpPr/>
        <p:nvPr/>
      </p:nvGrpSpPr>
      <p:grpSpPr>
        <a:xfrm>
          <a:off x="0" y="0"/>
          <a:ext cx="0" cy="0"/>
          <a:chOff x="0" y="0"/>
          <a:chExt cx="0" cy="0"/>
        </a:xfrm>
      </p:grpSpPr>
      <p:sp>
        <p:nvSpPr>
          <p:cNvPr id="217" name="Google Shape;217;p40"/>
          <p:cNvSpPr txBox="1">
            <a:spLocks noGrp="1"/>
          </p:cNvSpPr>
          <p:nvPr>
            <p:ph type="title"/>
          </p:nvPr>
        </p:nvSpPr>
        <p:spPr>
          <a:xfrm>
            <a:off x="383670" y="725394"/>
            <a:ext cx="9475766" cy="5269827"/>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lt1"/>
              </a:buClr>
              <a:buSzPts val="3198"/>
              <a:buFont typeface="Playfair Display"/>
              <a:buNone/>
              <a:defRPr sz="3198" b="0" i="0" u="none" strike="noStrike" cap="none">
                <a:solidFill>
                  <a:schemeClr val="lt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18" name="Google Shape;218;p40"/>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lt1"/>
                </a:solidFill>
                <a:latin typeface="Arial"/>
                <a:ea typeface="Arial"/>
                <a:cs typeface="Arial"/>
                <a:sym typeface="Arial"/>
              </a:rPr>
              <a:t>‹Nº›</a:t>
            </a:fld>
            <a:endParaRPr sz="1066" b="0" i="0" u="none" strike="noStrike" cap="none">
              <a:solidFill>
                <a:schemeClr val="lt1"/>
              </a:solidFill>
              <a:latin typeface="Arial"/>
              <a:ea typeface="Arial"/>
              <a:cs typeface="Arial"/>
              <a:sym typeface="Arial"/>
            </a:endParaRPr>
          </a:p>
        </p:txBody>
      </p:sp>
      <p:pic>
        <p:nvPicPr>
          <p:cNvPr id="219" name="Google Shape;219;p40"/>
          <p:cNvPicPr preferRelativeResize="0"/>
          <p:nvPr/>
        </p:nvPicPr>
        <p:blipFill rotWithShape="1">
          <a:blip r:embed="rId2">
            <a:alphaModFix/>
          </a:blip>
          <a:srcRect/>
          <a:stretch/>
        </p:blipFill>
        <p:spPr>
          <a:xfrm>
            <a:off x="336001" y="6505495"/>
            <a:ext cx="859201" cy="170476"/>
          </a:xfrm>
          <a:prstGeom prst="rect">
            <a:avLst/>
          </a:prstGeom>
          <a:noFill/>
          <a:ln>
            <a:noFill/>
          </a:ln>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Idea Prinicpal_Gris">
  <p:cSld name="Idea Prinicpal_Gris">
    <p:bg>
      <p:bgPr>
        <a:solidFill>
          <a:schemeClr val="lt2"/>
        </a:solidFill>
        <a:effectLst/>
      </p:bgPr>
    </p:bg>
    <p:spTree>
      <p:nvGrpSpPr>
        <p:cNvPr id="1" name="Shape 40"/>
        <p:cNvGrpSpPr/>
        <p:nvPr/>
      </p:nvGrpSpPr>
      <p:grpSpPr>
        <a:xfrm>
          <a:off x="0" y="0"/>
          <a:ext cx="0" cy="0"/>
          <a:chOff x="0" y="0"/>
          <a:chExt cx="0" cy="0"/>
        </a:xfrm>
      </p:grpSpPr>
      <p:sp>
        <p:nvSpPr>
          <p:cNvPr id="41" name="Google Shape;41;p38"/>
          <p:cNvSpPr txBox="1">
            <a:spLocks noGrp="1"/>
          </p:cNvSpPr>
          <p:nvPr>
            <p:ph type="title"/>
          </p:nvPr>
        </p:nvSpPr>
        <p:spPr>
          <a:xfrm>
            <a:off x="383670" y="725394"/>
            <a:ext cx="9475766" cy="5269827"/>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3198"/>
              <a:buFont typeface="Playfair Display"/>
              <a:buNone/>
              <a:defRPr sz="3198"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42" name="Google Shape;42;p38"/>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dk1"/>
                </a:solidFill>
                <a:latin typeface="Arial"/>
                <a:ea typeface="Arial"/>
                <a:cs typeface="Arial"/>
                <a:sym typeface="Arial"/>
              </a:rPr>
              <a:t>‹Nº›</a:t>
            </a:fld>
            <a:endParaRPr sz="1066" b="0" i="0" u="none" strike="noStrike" cap="none">
              <a:solidFill>
                <a:schemeClr val="dk1"/>
              </a:solidFill>
              <a:latin typeface="Arial"/>
              <a:ea typeface="Arial"/>
              <a:cs typeface="Arial"/>
              <a:sym typeface="Arial"/>
            </a:endParaRPr>
          </a:p>
        </p:txBody>
      </p:sp>
      <p:sp>
        <p:nvSpPr>
          <p:cNvPr id="43" name="Google Shape;43;p38"/>
          <p:cNvSpPr/>
          <p:nvPr/>
        </p:nvSpPr>
        <p:spPr>
          <a:xfrm>
            <a:off x="336000" y="6506083"/>
            <a:ext cx="858184" cy="171408"/>
          </a:xfrm>
          <a:custGeom>
            <a:avLst/>
            <a:gdLst/>
            <a:ahLst/>
            <a:cxnLst/>
            <a:rect l="l" t="t" r="r" b="b"/>
            <a:pathLst>
              <a:path w="1701" h="337" extrusionOk="0">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spcFirstLastPara="1" wrap="square" lIns="121850" tIns="60925" rIns="121850" bIns="60925" anchor="t" anchorCtr="0">
            <a:noAutofit/>
          </a:bodyPr>
          <a:lstStyle/>
          <a:p>
            <a:pPr marL="0" marR="0" lvl="0" indent="0" algn="l" rtl="0">
              <a:lnSpc>
                <a:spcPct val="100000"/>
              </a:lnSpc>
              <a:spcBef>
                <a:spcPts val="0"/>
              </a:spcBef>
              <a:spcAft>
                <a:spcPts val="0"/>
              </a:spcAft>
              <a:buClr>
                <a:srgbClr val="000000"/>
              </a:buClr>
              <a:buSzPts val="2397"/>
              <a:buFont typeface="Arial"/>
              <a:buNone/>
            </a:pPr>
            <a:endParaRPr sz="2397" b="0" i="0" u="none" strike="noStrike" cap="none">
              <a:solidFill>
                <a:schemeClr val="dk1"/>
              </a:solidFill>
              <a:latin typeface="Arial"/>
              <a:ea typeface="Arial"/>
              <a:cs typeface="Arial"/>
              <a:sym typeface="Aria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Idea principal. Amarillo">
  <p:cSld name="Idea principal. Amarillo">
    <p:bg>
      <p:bgPr>
        <a:solidFill>
          <a:schemeClr val="dk2"/>
        </a:solidFill>
        <a:effectLst/>
      </p:bgPr>
    </p:bg>
    <p:spTree>
      <p:nvGrpSpPr>
        <p:cNvPr id="1" name="Shape 220"/>
        <p:cNvGrpSpPr/>
        <p:nvPr/>
      </p:nvGrpSpPr>
      <p:grpSpPr>
        <a:xfrm>
          <a:off x="0" y="0"/>
          <a:ext cx="0" cy="0"/>
          <a:chOff x="0" y="0"/>
          <a:chExt cx="0" cy="0"/>
        </a:xfrm>
      </p:grpSpPr>
      <p:sp>
        <p:nvSpPr>
          <p:cNvPr id="221" name="Google Shape;221;p41"/>
          <p:cNvSpPr/>
          <p:nvPr/>
        </p:nvSpPr>
        <p:spPr>
          <a:xfrm>
            <a:off x="0" y="0"/>
            <a:ext cx="12192000"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222" name="Google Shape;222;p41"/>
          <p:cNvSpPr txBox="1">
            <a:spLocks noGrp="1"/>
          </p:cNvSpPr>
          <p:nvPr>
            <p:ph type="title"/>
          </p:nvPr>
        </p:nvSpPr>
        <p:spPr>
          <a:xfrm>
            <a:off x="383670" y="716494"/>
            <a:ext cx="9475766" cy="5269827"/>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3198"/>
              <a:buFont typeface="Playfair Display"/>
              <a:buNone/>
              <a:defRPr sz="3198"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23" name="Google Shape;223;p41"/>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1A3B47"/>
              </a:buClr>
              <a:buSzPts val="1066"/>
              <a:buFont typeface="Arial"/>
              <a:buNone/>
            </a:pPr>
            <a:fld id="{00000000-1234-1234-1234-123412341234}" type="slidenum">
              <a:rPr lang="es-ES" sz="1066" b="0" i="0" u="none" strike="noStrike" cap="none">
                <a:solidFill>
                  <a:srgbClr val="1A3B47"/>
                </a:solidFill>
                <a:latin typeface="Arial"/>
                <a:ea typeface="Arial"/>
                <a:cs typeface="Arial"/>
                <a:sym typeface="Arial"/>
              </a:rPr>
              <a:t>‹Nº›</a:t>
            </a:fld>
            <a:endParaRPr sz="1066" b="0" i="0" u="none" strike="noStrike" cap="none">
              <a:solidFill>
                <a:srgbClr val="1A3B47"/>
              </a:solidFill>
              <a:latin typeface="Arial"/>
              <a:ea typeface="Arial"/>
              <a:cs typeface="Arial"/>
              <a:sym typeface="Arial"/>
            </a:endParaRPr>
          </a:p>
        </p:txBody>
      </p:sp>
      <p:sp>
        <p:nvSpPr>
          <p:cNvPr id="224" name="Google Shape;224;p41"/>
          <p:cNvSpPr/>
          <p:nvPr/>
        </p:nvSpPr>
        <p:spPr>
          <a:xfrm>
            <a:off x="336000" y="6506083"/>
            <a:ext cx="858184" cy="171408"/>
          </a:xfrm>
          <a:custGeom>
            <a:avLst/>
            <a:gdLst/>
            <a:ahLst/>
            <a:cxnLst/>
            <a:rect l="l" t="t" r="r" b="b"/>
            <a:pathLst>
              <a:path w="1701" h="337" extrusionOk="0">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spcFirstLastPara="1" wrap="square" lIns="121850" tIns="60925" rIns="121850" bIns="60925" anchor="t" anchorCtr="0">
            <a:noAutofit/>
          </a:bodyPr>
          <a:lstStyle/>
          <a:p>
            <a:pPr marL="0" marR="0" lvl="0" indent="0" algn="l"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Idea principal. Naranja">
  <p:cSld name="Idea principal. Naranja">
    <p:bg>
      <p:bgPr>
        <a:solidFill>
          <a:schemeClr val="dk2"/>
        </a:solidFill>
        <a:effectLst/>
      </p:bgPr>
    </p:bg>
    <p:spTree>
      <p:nvGrpSpPr>
        <p:cNvPr id="1" name="Shape 225"/>
        <p:cNvGrpSpPr/>
        <p:nvPr/>
      </p:nvGrpSpPr>
      <p:grpSpPr>
        <a:xfrm>
          <a:off x="0" y="0"/>
          <a:ext cx="0" cy="0"/>
          <a:chOff x="0" y="0"/>
          <a:chExt cx="0" cy="0"/>
        </a:xfrm>
      </p:grpSpPr>
      <p:sp>
        <p:nvSpPr>
          <p:cNvPr id="226" name="Google Shape;226;p42"/>
          <p:cNvSpPr/>
          <p:nvPr/>
        </p:nvSpPr>
        <p:spPr>
          <a:xfrm>
            <a:off x="0" y="0"/>
            <a:ext cx="12192000" cy="68580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227" name="Google Shape;227;p42"/>
          <p:cNvSpPr txBox="1">
            <a:spLocks noGrp="1"/>
          </p:cNvSpPr>
          <p:nvPr>
            <p:ph type="title"/>
          </p:nvPr>
        </p:nvSpPr>
        <p:spPr>
          <a:xfrm>
            <a:off x="383670" y="716498"/>
            <a:ext cx="9475766" cy="5269827"/>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lt1"/>
              </a:buClr>
              <a:buSzPts val="3198"/>
              <a:buFont typeface="Playfair Display"/>
              <a:buNone/>
              <a:defRPr sz="3198" b="0" i="0" u="none" strike="noStrike" cap="none">
                <a:solidFill>
                  <a:schemeClr val="lt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28" name="Google Shape;228;p42"/>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lt1"/>
                </a:solidFill>
                <a:latin typeface="Arial"/>
                <a:ea typeface="Arial"/>
                <a:cs typeface="Arial"/>
                <a:sym typeface="Arial"/>
              </a:rPr>
              <a:t>‹Nº›</a:t>
            </a:fld>
            <a:endParaRPr sz="1066" b="0" i="0" u="none" strike="noStrike" cap="none">
              <a:solidFill>
                <a:schemeClr val="lt1"/>
              </a:solidFill>
              <a:latin typeface="Arial"/>
              <a:ea typeface="Arial"/>
              <a:cs typeface="Arial"/>
              <a:sym typeface="Arial"/>
            </a:endParaRPr>
          </a:p>
        </p:txBody>
      </p:sp>
      <p:pic>
        <p:nvPicPr>
          <p:cNvPr id="229" name="Google Shape;229;p42"/>
          <p:cNvPicPr preferRelativeResize="0"/>
          <p:nvPr/>
        </p:nvPicPr>
        <p:blipFill rotWithShape="1">
          <a:blip r:embed="rId2">
            <a:alphaModFix/>
          </a:blip>
          <a:srcRect/>
          <a:stretch/>
        </p:blipFill>
        <p:spPr>
          <a:xfrm>
            <a:off x="336001" y="6505495"/>
            <a:ext cx="859201" cy="170476"/>
          </a:xfrm>
          <a:prstGeom prst="rect">
            <a:avLst/>
          </a:prstGeom>
          <a:noFill/>
          <a:ln>
            <a:noFill/>
          </a:ln>
        </p:spPr>
      </p:pic>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Idea principal. Rosa">
  <p:cSld name="Idea principal. Rosa">
    <p:bg>
      <p:bgPr>
        <a:solidFill>
          <a:schemeClr val="dk2"/>
        </a:solidFill>
        <a:effectLst/>
      </p:bgPr>
    </p:bg>
    <p:spTree>
      <p:nvGrpSpPr>
        <p:cNvPr id="1" name="Shape 230"/>
        <p:cNvGrpSpPr/>
        <p:nvPr/>
      </p:nvGrpSpPr>
      <p:grpSpPr>
        <a:xfrm>
          <a:off x="0" y="0"/>
          <a:ext cx="0" cy="0"/>
          <a:chOff x="0" y="0"/>
          <a:chExt cx="0" cy="0"/>
        </a:xfrm>
      </p:grpSpPr>
      <p:sp>
        <p:nvSpPr>
          <p:cNvPr id="231" name="Google Shape;231;p43"/>
          <p:cNvSpPr/>
          <p:nvPr/>
        </p:nvSpPr>
        <p:spPr>
          <a:xfrm>
            <a:off x="0" y="0"/>
            <a:ext cx="12192000" cy="68580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232" name="Google Shape;232;p43"/>
          <p:cNvSpPr txBox="1">
            <a:spLocks noGrp="1"/>
          </p:cNvSpPr>
          <p:nvPr>
            <p:ph type="title"/>
          </p:nvPr>
        </p:nvSpPr>
        <p:spPr>
          <a:xfrm>
            <a:off x="383670" y="716494"/>
            <a:ext cx="9475766" cy="5269827"/>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lt1"/>
              </a:buClr>
              <a:buSzPts val="3198"/>
              <a:buFont typeface="Playfair Display"/>
              <a:buNone/>
              <a:defRPr sz="3198" b="0" i="0" u="none" strike="noStrike" cap="none">
                <a:solidFill>
                  <a:schemeClr val="lt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33" name="Google Shape;233;p43"/>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lt1"/>
                </a:solidFill>
                <a:latin typeface="Arial"/>
                <a:ea typeface="Arial"/>
                <a:cs typeface="Arial"/>
                <a:sym typeface="Arial"/>
              </a:rPr>
              <a:t>‹Nº›</a:t>
            </a:fld>
            <a:endParaRPr sz="1066" b="0" i="0" u="none" strike="noStrike" cap="none">
              <a:solidFill>
                <a:schemeClr val="lt1"/>
              </a:solidFill>
              <a:latin typeface="Arial"/>
              <a:ea typeface="Arial"/>
              <a:cs typeface="Arial"/>
              <a:sym typeface="Arial"/>
            </a:endParaRPr>
          </a:p>
        </p:txBody>
      </p:sp>
      <p:pic>
        <p:nvPicPr>
          <p:cNvPr id="234" name="Google Shape;234;p43"/>
          <p:cNvPicPr preferRelativeResize="0"/>
          <p:nvPr/>
        </p:nvPicPr>
        <p:blipFill rotWithShape="1">
          <a:blip r:embed="rId2">
            <a:alphaModFix/>
          </a:blip>
          <a:srcRect/>
          <a:stretch/>
        </p:blipFill>
        <p:spPr>
          <a:xfrm>
            <a:off x="336001" y="6505495"/>
            <a:ext cx="859201" cy="170476"/>
          </a:xfrm>
          <a:prstGeom prst="rect">
            <a:avLst/>
          </a:prstGeom>
          <a:noFill/>
          <a:ln>
            <a:noFill/>
          </a:ln>
        </p:spPr>
      </p:pic>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Idea principal. Verde">
  <p:cSld name="Idea principal. Verde">
    <p:bg>
      <p:bgPr>
        <a:solidFill>
          <a:schemeClr val="dk2"/>
        </a:solidFill>
        <a:effectLst/>
      </p:bgPr>
    </p:bg>
    <p:spTree>
      <p:nvGrpSpPr>
        <p:cNvPr id="1" name="Shape 235"/>
        <p:cNvGrpSpPr/>
        <p:nvPr/>
      </p:nvGrpSpPr>
      <p:grpSpPr>
        <a:xfrm>
          <a:off x="0" y="0"/>
          <a:ext cx="0" cy="0"/>
          <a:chOff x="0" y="0"/>
          <a:chExt cx="0" cy="0"/>
        </a:xfrm>
      </p:grpSpPr>
      <p:sp>
        <p:nvSpPr>
          <p:cNvPr id="236" name="Google Shape;236;p44"/>
          <p:cNvSpPr/>
          <p:nvPr/>
        </p:nvSpPr>
        <p:spPr>
          <a:xfrm>
            <a:off x="0" y="0"/>
            <a:ext cx="12192000" cy="685800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237" name="Google Shape;237;p44"/>
          <p:cNvSpPr txBox="1">
            <a:spLocks noGrp="1"/>
          </p:cNvSpPr>
          <p:nvPr>
            <p:ph type="title"/>
          </p:nvPr>
        </p:nvSpPr>
        <p:spPr>
          <a:xfrm>
            <a:off x="383670" y="716494"/>
            <a:ext cx="9475766" cy="5269827"/>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lt1"/>
              </a:buClr>
              <a:buSzPts val="3198"/>
              <a:buFont typeface="Playfair Display"/>
              <a:buNone/>
              <a:defRPr sz="3198" b="0" i="0" u="none" strike="noStrike" cap="none">
                <a:solidFill>
                  <a:schemeClr val="lt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38" name="Google Shape;238;p44"/>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lt1"/>
                </a:solidFill>
                <a:latin typeface="Arial"/>
                <a:ea typeface="Arial"/>
                <a:cs typeface="Arial"/>
                <a:sym typeface="Arial"/>
              </a:rPr>
              <a:t>‹Nº›</a:t>
            </a:fld>
            <a:endParaRPr sz="1066" b="0" i="0" u="none" strike="noStrike" cap="none">
              <a:solidFill>
                <a:schemeClr val="lt1"/>
              </a:solidFill>
              <a:latin typeface="Arial"/>
              <a:ea typeface="Arial"/>
              <a:cs typeface="Arial"/>
              <a:sym typeface="Arial"/>
            </a:endParaRPr>
          </a:p>
        </p:txBody>
      </p:sp>
      <p:pic>
        <p:nvPicPr>
          <p:cNvPr id="239" name="Google Shape;239;p44"/>
          <p:cNvPicPr preferRelativeResize="0"/>
          <p:nvPr/>
        </p:nvPicPr>
        <p:blipFill rotWithShape="1">
          <a:blip r:embed="rId2">
            <a:alphaModFix/>
          </a:blip>
          <a:srcRect/>
          <a:stretch/>
        </p:blipFill>
        <p:spPr>
          <a:xfrm>
            <a:off x="336001" y="6505495"/>
            <a:ext cx="859201" cy="170476"/>
          </a:xfrm>
          <a:prstGeom prst="rect">
            <a:avLst/>
          </a:prstGeom>
          <a:noFill/>
          <a:ln>
            <a:noFill/>
          </a:ln>
        </p:spPr>
      </p:pic>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Idea principal. Azul">
  <p:cSld name="Idea principal. Azul">
    <p:bg>
      <p:bgPr>
        <a:solidFill>
          <a:schemeClr val="dk2"/>
        </a:solidFill>
        <a:effectLst/>
      </p:bgPr>
    </p:bg>
    <p:spTree>
      <p:nvGrpSpPr>
        <p:cNvPr id="1" name="Shape 240"/>
        <p:cNvGrpSpPr/>
        <p:nvPr/>
      </p:nvGrpSpPr>
      <p:grpSpPr>
        <a:xfrm>
          <a:off x="0" y="0"/>
          <a:ext cx="0" cy="0"/>
          <a:chOff x="0" y="0"/>
          <a:chExt cx="0" cy="0"/>
        </a:xfrm>
      </p:grpSpPr>
      <p:sp>
        <p:nvSpPr>
          <p:cNvPr id="241" name="Google Shape;241;p45"/>
          <p:cNvSpPr/>
          <p:nvPr/>
        </p:nvSpPr>
        <p:spPr>
          <a:xfrm>
            <a:off x="0" y="0"/>
            <a:ext cx="12192000" cy="6858000"/>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242" name="Google Shape;242;p45"/>
          <p:cNvSpPr txBox="1">
            <a:spLocks noGrp="1"/>
          </p:cNvSpPr>
          <p:nvPr>
            <p:ph type="title"/>
          </p:nvPr>
        </p:nvSpPr>
        <p:spPr>
          <a:xfrm>
            <a:off x="383670" y="716498"/>
            <a:ext cx="9475766" cy="5269827"/>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lt1"/>
              </a:buClr>
              <a:buSzPts val="3198"/>
              <a:buFont typeface="Playfair Display"/>
              <a:buNone/>
              <a:defRPr sz="3198" b="0" i="0" u="none" strike="noStrike" cap="none">
                <a:solidFill>
                  <a:schemeClr val="lt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43" name="Google Shape;243;p45"/>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lt1"/>
                </a:solidFill>
                <a:latin typeface="Arial"/>
                <a:ea typeface="Arial"/>
                <a:cs typeface="Arial"/>
                <a:sym typeface="Arial"/>
              </a:rPr>
              <a:t>‹Nº›</a:t>
            </a:fld>
            <a:endParaRPr sz="1066" b="0" i="0" u="none" strike="noStrike" cap="none">
              <a:solidFill>
                <a:schemeClr val="lt1"/>
              </a:solidFill>
              <a:latin typeface="Arial"/>
              <a:ea typeface="Arial"/>
              <a:cs typeface="Arial"/>
              <a:sym typeface="Arial"/>
            </a:endParaRPr>
          </a:p>
        </p:txBody>
      </p:sp>
      <p:pic>
        <p:nvPicPr>
          <p:cNvPr id="244" name="Google Shape;244;p45"/>
          <p:cNvPicPr preferRelativeResize="0"/>
          <p:nvPr/>
        </p:nvPicPr>
        <p:blipFill rotWithShape="1">
          <a:blip r:embed="rId2">
            <a:alphaModFix/>
          </a:blip>
          <a:srcRect/>
          <a:stretch/>
        </p:blipFill>
        <p:spPr>
          <a:xfrm>
            <a:off x="336001" y="6505495"/>
            <a:ext cx="859201" cy="170476"/>
          </a:xfrm>
          <a:prstGeom prst="rect">
            <a:avLst/>
          </a:prstGeom>
          <a:noFill/>
          <a:ln>
            <a:noFill/>
          </a:ln>
        </p:spPr>
      </p:pic>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Idea principal. Morado">
  <p:cSld name="Idea principal. Morado">
    <p:bg>
      <p:bgPr>
        <a:solidFill>
          <a:schemeClr val="dk2"/>
        </a:solidFill>
        <a:effectLst/>
      </p:bgPr>
    </p:bg>
    <p:spTree>
      <p:nvGrpSpPr>
        <p:cNvPr id="1" name="Shape 245"/>
        <p:cNvGrpSpPr/>
        <p:nvPr/>
      </p:nvGrpSpPr>
      <p:grpSpPr>
        <a:xfrm>
          <a:off x="0" y="0"/>
          <a:ext cx="0" cy="0"/>
          <a:chOff x="0" y="0"/>
          <a:chExt cx="0" cy="0"/>
        </a:xfrm>
      </p:grpSpPr>
      <p:graphicFrame>
        <p:nvGraphicFramePr>
          <p:cNvPr id="246" name="Google Shape;246;p46"/>
          <p:cNvGraphicFramePr/>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3134" r:id="rId3" imgW="2117" imgH="2117" progId="TCLayout.ActiveDocument.1">
                  <p:embed/>
                </p:oleObj>
              </mc:Choice>
              <mc:Fallback>
                <p:oleObj r:id="rId3" imgW="2117" imgH="2117" progId="TCLayout.ActiveDocument.1">
                  <p:embed/>
                  <p:pic>
                    <p:nvPicPr>
                      <p:cNvPr id="246" name="Google Shape;246;p46"/>
                      <p:cNvPicPr preferRelativeResize="0"/>
                      <p:nvPr/>
                    </p:nvPicPr>
                    <p:blipFill rotWithShape="1">
                      <a:blip r:embed="rId4">
                        <a:alphaModFix/>
                      </a:blip>
                      <a:srcRect/>
                      <a:stretch/>
                    </p:blipFill>
                    <p:spPr>
                      <a:xfrm>
                        <a:off x="2117" y="2121"/>
                        <a:ext cx="2117" cy="2117"/>
                      </a:xfrm>
                      <a:prstGeom prst="rect">
                        <a:avLst/>
                      </a:prstGeom>
                      <a:noFill/>
                      <a:ln>
                        <a:noFill/>
                      </a:ln>
                    </p:spPr>
                  </p:pic>
                </p:oleObj>
              </mc:Fallback>
            </mc:AlternateContent>
          </a:graphicData>
        </a:graphic>
      </p:graphicFrame>
      <p:sp>
        <p:nvSpPr>
          <p:cNvPr id="247" name="Google Shape;247;p46"/>
          <p:cNvSpPr/>
          <p:nvPr/>
        </p:nvSpPr>
        <p:spPr>
          <a:xfrm>
            <a:off x="0" y="0"/>
            <a:ext cx="12192000" cy="6858000"/>
          </a:xfrm>
          <a:prstGeom prst="rect">
            <a:avLst/>
          </a:pr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pic>
        <p:nvPicPr>
          <p:cNvPr id="248" name="Google Shape;248;p46"/>
          <p:cNvPicPr preferRelativeResize="0"/>
          <p:nvPr/>
        </p:nvPicPr>
        <p:blipFill rotWithShape="1">
          <a:blip r:embed="rId5">
            <a:alphaModFix/>
          </a:blip>
          <a:srcRect/>
          <a:stretch/>
        </p:blipFill>
        <p:spPr>
          <a:xfrm>
            <a:off x="336001" y="6505495"/>
            <a:ext cx="859201" cy="170476"/>
          </a:xfrm>
          <a:prstGeom prst="rect">
            <a:avLst/>
          </a:prstGeom>
          <a:noFill/>
          <a:ln>
            <a:noFill/>
          </a:ln>
        </p:spPr>
      </p:pic>
      <p:sp>
        <p:nvSpPr>
          <p:cNvPr id="249" name="Google Shape;249;p46"/>
          <p:cNvSpPr txBox="1">
            <a:spLocks noGrp="1"/>
          </p:cNvSpPr>
          <p:nvPr>
            <p:ph type="title"/>
          </p:nvPr>
        </p:nvSpPr>
        <p:spPr>
          <a:xfrm>
            <a:off x="383670" y="716494"/>
            <a:ext cx="9475766" cy="5269827"/>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lt1"/>
              </a:buClr>
              <a:buSzPts val="3198"/>
              <a:buFont typeface="Playfair Display"/>
              <a:buNone/>
              <a:defRPr sz="3198" b="0" i="0" u="none" strike="noStrike" cap="none">
                <a:solidFill>
                  <a:schemeClr val="lt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50" name="Google Shape;250;p46"/>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lt1"/>
                </a:solidFill>
                <a:latin typeface="Arial"/>
                <a:ea typeface="Arial"/>
                <a:cs typeface="Arial"/>
                <a:sym typeface="Arial"/>
              </a:rPr>
              <a:t>‹Nº›</a:t>
            </a:fld>
            <a:endParaRPr sz="1066" b="0" i="0" u="none" strike="noStrike" cap="none">
              <a:solidFill>
                <a:schemeClr val="lt1"/>
              </a:solidFill>
              <a:latin typeface="Arial"/>
              <a:ea typeface="Arial"/>
              <a:cs typeface="Arial"/>
              <a:sym typeface="Arial"/>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Naranja endoso">
  <p:cSld name="Naranja endoso">
    <p:spTree>
      <p:nvGrpSpPr>
        <p:cNvPr id="1" name="Shape 251"/>
        <p:cNvGrpSpPr/>
        <p:nvPr/>
      </p:nvGrpSpPr>
      <p:grpSpPr>
        <a:xfrm>
          <a:off x="0" y="0"/>
          <a:ext cx="0" cy="0"/>
          <a:chOff x="0" y="0"/>
          <a:chExt cx="0" cy="0"/>
        </a:xfrm>
      </p:grpSpPr>
      <p:graphicFrame>
        <p:nvGraphicFramePr>
          <p:cNvPr id="252" name="Google Shape;252;p47"/>
          <p:cNvGraphicFramePr/>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4158" r:id="rId3" imgW="2117" imgH="2117" progId="TCLayout.ActiveDocument.1">
                  <p:embed/>
                </p:oleObj>
              </mc:Choice>
              <mc:Fallback>
                <p:oleObj r:id="rId3" imgW="2117" imgH="2117" progId="TCLayout.ActiveDocument.1">
                  <p:embed/>
                  <p:pic>
                    <p:nvPicPr>
                      <p:cNvPr id="252" name="Google Shape;252;p47"/>
                      <p:cNvPicPr preferRelativeResize="0"/>
                      <p:nvPr/>
                    </p:nvPicPr>
                    <p:blipFill rotWithShape="1">
                      <a:blip r:embed="rId4">
                        <a:alphaModFix/>
                      </a:blip>
                      <a:srcRect/>
                      <a:stretch/>
                    </p:blipFill>
                    <p:spPr>
                      <a:xfrm>
                        <a:off x="2117" y="2121"/>
                        <a:ext cx="2117" cy="2117"/>
                      </a:xfrm>
                      <a:prstGeom prst="rect">
                        <a:avLst/>
                      </a:prstGeom>
                      <a:noFill/>
                      <a:ln>
                        <a:noFill/>
                      </a:ln>
                    </p:spPr>
                  </p:pic>
                </p:oleObj>
              </mc:Fallback>
            </mc:AlternateContent>
          </a:graphicData>
        </a:graphic>
      </p:graphicFrame>
      <p:sp>
        <p:nvSpPr>
          <p:cNvPr id="253" name="Google Shape;253;p47"/>
          <p:cNvSpPr txBox="1">
            <a:spLocks noGrp="1"/>
          </p:cNvSpPr>
          <p:nvPr>
            <p:ph type="title"/>
          </p:nvPr>
        </p:nvSpPr>
        <p:spPr>
          <a:xfrm>
            <a:off x="336000" y="649095"/>
            <a:ext cx="11519451" cy="919343"/>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2400"/>
              <a:buFont typeface="Playfair Display"/>
              <a:buNone/>
              <a:defRPr sz="2400"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54" name="Google Shape;254;p47"/>
          <p:cNvSpPr txBox="1">
            <a:spLocks noGrp="1"/>
          </p:cNvSpPr>
          <p:nvPr>
            <p:ph type="body" idx="1"/>
          </p:nvPr>
        </p:nvSpPr>
        <p:spPr>
          <a:xfrm>
            <a:off x="336000" y="357000"/>
            <a:ext cx="11519451" cy="251520"/>
          </a:xfrm>
          <a:prstGeom prst="rect">
            <a:avLst/>
          </a:prstGeom>
          <a:noFill/>
          <a:ln>
            <a:noFill/>
          </a:ln>
        </p:spPr>
        <p:txBody>
          <a:bodyPr spcFirstLastPara="1" wrap="square" lIns="0" tIns="45700" rIns="91425" bIns="45700" anchor="t" anchorCtr="0">
            <a:noAutofit/>
          </a:bodyPr>
          <a:lstStyle>
            <a:lvl1pPr marL="457200" marR="0" lvl="0" indent="-228600" algn="l" rtl="0">
              <a:lnSpc>
                <a:spcPct val="90000"/>
              </a:lnSpc>
              <a:spcBef>
                <a:spcPts val="999"/>
              </a:spcBef>
              <a:spcAft>
                <a:spcPts val="0"/>
              </a:spcAft>
              <a:buClr>
                <a:srgbClr val="1A3B47"/>
              </a:buClr>
              <a:buSzPts val="1000"/>
              <a:buFont typeface="Arial"/>
              <a:buNone/>
              <a:defRPr sz="1000" b="0" i="0" u="none" strike="noStrike" cap="none">
                <a:solidFill>
                  <a:srgbClr val="1A3B47"/>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399"/>
              <a:buFont typeface="Arial"/>
              <a:buNone/>
              <a:defRPr sz="2399"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grpSp>
        <p:nvGrpSpPr>
          <p:cNvPr id="255" name="Google Shape;255;p47"/>
          <p:cNvGrpSpPr/>
          <p:nvPr/>
        </p:nvGrpSpPr>
        <p:grpSpPr>
          <a:xfrm>
            <a:off x="10328936" y="6242390"/>
            <a:ext cx="1871531" cy="642611"/>
            <a:chOff x="8064500" y="4790414"/>
            <a:chExt cx="1083150" cy="371911"/>
          </a:xfrm>
        </p:grpSpPr>
        <p:sp>
          <p:nvSpPr>
            <p:cNvPr id="256" name="Google Shape;256;p47"/>
            <p:cNvSpPr/>
            <p:nvPr/>
          </p:nvSpPr>
          <p:spPr>
            <a:xfrm>
              <a:off x="8261825" y="4790414"/>
              <a:ext cx="885825" cy="349250"/>
            </a:xfrm>
            <a:custGeom>
              <a:avLst/>
              <a:gdLst/>
              <a:ahLst/>
              <a:cxnLst/>
              <a:rect l="l" t="t" r="r" b="b"/>
              <a:pathLst>
                <a:path w="885825" h="349250" extrusionOk="0">
                  <a:moveTo>
                    <a:pt x="885825" y="225425"/>
                  </a:moveTo>
                  <a:lnTo>
                    <a:pt x="885825" y="0"/>
                  </a:lnTo>
                  <a:lnTo>
                    <a:pt x="0" y="250825"/>
                  </a:lnTo>
                  <a:lnTo>
                    <a:pt x="0" y="349250"/>
                  </a:lnTo>
                  <a:lnTo>
                    <a:pt x="885825" y="225425"/>
                  </a:ln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257" name="Google Shape;257;p47"/>
            <p:cNvSpPr/>
            <p:nvPr/>
          </p:nvSpPr>
          <p:spPr>
            <a:xfrm>
              <a:off x="8064500" y="4844050"/>
              <a:ext cx="1083150" cy="318275"/>
            </a:xfrm>
            <a:custGeom>
              <a:avLst/>
              <a:gdLst/>
              <a:ahLst/>
              <a:cxnLst/>
              <a:rect l="l" t="t" r="r" b="b"/>
              <a:pathLst>
                <a:path w="1083150" h="318275" extrusionOk="0">
                  <a:moveTo>
                    <a:pt x="0" y="307900"/>
                  </a:moveTo>
                  <a:lnTo>
                    <a:pt x="1083150" y="0"/>
                  </a:lnTo>
                  <a:cubicBezTo>
                    <a:pt x="1082442" y="106092"/>
                    <a:pt x="1081733" y="212183"/>
                    <a:pt x="1081025" y="318275"/>
                  </a:cubicBezTo>
                  <a:lnTo>
                    <a:pt x="0" y="307900"/>
                  </a:lnTo>
                  <a:close/>
                </a:path>
              </a:pathLst>
            </a:cu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grpSp>
      <p:sp>
        <p:nvSpPr>
          <p:cNvPr id="258" name="Google Shape;258;p47"/>
          <p:cNvSpPr/>
          <p:nvPr/>
        </p:nvSpPr>
        <p:spPr>
          <a:xfrm>
            <a:off x="336000" y="6506083"/>
            <a:ext cx="858184" cy="171408"/>
          </a:xfrm>
          <a:custGeom>
            <a:avLst/>
            <a:gdLst/>
            <a:ahLst/>
            <a:cxnLst/>
            <a:rect l="l" t="t" r="r" b="b"/>
            <a:pathLst>
              <a:path w="1701" h="337" extrusionOk="0">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spcFirstLastPara="1" wrap="square" lIns="121850" tIns="60925" rIns="121850" bIns="60925" anchor="t" anchorCtr="0">
            <a:noAutofit/>
          </a:bodyPr>
          <a:lstStyle/>
          <a:p>
            <a:pPr marL="0" marR="0" lvl="0" indent="0" algn="l" rtl="0">
              <a:lnSpc>
                <a:spcPct val="100000"/>
              </a:lnSpc>
              <a:spcBef>
                <a:spcPts val="0"/>
              </a:spcBef>
              <a:spcAft>
                <a:spcPts val="0"/>
              </a:spcAft>
              <a:buClr>
                <a:srgbClr val="000000"/>
              </a:buClr>
              <a:buSzPts val="2397"/>
              <a:buFont typeface="Arial"/>
              <a:buNone/>
            </a:pPr>
            <a:endParaRPr sz="2397" b="0" i="0" u="none" strike="noStrike" cap="none">
              <a:solidFill>
                <a:schemeClr val="dk1"/>
              </a:solidFill>
              <a:latin typeface="Arial"/>
              <a:ea typeface="Arial"/>
              <a:cs typeface="Arial"/>
              <a:sym typeface="Arial"/>
            </a:endParaRPr>
          </a:p>
        </p:txBody>
      </p:sp>
      <p:sp>
        <p:nvSpPr>
          <p:cNvPr id="259" name="Google Shape;259;p47"/>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lt1"/>
                </a:solidFill>
                <a:latin typeface="Arial"/>
                <a:ea typeface="Arial"/>
                <a:cs typeface="Arial"/>
                <a:sym typeface="Arial"/>
              </a:rPr>
              <a:t>‹Nº›</a:t>
            </a:fld>
            <a:endParaRPr sz="1066" b="0" i="0" u="none" strike="noStrike" cap="none">
              <a:solidFill>
                <a:schemeClr val="lt1"/>
              </a:solidFill>
              <a:latin typeface="Arial"/>
              <a:ea typeface="Arial"/>
              <a:cs typeface="Arial"/>
              <a:sym typeface="Arial"/>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Naranja sin endoso">
  <p:cSld name="Naranja sin endoso">
    <p:spTree>
      <p:nvGrpSpPr>
        <p:cNvPr id="1" name="Shape 260"/>
        <p:cNvGrpSpPr/>
        <p:nvPr/>
      </p:nvGrpSpPr>
      <p:grpSpPr>
        <a:xfrm>
          <a:off x="0" y="0"/>
          <a:ext cx="0" cy="0"/>
          <a:chOff x="0" y="0"/>
          <a:chExt cx="0" cy="0"/>
        </a:xfrm>
      </p:grpSpPr>
      <p:sp>
        <p:nvSpPr>
          <p:cNvPr id="261" name="Google Shape;261;p48"/>
          <p:cNvSpPr txBox="1">
            <a:spLocks noGrp="1"/>
          </p:cNvSpPr>
          <p:nvPr>
            <p:ph type="title"/>
          </p:nvPr>
        </p:nvSpPr>
        <p:spPr>
          <a:xfrm>
            <a:off x="336000" y="649095"/>
            <a:ext cx="11519451" cy="919343"/>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2400"/>
              <a:buFont typeface="Playfair Display"/>
              <a:buNone/>
              <a:defRPr sz="2400"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62" name="Google Shape;262;p48"/>
          <p:cNvSpPr txBox="1">
            <a:spLocks noGrp="1"/>
          </p:cNvSpPr>
          <p:nvPr>
            <p:ph type="body" idx="1"/>
          </p:nvPr>
        </p:nvSpPr>
        <p:spPr>
          <a:xfrm>
            <a:off x="336000" y="357000"/>
            <a:ext cx="11519451" cy="251520"/>
          </a:xfrm>
          <a:prstGeom prst="rect">
            <a:avLst/>
          </a:prstGeom>
          <a:noFill/>
          <a:ln>
            <a:noFill/>
          </a:ln>
        </p:spPr>
        <p:txBody>
          <a:bodyPr spcFirstLastPara="1" wrap="square" lIns="0" tIns="45700" rIns="91425" bIns="45700" anchor="t" anchorCtr="0">
            <a:noAutofit/>
          </a:bodyPr>
          <a:lstStyle>
            <a:lvl1pPr marL="457200" marR="0" lvl="0" indent="-228600" algn="l" rtl="0">
              <a:lnSpc>
                <a:spcPct val="90000"/>
              </a:lnSpc>
              <a:spcBef>
                <a:spcPts val="999"/>
              </a:spcBef>
              <a:spcAft>
                <a:spcPts val="0"/>
              </a:spcAft>
              <a:buClr>
                <a:srgbClr val="1A3B47"/>
              </a:buClr>
              <a:buSzPts val="1000"/>
              <a:buFont typeface="Arial"/>
              <a:buNone/>
              <a:defRPr sz="1000" b="0" i="0" u="none" strike="noStrike" cap="none">
                <a:solidFill>
                  <a:srgbClr val="1A3B47"/>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399"/>
              <a:buFont typeface="Arial"/>
              <a:buNone/>
              <a:defRPr sz="2399"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grpSp>
        <p:nvGrpSpPr>
          <p:cNvPr id="263" name="Google Shape;263;p48"/>
          <p:cNvGrpSpPr/>
          <p:nvPr/>
        </p:nvGrpSpPr>
        <p:grpSpPr>
          <a:xfrm>
            <a:off x="10328936" y="6242390"/>
            <a:ext cx="1871531" cy="642611"/>
            <a:chOff x="8064500" y="4790414"/>
            <a:chExt cx="1083150" cy="371911"/>
          </a:xfrm>
        </p:grpSpPr>
        <p:sp>
          <p:nvSpPr>
            <p:cNvPr id="264" name="Google Shape;264;p48"/>
            <p:cNvSpPr/>
            <p:nvPr/>
          </p:nvSpPr>
          <p:spPr>
            <a:xfrm>
              <a:off x="8261825" y="4790414"/>
              <a:ext cx="885825" cy="349250"/>
            </a:xfrm>
            <a:custGeom>
              <a:avLst/>
              <a:gdLst/>
              <a:ahLst/>
              <a:cxnLst/>
              <a:rect l="l" t="t" r="r" b="b"/>
              <a:pathLst>
                <a:path w="885825" h="349250" extrusionOk="0">
                  <a:moveTo>
                    <a:pt x="885825" y="225425"/>
                  </a:moveTo>
                  <a:lnTo>
                    <a:pt x="885825" y="0"/>
                  </a:lnTo>
                  <a:lnTo>
                    <a:pt x="0" y="250825"/>
                  </a:lnTo>
                  <a:lnTo>
                    <a:pt x="0" y="349250"/>
                  </a:lnTo>
                  <a:lnTo>
                    <a:pt x="885825" y="225425"/>
                  </a:ln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265" name="Google Shape;265;p48"/>
            <p:cNvSpPr/>
            <p:nvPr/>
          </p:nvSpPr>
          <p:spPr>
            <a:xfrm>
              <a:off x="8064500" y="4844050"/>
              <a:ext cx="1083150" cy="318275"/>
            </a:xfrm>
            <a:custGeom>
              <a:avLst/>
              <a:gdLst/>
              <a:ahLst/>
              <a:cxnLst/>
              <a:rect l="l" t="t" r="r" b="b"/>
              <a:pathLst>
                <a:path w="1083150" h="318275" extrusionOk="0">
                  <a:moveTo>
                    <a:pt x="0" y="307900"/>
                  </a:moveTo>
                  <a:lnTo>
                    <a:pt x="1083150" y="0"/>
                  </a:lnTo>
                  <a:cubicBezTo>
                    <a:pt x="1082442" y="106092"/>
                    <a:pt x="1081733" y="212183"/>
                    <a:pt x="1081025" y="318275"/>
                  </a:cubicBezTo>
                  <a:lnTo>
                    <a:pt x="0" y="307900"/>
                  </a:lnTo>
                  <a:close/>
                </a:path>
              </a:pathLst>
            </a:cu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grpSp>
      <p:sp>
        <p:nvSpPr>
          <p:cNvPr id="266" name="Google Shape;266;p48"/>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lt1"/>
                </a:solidFill>
                <a:latin typeface="Arial"/>
                <a:ea typeface="Arial"/>
                <a:cs typeface="Arial"/>
                <a:sym typeface="Arial"/>
              </a:rPr>
              <a:t>‹Nº›</a:t>
            </a:fld>
            <a:endParaRPr sz="1066" b="0" i="0" u="none" strike="noStrike" cap="none">
              <a:solidFill>
                <a:schemeClr val="lt1"/>
              </a:solidFill>
              <a:latin typeface="Arial"/>
              <a:ea typeface="Arial"/>
              <a:cs typeface="Arial"/>
              <a:sym typeface="Arial"/>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Amarillo endoso">
  <p:cSld name="Amarillo endoso">
    <p:spTree>
      <p:nvGrpSpPr>
        <p:cNvPr id="1" name="Shape 267"/>
        <p:cNvGrpSpPr/>
        <p:nvPr/>
      </p:nvGrpSpPr>
      <p:grpSpPr>
        <a:xfrm>
          <a:off x="0" y="0"/>
          <a:ext cx="0" cy="0"/>
          <a:chOff x="0" y="0"/>
          <a:chExt cx="0" cy="0"/>
        </a:xfrm>
      </p:grpSpPr>
      <p:graphicFrame>
        <p:nvGraphicFramePr>
          <p:cNvPr id="268" name="Google Shape;268;p49"/>
          <p:cNvGraphicFramePr/>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5182" r:id="rId3" imgW="2117" imgH="2117" progId="TCLayout.ActiveDocument.1">
                  <p:embed/>
                </p:oleObj>
              </mc:Choice>
              <mc:Fallback>
                <p:oleObj r:id="rId3" imgW="2117" imgH="2117" progId="TCLayout.ActiveDocument.1">
                  <p:embed/>
                  <p:pic>
                    <p:nvPicPr>
                      <p:cNvPr id="268" name="Google Shape;268;p49"/>
                      <p:cNvPicPr preferRelativeResize="0"/>
                      <p:nvPr/>
                    </p:nvPicPr>
                    <p:blipFill rotWithShape="1">
                      <a:blip r:embed="rId4">
                        <a:alphaModFix/>
                      </a:blip>
                      <a:srcRect/>
                      <a:stretch/>
                    </p:blipFill>
                    <p:spPr>
                      <a:xfrm>
                        <a:off x="2117" y="2121"/>
                        <a:ext cx="2117" cy="2117"/>
                      </a:xfrm>
                      <a:prstGeom prst="rect">
                        <a:avLst/>
                      </a:prstGeom>
                      <a:noFill/>
                      <a:ln>
                        <a:noFill/>
                      </a:ln>
                    </p:spPr>
                  </p:pic>
                </p:oleObj>
              </mc:Fallback>
            </mc:AlternateContent>
          </a:graphicData>
        </a:graphic>
      </p:graphicFrame>
      <p:sp>
        <p:nvSpPr>
          <p:cNvPr id="269" name="Google Shape;269;p49"/>
          <p:cNvSpPr txBox="1">
            <a:spLocks noGrp="1"/>
          </p:cNvSpPr>
          <p:nvPr>
            <p:ph type="title"/>
          </p:nvPr>
        </p:nvSpPr>
        <p:spPr>
          <a:xfrm>
            <a:off x="335999" y="649095"/>
            <a:ext cx="11521567" cy="919343"/>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2400"/>
              <a:buFont typeface="Playfair Display"/>
              <a:buNone/>
              <a:defRPr sz="2400"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70" name="Google Shape;270;p49"/>
          <p:cNvSpPr txBox="1">
            <a:spLocks noGrp="1"/>
          </p:cNvSpPr>
          <p:nvPr>
            <p:ph type="body" idx="1"/>
          </p:nvPr>
        </p:nvSpPr>
        <p:spPr>
          <a:xfrm>
            <a:off x="336001" y="357000"/>
            <a:ext cx="11521566" cy="251520"/>
          </a:xfrm>
          <a:prstGeom prst="rect">
            <a:avLst/>
          </a:prstGeom>
          <a:noFill/>
          <a:ln>
            <a:noFill/>
          </a:ln>
        </p:spPr>
        <p:txBody>
          <a:bodyPr spcFirstLastPara="1" wrap="square" lIns="0" tIns="45700" rIns="91425" bIns="45700" anchor="t" anchorCtr="0">
            <a:noAutofit/>
          </a:bodyPr>
          <a:lstStyle>
            <a:lvl1pPr marL="457200" marR="0" lvl="0" indent="-228600" algn="l" rtl="0">
              <a:lnSpc>
                <a:spcPct val="90000"/>
              </a:lnSpc>
              <a:spcBef>
                <a:spcPts val="999"/>
              </a:spcBef>
              <a:spcAft>
                <a:spcPts val="0"/>
              </a:spcAft>
              <a:buClr>
                <a:srgbClr val="1A3B47"/>
              </a:buClr>
              <a:buSzPts val="1000"/>
              <a:buFont typeface="Arial"/>
              <a:buNone/>
              <a:defRPr sz="1000" b="0" i="0" u="none" strike="noStrike" cap="none">
                <a:solidFill>
                  <a:srgbClr val="1A3B47"/>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399"/>
              <a:buFont typeface="Arial"/>
              <a:buNone/>
              <a:defRPr sz="2399"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grpSp>
        <p:nvGrpSpPr>
          <p:cNvPr id="271" name="Google Shape;271;p49"/>
          <p:cNvGrpSpPr/>
          <p:nvPr/>
        </p:nvGrpSpPr>
        <p:grpSpPr>
          <a:xfrm>
            <a:off x="10328936" y="6242390"/>
            <a:ext cx="1871531" cy="642611"/>
            <a:chOff x="8064500" y="4790414"/>
            <a:chExt cx="1083150" cy="371911"/>
          </a:xfrm>
        </p:grpSpPr>
        <p:sp>
          <p:nvSpPr>
            <p:cNvPr id="272" name="Google Shape;272;p49"/>
            <p:cNvSpPr/>
            <p:nvPr/>
          </p:nvSpPr>
          <p:spPr>
            <a:xfrm>
              <a:off x="8261825" y="4790414"/>
              <a:ext cx="885825" cy="349250"/>
            </a:xfrm>
            <a:custGeom>
              <a:avLst/>
              <a:gdLst/>
              <a:ahLst/>
              <a:cxnLst/>
              <a:rect l="l" t="t" r="r" b="b"/>
              <a:pathLst>
                <a:path w="885825" h="349250" extrusionOk="0">
                  <a:moveTo>
                    <a:pt x="885825" y="225425"/>
                  </a:moveTo>
                  <a:lnTo>
                    <a:pt x="885825" y="0"/>
                  </a:lnTo>
                  <a:lnTo>
                    <a:pt x="0" y="250825"/>
                  </a:lnTo>
                  <a:lnTo>
                    <a:pt x="0" y="349250"/>
                  </a:lnTo>
                  <a:lnTo>
                    <a:pt x="885825" y="225425"/>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273" name="Google Shape;273;p49"/>
            <p:cNvSpPr/>
            <p:nvPr/>
          </p:nvSpPr>
          <p:spPr>
            <a:xfrm>
              <a:off x="8064500" y="4844050"/>
              <a:ext cx="1083150" cy="318275"/>
            </a:xfrm>
            <a:custGeom>
              <a:avLst/>
              <a:gdLst/>
              <a:ahLst/>
              <a:cxnLst/>
              <a:rect l="l" t="t" r="r" b="b"/>
              <a:pathLst>
                <a:path w="1083150" h="318275" extrusionOk="0">
                  <a:moveTo>
                    <a:pt x="0" y="307900"/>
                  </a:moveTo>
                  <a:lnTo>
                    <a:pt x="1083150" y="0"/>
                  </a:lnTo>
                  <a:cubicBezTo>
                    <a:pt x="1082442" y="106092"/>
                    <a:pt x="1081733" y="212183"/>
                    <a:pt x="1081025" y="318275"/>
                  </a:cubicBezTo>
                  <a:lnTo>
                    <a:pt x="0" y="307900"/>
                  </a:lnTo>
                  <a:close/>
                </a:path>
              </a:pathLst>
            </a:cu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grpSp>
      <p:sp>
        <p:nvSpPr>
          <p:cNvPr id="274" name="Google Shape;274;p49"/>
          <p:cNvSpPr/>
          <p:nvPr/>
        </p:nvSpPr>
        <p:spPr>
          <a:xfrm>
            <a:off x="336000" y="6506083"/>
            <a:ext cx="858184" cy="171408"/>
          </a:xfrm>
          <a:custGeom>
            <a:avLst/>
            <a:gdLst/>
            <a:ahLst/>
            <a:cxnLst/>
            <a:rect l="l" t="t" r="r" b="b"/>
            <a:pathLst>
              <a:path w="1701" h="337" extrusionOk="0">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spcFirstLastPara="1" wrap="square" lIns="121850" tIns="60925" rIns="121850" bIns="60925" anchor="t" anchorCtr="0">
            <a:noAutofit/>
          </a:bodyPr>
          <a:lstStyle/>
          <a:p>
            <a:pPr marL="0" marR="0" lvl="0" indent="0" algn="l" rtl="0">
              <a:lnSpc>
                <a:spcPct val="100000"/>
              </a:lnSpc>
              <a:spcBef>
                <a:spcPts val="0"/>
              </a:spcBef>
              <a:spcAft>
                <a:spcPts val="0"/>
              </a:spcAft>
              <a:buClr>
                <a:srgbClr val="000000"/>
              </a:buClr>
              <a:buSzPts val="2397"/>
              <a:buFont typeface="Arial"/>
              <a:buNone/>
            </a:pPr>
            <a:endParaRPr sz="2397" b="0" i="0" u="none" strike="noStrike" cap="none">
              <a:solidFill>
                <a:schemeClr val="dk1"/>
              </a:solidFill>
              <a:latin typeface="Arial"/>
              <a:ea typeface="Arial"/>
              <a:cs typeface="Arial"/>
              <a:sym typeface="Arial"/>
            </a:endParaRPr>
          </a:p>
        </p:txBody>
      </p:sp>
      <p:sp>
        <p:nvSpPr>
          <p:cNvPr id="275" name="Google Shape;275;p49"/>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lt1"/>
                </a:solidFill>
                <a:latin typeface="Arial"/>
                <a:ea typeface="Arial"/>
                <a:cs typeface="Arial"/>
                <a:sym typeface="Arial"/>
              </a:rPr>
              <a:t>‹Nº›</a:t>
            </a:fld>
            <a:endParaRPr sz="1066" b="0" i="0" u="none" strike="noStrike" cap="none">
              <a:solidFill>
                <a:schemeClr val="lt1"/>
              </a:solidFill>
              <a:latin typeface="Arial"/>
              <a:ea typeface="Arial"/>
              <a:cs typeface="Arial"/>
              <a:sym typeface="Arial"/>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Amarillo sin endoso">
  <p:cSld name="Amarillo sin endoso">
    <p:spTree>
      <p:nvGrpSpPr>
        <p:cNvPr id="1" name="Shape 276"/>
        <p:cNvGrpSpPr/>
        <p:nvPr/>
      </p:nvGrpSpPr>
      <p:grpSpPr>
        <a:xfrm>
          <a:off x="0" y="0"/>
          <a:ext cx="0" cy="0"/>
          <a:chOff x="0" y="0"/>
          <a:chExt cx="0" cy="0"/>
        </a:xfrm>
      </p:grpSpPr>
      <p:sp>
        <p:nvSpPr>
          <p:cNvPr id="277" name="Google Shape;277;p50"/>
          <p:cNvSpPr txBox="1">
            <a:spLocks noGrp="1"/>
          </p:cNvSpPr>
          <p:nvPr>
            <p:ph type="title"/>
          </p:nvPr>
        </p:nvSpPr>
        <p:spPr>
          <a:xfrm>
            <a:off x="335999" y="649095"/>
            <a:ext cx="11521567" cy="919343"/>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2400"/>
              <a:buFont typeface="Playfair Display"/>
              <a:buNone/>
              <a:defRPr sz="2400"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78" name="Google Shape;278;p50"/>
          <p:cNvSpPr txBox="1">
            <a:spLocks noGrp="1"/>
          </p:cNvSpPr>
          <p:nvPr>
            <p:ph type="body" idx="1"/>
          </p:nvPr>
        </p:nvSpPr>
        <p:spPr>
          <a:xfrm>
            <a:off x="336001" y="357000"/>
            <a:ext cx="11521566" cy="251520"/>
          </a:xfrm>
          <a:prstGeom prst="rect">
            <a:avLst/>
          </a:prstGeom>
          <a:noFill/>
          <a:ln>
            <a:noFill/>
          </a:ln>
        </p:spPr>
        <p:txBody>
          <a:bodyPr spcFirstLastPara="1" wrap="square" lIns="0" tIns="45700" rIns="91425" bIns="45700" anchor="t" anchorCtr="0">
            <a:noAutofit/>
          </a:bodyPr>
          <a:lstStyle>
            <a:lvl1pPr marL="457200" marR="0" lvl="0" indent="-228600" algn="l" rtl="0">
              <a:lnSpc>
                <a:spcPct val="90000"/>
              </a:lnSpc>
              <a:spcBef>
                <a:spcPts val="999"/>
              </a:spcBef>
              <a:spcAft>
                <a:spcPts val="0"/>
              </a:spcAft>
              <a:buClr>
                <a:srgbClr val="1A3B47"/>
              </a:buClr>
              <a:buSzPts val="1000"/>
              <a:buFont typeface="Arial"/>
              <a:buNone/>
              <a:defRPr sz="1000" b="0" i="0" u="none" strike="noStrike" cap="none">
                <a:solidFill>
                  <a:srgbClr val="1A3B47"/>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399"/>
              <a:buFont typeface="Arial"/>
              <a:buNone/>
              <a:defRPr sz="2399"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grpSp>
        <p:nvGrpSpPr>
          <p:cNvPr id="279" name="Google Shape;279;p50"/>
          <p:cNvGrpSpPr/>
          <p:nvPr/>
        </p:nvGrpSpPr>
        <p:grpSpPr>
          <a:xfrm>
            <a:off x="10328936" y="6242390"/>
            <a:ext cx="1871531" cy="642611"/>
            <a:chOff x="8064500" y="4790414"/>
            <a:chExt cx="1083150" cy="371911"/>
          </a:xfrm>
        </p:grpSpPr>
        <p:sp>
          <p:nvSpPr>
            <p:cNvPr id="280" name="Google Shape;280;p50"/>
            <p:cNvSpPr/>
            <p:nvPr/>
          </p:nvSpPr>
          <p:spPr>
            <a:xfrm>
              <a:off x="8261825" y="4790414"/>
              <a:ext cx="885825" cy="349250"/>
            </a:xfrm>
            <a:custGeom>
              <a:avLst/>
              <a:gdLst/>
              <a:ahLst/>
              <a:cxnLst/>
              <a:rect l="l" t="t" r="r" b="b"/>
              <a:pathLst>
                <a:path w="885825" h="349250" extrusionOk="0">
                  <a:moveTo>
                    <a:pt x="885825" y="225425"/>
                  </a:moveTo>
                  <a:lnTo>
                    <a:pt x="885825" y="0"/>
                  </a:lnTo>
                  <a:lnTo>
                    <a:pt x="0" y="250825"/>
                  </a:lnTo>
                  <a:lnTo>
                    <a:pt x="0" y="349250"/>
                  </a:lnTo>
                  <a:lnTo>
                    <a:pt x="885825" y="225425"/>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281" name="Google Shape;281;p50"/>
            <p:cNvSpPr/>
            <p:nvPr/>
          </p:nvSpPr>
          <p:spPr>
            <a:xfrm>
              <a:off x="8064500" y="4844050"/>
              <a:ext cx="1083150" cy="318275"/>
            </a:xfrm>
            <a:custGeom>
              <a:avLst/>
              <a:gdLst/>
              <a:ahLst/>
              <a:cxnLst/>
              <a:rect l="l" t="t" r="r" b="b"/>
              <a:pathLst>
                <a:path w="1083150" h="318275" extrusionOk="0">
                  <a:moveTo>
                    <a:pt x="0" y="307900"/>
                  </a:moveTo>
                  <a:lnTo>
                    <a:pt x="1083150" y="0"/>
                  </a:lnTo>
                  <a:cubicBezTo>
                    <a:pt x="1082442" y="106092"/>
                    <a:pt x="1081733" y="212183"/>
                    <a:pt x="1081025" y="318275"/>
                  </a:cubicBezTo>
                  <a:lnTo>
                    <a:pt x="0" y="307900"/>
                  </a:lnTo>
                  <a:close/>
                </a:path>
              </a:pathLst>
            </a:cu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grpSp>
      <p:sp>
        <p:nvSpPr>
          <p:cNvPr id="282" name="Google Shape;282;p50"/>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lt1"/>
                </a:solidFill>
                <a:latin typeface="Arial"/>
                <a:ea typeface="Arial"/>
                <a:cs typeface="Arial"/>
                <a:sym typeface="Arial"/>
              </a:rPr>
              <a:t>‹Nº›</a:t>
            </a:fld>
            <a:endParaRPr sz="1066" b="0" i="0" u="none" strike="noStrike" cap="none">
              <a:solidFill>
                <a:schemeClr val="lt1"/>
              </a:solidFill>
              <a:latin typeface="Arial"/>
              <a:ea typeface="Arial"/>
              <a:cs typeface="Arial"/>
              <a:sym typeface="Aria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Limpia">
  <p:cSld name="Limpia">
    <p:spTree>
      <p:nvGrpSpPr>
        <p:cNvPr id="1" name="Shape 44"/>
        <p:cNvGrpSpPr/>
        <p:nvPr/>
      </p:nvGrpSpPr>
      <p:grpSpPr>
        <a:xfrm>
          <a:off x="0" y="0"/>
          <a:ext cx="0" cy="0"/>
          <a:chOff x="0" y="0"/>
          <a:chExt cx="0" cy="0"/>
        </a:xfrm>
      </p:grpSpPr>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Rosa endoso">
  <p:cSld name="Rosa endoso">
    <p:spTree>
      <p:nvGrpSpPr>
        <p:cNvPr id="1" name="Shape 283"/>
        <p:cNvGrpSpPr/>
        <p:nvPr/>
      </p:nvGrpSpPr>
      <p:grpSpPr>
        <a:xfrm>
          <a:off x="0" y="0"/>
          <a:ext cx="0" cy="0"/>
          <a:chOff x="0" y="0"/>
          <a:chExt cx="0" cy="0"/>
        </a:xfrm>
      </p:grpSpPr>
      <p:graphicFrame>
        <p:nvGraphicFramePr>
          <p:cNvPr id="284" name="Google Shape;284;p51"/>
          <p:cNvGraphicFramePr/>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6206" r:id="rId3" imgW="2117" imgH="2117" progId="TCLayout.ActiveDocument.1">
                  <p:embed/>
                </p:oleObj>
              </mc:Choice>
              <mc:Fallback>
                <p:oleObj r:id="rId3" imgW="2117" imgH="2117" progId="TCLayout.ActiveDocument.1">
                  <p:embed/>
                  <p:pic>
                    <p:nvPicPr>
                      <p:cNvPr id="284" name="Google Shape;284;p51"/>
                      <p:cNvPicPr preferRelativeResize="0"/>
                      <p:nvPr/>
                    </p:nvPicPr>
                    <p:blipFill rotWithShape="1">
                      <a:blip r:embed="rId4">
                        <a:alphaModFix/>
                      </a:blip>
                      <a:srcRect/>
                      <a:stretch/>
                    </p:blipFill>
                    <p:spPr>
                      <a:xfrm>
                        <a:off x="2117" y="2121"/>
                        <a:ext cx="2117" cy="2117"/>
                      </a:xfrm>
                      <a:prstGeom prst="rect">
                        <a:avLst/>
                      </a:prstGeom>
                      <a:noFill/>
                      <a:ln>
                        <a:noFill/>
                      </a:ln>
                    </p:spPr>
                  </p:pic>
                </p:oleObj>
              </mc:Fallback>
            </mc:AlternateContent>
          </a:graphicData>
        </a:graphic>
      </p:graphicFrame>
      <p:sp>
        <p:nvSpPr>
          <p:cNvPr id="285" name="Google Shape;285;p51"/>
          <p:cNvSpPr txBox="1">
            <a:spLocks noGrp="1"/>
          </p:cNvSpPr>
          <p:nvPr>
            <p:ph type="title"/>
          </p:nvPr>
        </p:nvSpPr>
        <p:spPr>
          <a:xfrm>
            <a:off x="336000" y="649095"/>
            <a:ext cx="11519451" cy="919343"/>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2400"/>
              <a:buFont typeface="Playfair Display"/>
              <a:buNone/>
              <a:defRPr sz="2400"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86" name="Google Shape;286;p51"/>
          <p:cNvSpPr txBox="1">
            <a:spLocks noGrp="1"/>
          </p:cNvSpPr>
          <p:nvPr>
            <p:ph type="body" idx="1"/>
          </p:nvPr>
        </p:nvSpPr>
        <p:spPr>
          <a:xfrm>
            <a:off x="336000" y="357000"/>
            <a:ext cx="11519451" cy="251520"/>
          </a:xfrm>
          <a:prstGeom prst="rect">
            <a:avLst/>
          </a:prstGeom>
          <a:noFill/>
          <a:ln>
            <a:noFill/>
          </a:ln>
        </p:spPr>
        <p:txBody>
          <a:bodyPr spcFirstLastPara="1" wrap="square" lIns="0" tIns="45700" rIns="91425" bIns="45700" anchor="t" anchorCtr="0">
            <a:noAutofit/>
          </a:bodyPr>
          <a:lstStyle>
            <a:lvl1pPr marL="457200" marR="0" lvl="0" indent="-228600" algn="l" rtl="0">
              <a:lnSpc>
                <a:spcPct val="90000"/>
              </a:lnSpc>
              <a:spcBef>
                <a:spcPts val="999"/>
              </a:spcBef>
              <a:spcAft>
                <a:spcPts val="0"/>
              </a:spcAft>
              <a:buClr>
                <a:srgbClr val="1A3B47"/>
              </a:buClr>
              <a:buSzPts val="1000"/>
              <a:buFont typeface="Arial"/>
              <a:buNone/>
              <a:defRPr sz="1000" b="0" i="0" u="none" strike="noStrike" cap="none">
                <a:solidFill>
                  <a:srgbClr val="1A3B47"/>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399"/>
              <a:buFont typeface="Arial"/>
              <a:buNone/>
              <a:defRPr sz="2399"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grpSp>
        <p:nvGrpSpPr>
          <p:cNvPr id="287" name="Google Shape;287;p51"/>
          <p:cNvGrpSpPr/>
          <p:nvPr/>
        </p:nvGrpSpPr>
        <p:grpSpPr>
          <a:xfrm>
            <a:off x="10328936" y="6242390"/>
            <a:ext cx="1871531" cy="642611"/>
            <a:chOff x="8064500" y="4790414"/>
            <a:chExt cx="1083150" cy="371911"/>
          </a:xfrm>
        </p:grpSpPr>
        <p:sp>
          <p:nvSpPr>
            <p:cNvPr id="288" name="Google Shape;288;p51"/>
            <p:cNvSpPr/>
            <p:nvPr/>
          </p:nvSpPr>
          <p:spPr>
            <a:xfrm>
              <a:off x="8261825" y="4790414"/>
              <a:ext cx="885825" cy="349250"/>
            </a:xfrm>
            <a:custGeom>
              <a:avLst/>
              <a:gdLst/>
              <a:ahLst/>
              <a:cxnLst/>
              <a:rect l="l" t="t" r="r" b="b"/>
              <a:pathLst>
                <a:path w="885825" h="349250" extrusionOk="0">
                  <a:moveTo>
                    <a:pt x="885825" y="225425"/>
                  </a:moveTo>
                  <a:lnTo>
                    <a:pt x="885825" y="0"/>
                  </a:lnTo>
                  <a:lnTo>
                    <a:pt x="0" y="250825"/>
                  </a:lnTo>
                  <a:lnTo>
                    <a:pt x="0" y="349250"/>
                  </a:lnTo>
                  <a:lnTo>
                    <a:pt x="885825" y="225425"/>
                  </a:lnTo>
                  <a:close/>
                </a:path>
              </a:pathLst>
            </a:cu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289" name="Google Shape;289;p51"/>
            <p:cNvSpPr/>
            <p:nvPr/>
          </p:nvSpPr>
          <p:spPr>
            <a:xfrm>
              <a:off x="8064500" y="4844050"/>
              <a:ext cx="1083150" cy="318275"/>
            </a:xfrm>
            <a:custGeom>
              <a:avLst/>
              <a:gdLst/>
              <a:ahLst/>
              <a:cxnLst/>
              <a:rect l="l" t="t" r="r" b="b"/>
              <a:pathLst>
                <a:path w="1083150" h="318275" extrusionOk="0">
                  <a:moveTo>
                    <a:pt x="0" y="307900"/>
                  </a:moveTo>
                  <a:lnTo>
                    <a:pt x="1083150" y="0"/>
                  </a:lnTo>
                  <a:cubicBezTo>
                    <a:pt x="1082442" y="106092"/>
                    <a:pt x="1081733" y="212183"/>
                    <a:pt x="1081025" y="318275"/>
                  </a:cubicBezTo>
                  <a:lnTo>
                    <a:pt x="0" y="307900"/>
                  </a:lnTo>
                  <a:close/>
                </a:path>
              </a:pathLst>
            </a:cu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grpSp>
      <p:sp>
        <p:nvSpPr>
          <p:cNvPr id="290" name="Google Shape;290;p51"/>
          <p:cNvSpPr/>
          <p:nvPr/>
        </p:nvSpPr>
        <p:spPr>
          <a:xfrm>
            <a:off x="336000" y="6506083"/>
            <a:ext cx="858184" cy="171408"/>
          </a:xfrm>
          <a:custGeom>
            <a:avLst/>
            <a:gdLst/>
            <a:ahLst/>
            <a:cxnLst/>
            <a:rect l="l" t="t" r="r" b="b"/>
            <a:pathLst>
              <a:path w="1701" h="337" extrusionOk="0">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spcFirstLastPara="1" wrap="square" lIns="121850" tIns="60925" rIns="121850" bIns="60925" anchor="t" anchorCtr="0">
            <a:noAutofit/>
          </a:bodyPr>
          <a:lstStyle/>
          <a:p>
            <a:pPr marL="0" marR="0" lvl="0" indent="0" algn="l" rtl="0">
              <a:lnSpc>
                <a:spcPct val="100000"/>
              </a:lnSpc>
              <a:spcBef>
                <a:spcPts val="0"/>
              </a:spcBef>
              <a:spcAft>
                <a:spcPts val="0"/>
              </a:spcAft>
              <a:buClr>
                <a:srgbClr val="000000"/>
              </a:buClr>
              <a:buSzPts val="2397"/>
              <a:buFont typeface="Arial"/>
              <a:buNone/>
            </a:pPr>
            <a:endParaRPr sz="2397" b="0" i="0" u="none" strike="noStrike" cap="none">
              <a:solidFill>
                <a:schemeClr val="dk1"/>
              </a:solidFill>
              <a:latin typeface="Arial"/>
              <a:ea typeface="Arial"/>
              <a:cs typeface="Arial"/>
              <a:sym typeface="Arial"/>
            </a:endParaRPr>
          </a:p>
        </p:txBody>
      </p:sp>
      <p:sp>
        <p:nvSpPr>
          <p:cNvPr id="291" name="Google Shape;291;p51"/>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lt1"/>
                </a:solidFill>
                <a:latin typeface="Arial"/>
                <a:ea typeface="Arial"/>
                <a:cs typeface="Arial"/>
                <a:sym typeface="Arial"/>
              </a:rPr>
              <a:t>‹Nº›</a:t>
            </a:fld>
            <a:endParaRPr sz="1066" b="0" i="0" u="none" strike="noStrike" cap="none">
              <a:solidFill>
                <a:schemeClr val="lt1"/>
              </a:solidFill>
              <a:latin typeface="Arial"/>
              <a:ea typeface="Arial"/>
              <a:cs typeface="Arial"/>
              <a:sym typeface="Aria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Rosa sin endoso">
  <p:cSld name="Rosa sin endoso">
    <p:spTree>
      <p:nvGrpSpPr>
        <p:cNvPr id="1" name="Shape 292"/>
        <p:cNvGrpSpPr/>
        <p:nvPr/>
      </p:nvGrpSpPr>
      <p:grpSpPr>
        <a:xfrm>
          <a:off x="0" y="0"/>
          <a:ext cx="0" cy="0"/>
          <a:chOff x="0" y="0"/>
          <a:chExt cx="0" cy="0"/>
        </a:xfrm>
      </p:grpSpPr>
      <p:sp>
        <p:nvSpPr>
          <p:cNvPr id="293" name="Google Shape;293;p52"/>
          <p:cNvSpPr txBox="1">
            <a:spLocks noGrp="1"/>
          </p:cNvSpPr>
          <p:nvPr>
            <p:ph type="title"/>
          </p:nvPr>
        </p:nvSpPr>
        <p:spPr>
          <a:xfrm>
            <a:off x="336000" y="649095"/>
            <a:ext cx="11519451" cy="919343"/>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2400"/>
              <a:buFont typeface="Playfair Display"/>
              <a:buNone/>
              <a:defRPr sz="2400"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94" name="Google Shape;294;p52"/>
          <p:cNvSpPr txBox="1">
            <a:spLocks noGrp="1"/>
          </p:cNvSpPr>
          <p:nvPr>
            <p:ph type="body" idx="1"/>
          </p:nvPr>
        </p:nvSpPr>
        <p:spPr>
          <a:xfrm>
            <a:off x="336000" y="357000"/>
            <a:ext cx="11519451" cy="251520"/>
          </a:xfrm>
          <a:prstGeom prst="rect">
            <a:avLst/>
          </a:prstGeom>
          <a:noFill/>
          <a:ln>
            <a:noFill/>
          </a:ln>
        </p:spPr>
        <p:txBody>
          <a:bodyPr spcFirstLastPara="1" wrap="square" lIns="0" tIns="45700" rIns="91425" bIns="45700" anchor="t" anchorCtr="0">
            <a:noAutofit/>
          </a:bodyPr>
          <a:lstStyle>
            <a:lvl1pPr marL="457200" marR="0" lvl="0" indent="-228600" algn="l" rtl="0">
              <a:lnSpc>
                <a:spcPct val="90000"/>
              </a:lnSpc>
              <a:spcBef>
                <a:spcPts val="999"/>
              </a:spcBef>
              <a:spcAft>
                <a:spcPts val="0"/>
              </a:spcAft>
              <a:buClr>
                <a:srgbClr val="1A3B47"/>
              </a:buClr>
              <a:buSzPts val="1000"/>
              <a:buFont typeface="Arial"/>
              <a:buNone/>
              <a:defRPr sz="1000" b="0" i="0" u="none" strike="noStrike" cap="none">
                <a:solidFill>
                  <a:srgbClr val="1A3B47"/>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399"/>
              <a:buFont typeface="Arial"/>
              <a:buNone/>
              <a:defRPr sz="2399"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grpSp>
        <p:nvGrpSpPr>
          <p:cNvPr id="295" name="Google Shape;295;p52"/>
          <p:cNvGrpSpPr/>
          <p:nvPr/>
        </p:nvGrpSpPr>
        <p:grpSpPr>
          <a:xfrm>
            <a:off x="10328936" y="6242390"/>
            <a:ext cx="1871531" cy="642611"/>
            <a:chOff x="8064500" y="4790414"/>
            <a:chExt cx="1083150" cy="371911"/>
          </a:xfrm>
        </p:grpSpPr>
        <p:sp>
          <p:nvSpPr>
            <p:cNvPr id="296" name="Google Shape;296;p52"/>
            <p:cNvSpPr/>
            <p:nvPr/>
          </p:nvSpPr>
          <p:spPr>
            <a:xfrm>
              <a:off x="8261825" y="4790414"/>
              <a:ext cx="885825" cy="349250"/>
            </a:xfrm>
            <a:custGeom>
              <a:avLst/>
              <a:gdLst/>
              <a:ahLst/>
              <a:cxnLst/>
              <a:rect l="l" t="t" r="r" b="b"/>
              <a:pathLst>
                <a:path w="885825" h="349250" extrusionOk="0">
                  <a:moveTo>
                    <a:pt x="885825" y="225425"/>
                  </a:moveTo>
                  <a:lnTo>
                    <a:pt x="885825" y="0"/>
                  </a:lnTo>
                  <a:lnTo>
                    <a:pt x="0" y="250825"/>
                  </a:lnTo>
                  <a:lnTo>
                    <a:pt x="0" y="349250"/>
                  </a:lnTo>
                  <a:lnTo>
                    <a:pt x="885825" y="225425"/>
                  </a:lnTo>
                  <a:close/>
                </a:path>
              </a:pathLst>
            </a:custGeom>
            <a:solidFill>
              <a:schemeClr val="accent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297" name="Google Shape;297;p52"/>
            <p:cNvSpPr/>
            <p:nvPr/>
          </p:nvSpPr>
          <p:spPr>
            <a:xfrm>
              <a:off x="8064500" y="4844050"/>
              <a:ext cx="1083150" cy="318275"/>
            </a:xfrm>
            <a:custGeom>
              <a:avLst/>
              <a:gdLst/>
              <a:ahLst/>
              <a:cxnLst/>
              <a:rect l="l" t="t" r="r" b="b"/>
              <a:pathLst>
                <a:path w="1083150" h="318275" extrusionOk="0">
                  <a:moveTo>
                    <a:pt x="0" y="307900"/>
                  </a:moveTo>
                  <a:lnTo>
                    <a:pt x="1083150" y="0"/>
                  </a:lnTo>
                  <a:cubicBezTo>
                    <a:pt x="1082442" y="106092"/>
                    <a:pt x="1081733" y="212183"/>
                    <a:pt x="1081025" y="318275"/>
                  </a:cubicBezTo>
                  <a:lnTo>
                    <a:pt x="0" y="307900"/>
                  </a:lnTo>
                  <a:close/>
                </a:path>
              </a:pathLst>
            </a:cu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grpSp>
      <p:sp>
        <p:nvSpPr>
          <p:cNvPr id="298" name="Google Shape;298;p52"/>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lt1"/>
                </a:solidFill>
                <a:latin typeface="Arial"/>
                <a:ea typeface="Arial"/>
                <a:cs typeface="Arial"/>
                <a:sym typeface="Arial"/>
              </a:rPr>
              <a:t>‹Nº›</a:t>
            </a:fld>
            <a:endParaRPr sz="1066" b="0" i="0" u="none" strike="noStrike" cap="none">
              <a:solidFill>
                <a:schemeClr val="lt1"/>
              </a:solidFill>
              <a:latin typeface="Arial"/>
              <a:ea typeface="Arial"/>
              <a:cs typeface="Arial"/>
              <a:sym typeface="Arial"/>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Verde sin endoso">
  <p:cSld name="Verde sin endoso">
    <p:spTree>
      <p:nvGrpSpPr>
        <p:cNvPr id="1" name="Shape 299"/>
        <p:cNvGrpSpPr/>
        <p:nvPr/>
      </p:nvGrpSpPr>
      <p:grpSpPr>
        <a:xfrm>
          <a:off x="0" y="0"/>
          <a:ext cx="0" cy="0"/>
          <a:chOff x="0" y="0"/>
          <a:chExt cx="0" cy="0"/>
        </a:xfrm>
      </p:grpSpPr>
      <p:sp>
        <p:nvSpPr>
          <p:cNvPr id="300" name="Google Shape;300;p53"/>
          <p:cNvSpPr txBox="1">
            <a:spLocks noGrp="1"/>
          </p:cNvSpPr>
          <p:nvPr>
            <p:ph type="title"/>
          </p:nvPr>
        </p:nvSpPr>
        <p:spPr>
          <a:xfrm>
            <a:off x="336000" y="649095"/>
            <a:ext cx="11519451" cy="919343"/>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2400"/>
              <a:buFont typeface="Playfair Display"/>
              <a:buNone/>
              <a:defRPr sz="2400"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301" name="Google Shape;301;p53"/>
          <p:cNvSpPr txBox="1">
            <a:spLocks noGrp="1"/>
          </p:cNvSpPr>
          <p:nvPr>
            <p:ph type="body" idx="1"/>
          </p:nvPr>
        </p:nvSpPr>
        <p:spPr>
          <a:xfrm>
            <a:off x="336000" y="357000"/>
            <a:ext cx="11519451" cy="251520"/>
          </a:xfrm>
          <a:prstGeom prst="rect">
            <a:avLst/>
          </a:prstGeom>
          <a:noFill/>
          <a:ln>
            <a:noFill/>
          </a:ln>
        </p:spPr>
        <p:txBody>
          <a:bodyPr spcFirstLastPara="1" wrap="square" lIns="0" tIns="45700" rIns="91425" bIns="45700" anchor="t" anchorCtr="0">
            <a:noAutofit/>
          </a:bodyPr>
          <a:lstStyle>
            <a:lvl1pPr marL="457200" marR="0" lvl="0" indent="-228600" algn="l" rtl="0">
              <a:lnSpc>
                <a:spcPct val="90000"/>
              </a:lnSpc>
              <a:spcBef>
                <a:spcPts val="999"/>
              </a:spcBef>
              <a:spcAft>
                <a:spcPts val="0"/>
              </a:spcAft>
              <a:buClr>
                <a:srgbClr val="1A3B47"/>
              </a:buClr>
              <a:buSzPts val="1000"/>
              <a:buFont typeface="Arial"/>
              <a:buNone/>
              <a:defRPr sz="1000" b="0" i="0" u="none" strike="noStrike" cap="none">
                <a:solidFill>
                  <a:srgbClr val="1A3B47"/>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399"/>
              <a:buFont typeface="Arial"/>
              <a:buNone/>
              <a:defRPr sz="2399"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grpSp>
        <p:nvGrpSpPr>
          <p:cNvPr id="302" name="Google Shape;302;p53"/>
          <p:cNvGrpSpPr/>
          <p:nvPr/>
        </p:nvGrpSpPr>
        <p:grpSpPr>
          <a:xfrm>
            <a:off x="10328936" y="6242390"/>
            <a:ext cx="1871531" cy="642611"/>
            <a:chOff x="8064500" y="4790414"/>
            <a:chExt cx="1083150" cy="371911"/>
          </a:xfrm>
        </p:grpSpPr>
        <p:sp>
          <p:nvSpPr>
            <p:cNvPr id="303" name="Google Shape;303;p53"/>
            <p:cNvSpPr/>
            <p:nvPr/>
          </p:nvSpPr>
          <p:spPr>
            <a:xfrm>
              <a:off x="8261825" y="4790414"/>
              <a:ext cx="885825" cy="349250"/>
            </a:xfrm>
            <a:custGeom>
              <a:avLst/>
              <a:gdLst/>
              <a:ahLst/>
              <a:cxnLst/>
              <a:rect l="l" t="t" r="r" b="b"/>
              <a:pathLst>
                <a:path w="885825" h="349250" extrusionOk="0">
                  <a:moveTo>
                    <a:pt x="885825" y="225425"/>
                  </a:moveTo>
                  <a:lnTo>
                    <a:pt x="885825" y="0"/>
                  </a:lnTo>
                  <a:lnTo>
                    <a:pt x="0" y="250825"/>
                  </a:lnTo>
                  <a:lnTo>
                    <a:pt x="0" y="349250"/>
                  </a:lnTo>
                  <a:lnTo>
                    <a:pt x="885825" y="225425"/>
                  </a:lnTo>
                  <a:close/>
                </a:path>
              </a:pathLst>
            </a:cu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304" name="Google Shape;304;p53"/>
            <p:cNvSpPr/>
            <p:nvPr/>
          </p:nvSpPr>
          <p:spPr>
            <a:xfrm>
              <a:off x="8064500" y="4844050"/>
              <a:ext cx="1083150" cy="318275"/>
            </a:xfrm>
            <a:custGeom>
              <a:avLst/>
              <a:gdLst/>
              <a:ahLst/>
              <a:cxnLst/>
              <a:rect l="l" t="t" r="r" b="b"/>
              <a:pathLst>
                <a:path w="1083150" h="318275" extrusionOk="0">
                  <a:moveTo>
                    <a:pt x="0" y="307900"/>
                  </a:moveTo>
                  <a:lnTo>
                    <a:pt x="1083150" y="0"/>
                  </a:lnTo>
                  <a:cubicBezTo>
                    <a:pt x="1082442" y="106092"/>
                    <a:pt x="1081733" y="212183"/>
                    <a:pt x="1081025" y="318275"/>
                  </a:cubicBezTo>
                  <a:lnTo>
                    <a:pt x="0" y="307900"/>
                  </a:lnTo>
                  <a:close/>
                </a:path>
              </a:pathLst>
            </a:cu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grpSp>
      <p:sp>
        <p:nvSpPr>
          <p:cNvPr id="305" name="Google Shape;305;p53"/>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lt1"/>
                </a:solidFill>
                <a:latin typeface="Arial"/>
                <a:ea typeface="Arial"/>
                <a:cs typeface="Arial"/>
                <a:sym typeface="Arial"/>
              </a:rPr>
              <a:t>‹Nº›</a:t>
            </a:fld>
            <a:endParaRPr sz="1066" b="0" i="0" u="none" strike="noStrike" cap="none">
              <a:solidFill>
                <a:schemeClr val="lt1"/>
              </a:solidFill>
              <a:latin typeface="Arial"/>
              <a:ea typeface="Arial"/>
              <a:cs typeface="Arial"/>
              <a:sym typeface="Arial"/>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Azul endoso">
  <p:cSld name="Azul endoso">
    <p:spTree>
      <p:nvGrpSpPr>
        <p:cNvPr id="1" name="Shape 306"/>
        <p:cNvGrpSpPr/>
        <p:nvPr/>
      </p:nvGrpSpPr>
      <p:grpSpPr>
        <a:xfrm>
          <a:off x="0" y="0"/>
          <a:ext cx="0" cy="0"/>
          <a:chOff x="0" y="0"/>
          <a:chExt cx="0" cy="0"/>
        </a:xfrm>
      </p:grpSpPr>
      <p:graphicFrame>
        <p:nvGraphicFramePr>
          <p:cNvPr id="307" name="Google Shape;307;p54"/>
          <p:cNvGraphicFramePr/>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7230" r:id="rId3" imgW="2117" imgH="2117" progId="TCLayout.ActiveDocument.1">
                  <p:embed/>
                </p:oleObj>
              </mc:Choice>
              <mc:Fallback>
                <p:oleObj r:id="rId3" imgW="2117" imgH="2117" progId="TCLayout.ActiveDocument.1">
                  <p:embed/>
                  <p:pic>
                    <p:nvPicPr>
                      <p:cNvPr id="307" name="Google Shape;307;p54"/>
                      <p:cNvPicPr preferRelativeResize="0"/>
                      <p:nvPr/>
                    </p:nvPicPr>
                    <p:blipFill rotWithShape="1">
                      <a:blip r:embed="rId4">
                        <a:alphaModFix/>
                      </a:blip>
                      <a:srcRect/>
                      <a:stretch/>
                    </p:blipFill>
                    <p:spPr>
                      <a:xfrm>
                        <a:off x="2117" y="2121"/>
                        <a:ext cx="2117" cy="2117"/>
                      </a:xfrm>
                      <a:prstGeom prst="rect">
                        <a:avLst/>
                      </a:prstGeom>
                      <a:noFill/>
                      <a:ln>
                        <a:noFill/>
                      </a:ln>
                    </p:spPr>
                  </p:pic>
                </p:oleObj>
              </mc:Fallback>
            </mc:AlternateContent>
          </a:graphicData>
        </a:graphic>
      </p:graphicFrame>
      <p:sp>
        <p:nvSpPr>
          <p:cNvPr id="308" name="Google Shape;308;p54"/>
          <p:cNvSpPr txBox="1">
            <a:spLocks noGrp="1"/>
          </p:cNvSpPr>
          <p:nvPr>
            <p:ph type="title"/>
          </p:nvPr>
        </p:nvSpPr>
        <p:spPr>
          <a:xfrm>
            <a:off x="336000" y="649095"/>
            <a:ext cx="11519451" cy="919343"/>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2400"/>
              <a:buFont typeface="Playfair Display"/>
              <a:buNone/>
              <a:defRPr sz="2400"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309" name="Google Shape;309;p54"/>
          <p:cNvSpPr txBox="1">
            <a:spLocks noGrp="1"/>
          </p:cNvSpPr>
          <p:nvPr>
            <p:ph type="body" idx="1"/>
          </p:nvPr>
        </p:nvSpPr>
        <p:spPr>
          <a:xfrm>
            <a:off x="336000" y="357000"/>
            <a:ext cx="11519451" cy="251520"/>
          </a:xfrm>
          <a:prstGeom prst="rect">
            <a:avLst/>
          </a:prstGeom>
          <a:noFill/>
          <a:ln>
            <a:noFill/>
          </a:ln>
        </p:spPr>
        <p:txBody>
          <a:bodyPr spcFirstLastPara="1" wrap="square" lIns="0" tIns="45700" rIns="91425" bIns="45700" anchor="t" anchorCtr="0">
            <a:noAutofit/>
          </a:bodyPr>
          <a:lstStyle>
            <a:lvl1pPr marL="457200" marR="0" lvl="0" indent="-228600" algn="l" rtl="0">
              <a:lnSpc>
                <a:spcPct val="90000"/>
              </a:lnSpc>
              <a:spcBef>
                <a:spcPts val="999"/>
              </a:spcBef>
              <a:spcAft>
                <a:spcPts val="0"/>
              </a:spcAft>
              <a:buClr>
                <a:srgbClr val="1A3B47"/>
              </a:buClr>
              <a:buSzPts val="1000"/>
              <a:buFont typeface="Arial"/>
              <a:buNone/>
              <a:defRPr sz="1000" b="0" i="0" u="none" strike="noStrike" cap="none">
                <a:solidFill>
                  <a:srgbClr val="1A3B47"/>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399"/>
              <a:buFont typeface="Arial"/>
              <a:buNone/>
              <a:defRPr sz="2399"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grpSp>
        <p:nvGrpSpPr>
          <p:cNvPr id="310" name="Google Shape;310;p54"/>
          <p:cNvGrpSpPr/>
          <p:nvPr/>
        </p:nvGrpSpPr>
        <p:grpSpPr>
          <a:xfrm>
            <a:off x="10328936" y="6242390"/>
            <a:ext cx="1871531" cy="642611"/>
            <a:chOff x="8064500" y="4790414"/>
            <a:chExt cx="1083150" cy="371911"/>
          </a:xfrm>
        </p:grpSpPr>
        <p:sp>
          <p:nvSpPr>
            <p:cNvPr id="311" name="Google Shape;311;p54"/>
            <p:cNvSpPr/>
            <p:nvPr/>
          </p:nvSpPr>
          <p:spPr>
            <a:xfrm>
              <a:off x="8261825" y="4790414"/>
              <a:ext cx="885825" cy="349250"/>
            </a:xfrm>
            <a:custGeom>
              <a:avLst/>
              <a:gdLst/>
              <a:ahLst/>
              <a:cxnLst/>
              <a:rect l="l" t="t" r="r" b="b"/>
              <a:pathLst>
                <a:path w="885825" h="349250" extrusionOk="0">
                  <a:moveTo>
                    <a:pt x="885825" y="225425"/>
                  </a:moveTo>
                  <a:lnTo>
                    <a:pt x="885825" y="0"/>
                  </a:lnTo>
                  <a:lnTo>
                    <a:pt x="0" y="250825"/>
                  </a:lnTo>
                  <a:lnTo>
                    <a:pt x="0" y="349250"/>
                  </a:lnTo>
                  <a:lnTo>
                    <a:pt x="885825" y="225425"/>
                  </a:lnTo>
                  <a:close/>
                </a:path>
              </a:pathLst>
            </a:cu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312" name="Google Shape;312;p54"/>
            <p:cNvSpPr/>
            <p:nvPr/>
          </p:nvSpPr>
          <p:spPr>
            <a:xfrm>
              <a:off x="8064500" y="4844050"/>
              <a:ext cx="1083150" cy="318275"/>
            </a:xfrm>
            <a:custGeom>
              <a:avLst/>
              <a:gdLst/>
              <a:ahLst/>
              <a:cxnLst/>
              <a:rect l="l" t="t" r="r" b="b"/>
              <a:pathLst>
                <a:path w="1083150" h="318275" extrusionOk="0">
                  <a:moveTo>
                    <a:pt x="0" y="307900"/>
                  </a:moveTo>
                  <a:lnTo>
                    <a:pt x="1083150" y="0"/>
                  </a:lnTo>
                  <a:cubicBezTo>
                    <a:pt x="1082442" y="106092"/>
                    <a:pt x="1081733" y="212183"/>
                    <a:pt x="1081025" y="318275"/>
                  </a:cubicBezTo>
                  <a:lnTo>
                    <a:pt x="0" y="307900"/>
                  </a:lnTo>
                  <a:close/>
                </a:path>
              </a:pathLst>
            </a:cu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grpSp>
      <p:pic>
        <p:nvPicPr>
          <p:cNvPr id="313" name="Google Shape;313;p54"/>
          <p:cNvPicPr preferRelativeResize="0"/>
          <p:nvPr/>
        </p:nvPicPr>
        <p:blipFill rotWithShape="1">
          <a:blip r:embed="rId5">
            <a:alphaModFix/>
          </a:blip>
          <a:srcRect/>
          <a:stretch/>
        </p:blipFill>
        <p:spPr>
          <a:xfrm>
            <a:off x="8887258" y="6540533"/>
            <a:ext cx="1145182" cy="248840"/>
          </a:xfrm>
          <a:prstGeom prst="rect">
            <a:avLst/>
          </a:prstGeom>
          <a:noFill/>
          <a:ln>
            <a:noFill/>
          </a:ln>
        </p:spPr>
      </p:pic>
      <p:sp>
        <p:nvSpPr>
          <p:cNvPr id="314" name="Google Shape;314;p54"/>
          <p:cNvSpPr/>
          <p:nvPr/>
        </p:nvSpPr>
        <p:spPr>
          <a:xfrm>
            <a:off x="336000" y="6506083"/>
            <a:ext cx="858184" cy="171408"/>
          </a:xfrm>
          <a:custGeom>
            <a:avLst/>
            <a:gdLst/>
            <a:ahLst/>
            <a:cxnLst/>
            <a:rect l="l" t="t" r="r" b="b"/>
            <a:pathLst>
              <a:path w="1701" h="337" extrusionOk="0">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spcFirstLastPara="1" wrap="square" lIns="121850" tIns="60925" rIns="121850" bIns="60925" anchor="t" anchorCtr="0">
            <a:noAutofit/>
          </a:bodyPr>
          <a:lstStyle/>
          <a:p>
            <a:pPr marL="0" marR="0" lvl="0" indent="0" algn="l" rtl="0">
              <a:lnSpc>
                <a:spcPct val="100000"/>
              </a:lnSpc>
              <a:spcBef>
                <a:spcPts val="0"/>
              </a:spcBef>
              <a:spcAft>
                <a:spcPts val="0"/>
              </a:spcAft>
              <a:buClr>
                <a:srgbClr val="000000"/>
              </a:buClr>
              <a:buSzPts val="2397"/>
              <a:buFont typeface="Arial"/>
              <a:buNone/>
            </a:pPr>
            <a:endParaRPr sz="2397" b="0" i="0" u="none" strike="noStrike" cap="none">
              <a:solidFill>
                <a:schemeClr val="dk1"/>
              </a:solidFill>
              <a:latin typeface="Arial"/>
              <a:ea typeface="Arial"/>
              <a:cs typeface="Arial"/>
              <a:sym typeface="Arial"/>
            </a:endParaRPr>
          </a:p>
        </p:txBody>
      </p:sp>
      <p:sp>
        <p:nvSpPr>
          <p:cNvPr id="315" name="Google Shape;315;p54"/>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lt1"/>
                </a:solidFill>
                <a:latin typeface="Arial"/>
                <a:ea typeface="Arial"/>
                <a:cs typeface="Arial"/>
                <a:sym typeface="Arial"/>
              </a:rPr>
              <a:t>‹Nº›</a:t>
            </a:fld>
            <a:endParaRPr sz="1066" b="0" i="0" u="none" strike="noStrike" cap="none">
              <a:solidFill>
                <a:schemeClr val="lt1"/>
              </a:solidFill>
              <a:latin typeface="Arial"/>
              <a:ea typeface="Arial"/>
              <a:cs typeface="Arial"/>
              <a:sym typeface="Arial"/>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Azul sin endoso">
  <p:cSld name="Azul sin endoso">
    <p:spTree>
      <p:nvGrpSpPr>
        <p:cNvPr id="1" name="Shape 316"/>
        <p:cNvGrpSpPr/>
        <p:nvPr/>
      </p:nvGrpSpPr>
      <p:grpSpPr>
        <a:xfrm>
          <a:off x="0" y="0"/>
          <a:ext cx="0" cy="0"/>
          <a:chOff x="0" y="0"/>
          <a:chExt cx="0" cy="0"/>
        </a:xfrm>
      </p:grpSpPr>
      <p:sp>
        <p:nvSpPr>
          <p:cNvPr id="317" name="Google Shape;317;p55"/>
          <p:cNvSpPr txBox="1">
            <a:spLocks noGrp="1"/>
          </p:cNvSpPr>
          <p:nvPr>
            <p:ph type="title"/>
          </p:nvPr>
        </p:nvSpPr>
        <p:spPr>
          <a:xfrm>
            <a:off x="336000" y="649095"/>
            <a:ext cx="11519451" cy="919343"/>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2400"/>
              <a:buFont typeface="Playfair Display"/>
              <a:buNone/>
              <a:defRPr sz="2400"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318" name="Google Shape;318;p55"/>
          <p:cNvSpPr txBox="1">
            <a:spLocks noGrp="1"/>
          </p:cNvSpPr>
          <p:nvPr>
            <p:ph type="body" idx="1"/>
          </p:nvPr>
        </p:nvSpPr>
        <p:spPr>
          <a:xfrm>
            <a:off x="336000" y="357000"/>
            <a:ext cx="11519451" cy="251520"/>
          </a:xfrm>
          <a:prstGeom prst="rect">
            <a:avLst/>
          </a:prstGeom>
          <a:noFill/>
          <a:ln>
            <a:noFill/>
          </a:ln>
        </p:spPr>
        <p:txBody>
          <a:bodyPr spcFirstLastPara="1" wrap="square" lIns="0" tIns="45700" rIns="91425" bIns="45700" anchor="t" anchorCtr="0">
            <a:noAutofit/>
          </a:bodyPr>
          <a:lstStyle>
            <a:lvl1pPr marL="457200" marR="0" lvl="0" indent="-228600" algn="l" rtl="0">
              <a:lnSpc>
                <a:spcPct val="90000"/>
              </a:lnSpc>
              <a:spcBef>
                <a:spcPts val="999"/>
              </a:spcBef>
              <a:spcAft>
                <a:spcPts val="0"/>
              </a:spcAft>
              <a:buClr>
                <a:srgbClr val="1A3B47"/>
              </a:buClr>
              <a:buSzPts val="1000"/>
              <a:buFont typeface="Arial"/>
              <a:buNone/>
              <a:defRPr sz="1000" b="0" i="0" u="none" strike="noStrike" cap="none">
                <a:solidFill>
                  <a:srgbClr val="1A3B47"/>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399"/>
              <a:buFont typeface="Arial"/>
              <a:buNone/>
              <a:defRPr sz="2399"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grpSp>
        <p:nvGrpSpPr>
          <p:cNvPr id="319" name="Google Shape;319;p55"/>
          <p:cNvGrpSpPr/>
          <p:nvPr/>
        </p:nvGrpSpPr>
        <p:grpSpPr>
          <a:xfrm>
            <a:off x="10328936" y="6242390"/>
            <a:ext cx="1871531" cy="642611"/>
            <a:chOff x="8064500" y="4790414"/>
            <a:chExt cx="1083150" cy="371911"/>
          </a:xfrm>
        </p:grpSpPr>
        <p:sp>
          <p:nvSpPr>
            <p:cNvPr id="320" name="Google Shape;320;p55"/>
            <p:cNvSpPr/>
            <p:nvPr/>
          </p:nvSpPr>
          <p:spPr>
            <a:xfrm>
              <a:off x="8261825" y="4790414"/>
              <a:ext cx="885825" cy="349250"/>
            </a:xfrm>
            <a:custGeom>
              <a:avLst/>
              <a:gdLst/>
              <a:ahLst/>
              <a:cxnLst/>
              <a:rect l="l" t="t" r="r" b="b"/>
              <a:pathLst>
                <a:path w="885825" h="349250" extrusionOk="0">
                  <a:moveTo>
                    <a:pt x="885825" y="225425"/>
                  </a:moveTo>
                  <a:lnTo>
                    <a:pt x="885825" y="0"/>
                  </a:lnTo>
                  <a:lnTo>
                    <a:pt x="0" y="250825"/>
                  </a:lnTo>
                  <a:lnTo>
                    <a:pt x="0" y="349250"/>
                  </a:lnTo>
                  <a:lnTo>
                    <a:pt x="885825" y="225425"/>
                  </a:lnTo>
                  <a:close/>
                </a:path>
              </a:pathLst>
            </a:custGeom>
            <a:solidFill>
              <a:schemeClr val="accent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321" name="Google Shape;321;p55"/>
            <p:cNvSpPr/>
            <p:nvPr/>
          </p:nvSpPr>
          <p:spPr>
            <a:xfrm>
              <a:off x="8064500" y="4844050"/>
              <a:ext cx="1083150" cy="318275"/>
            </a:xfrm>
            <a:custGeom>
              <a:avLst/>
              <a:gdLst/>
              <a:ahLst/>
              <a:cxnLst/>
              <a:rect l="l" t="t" r="r" b="b"/>
              <a:pathLst>
                <a:path w="1083150" h="318275" extrusionOk="0">
                  <a:moveTo>
                    <a:pt x="0" y="307900"/>
                  </a:moveTo>
                  <a:lnTo>
                    <a:pt x="1083150" y="0"/>
                  </a:lnTo>
                  <a:cubicBezTo>
                    <a:pt x="1082442" y="106092"/>
                    <a:pt x="1081733" y="212183"/>
                    <a:pt x="1081025" y="318275"/>
                  </a:cubicBezTo>
                  <a:lnTo>
                    <a:pt x="0" y="307900"/>
                  </a:lnTo>
                  <a:close/>
                </a:path>
              </a:pathLst>
            </a:cu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grpSp>
      <p:sp>
        <p:nvSpPr>
          <p:cNvPr id="322" name="Google Shape;322;p55"/>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lt1"/>
                </a:solidFill>
                <a:latin typeface="Arial"/>
                <a:ea typeface="Arial"/>
                <a:cs typeface="Arial"/>
                <a:sym typeface="Arial"/>
              </a:rPr>
              <a:t>‹Nº›</a:t>
            </a:fld>
            <a:endParaRPr sz="1066" b="0" i="0" u="none" strike="noStrike" cap="none">
              <a:solidFill>
                <a:schemeClr val="lt1"/>
              </a:solidFill>
              <a:latin typeface="Arial"/>
              <a:ea typeface="Arial"/>
              <a:cs typeface="Arial"/>
              <a:sym typeface="Arial"/>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Lila endoso">
  <p:cSld name="Lila endoso">
    <p:spTree>
      <p:nvGrpSpPr>
        <p:cNvPr id="1" name="Shape 323"/>
        <p:cNvGrpSpPr/>
        <p:nvPr/>
      </p:nvGrpSpPr>
      <p:grpSpPr>
        <a:xfrm>
          <a:off x="0" y="0"/>
          <a:ext cx="0" cy="0"/>
          <a:chOff x="0" y="0"/>
          <a:chExt cx="0" cy="0"/>
        </a:xfrm>
      </p:grpSpPr>
      <p:sp>
        <p:nvSpPr>
          <p:cNvPr id="324" name="Google Shape;324;p56"/>
          <p:cNvSpPr txBox="1">
            <a:spLocks noGrp="1"/>
          </p:cNvSpPr>
          <p:nvPr>
            <p:ph type="title"/>
          </p:nvPr>
        </p:nvSpPr>
        <p:spPr>
          <a:xfrm>
            <a:off x="336000" y="649095"/>
            <a:ext cx="11519451" cy="919343"/>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2400"/>
              <a:buFont typeface="Playfair Display"/>
              <a:buNone/>
              <a:defRPr sz="2400"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325" name="Google Shape;325;p56"/>
          <p:cNvSpPr txBox="1">
            <a:spLocks noGrp="1"/>
          </p:cNvSpPr>
          <p:nvPr>
            <p:ph type="body" idx="1"/>
          </p:nvPr>
        </p:nvSpPr>
        <p:spPr>
          <a:xfrm>
            <a:off x="336000" y="357000"/>
            <a:ext cx="11519451" cy="251520"/>
          </a:xfrm>
          <a:prstGeom prst="rect">
            <a:avLst/>
          </a:prstGeom>
          <a:noFill/>
          <a:ln>
            <a:noFill/>
          </a:ln>
        </p:spPr>
        <p:txBody>
          <a:bodyPr spcFirstLastPara="1" wrap="square" lIns="0" tIns="45700" rIns="91425" bIns="45700" anchor="t" anchorCtr="0">
            <a:noAutofit/>
          </a:bodyPr>
          <a:lstStyle>
            <a:lvl1pPr marL="457200" marR="0" lvl="0" indent="-228600" algn="l" rtl="0">
              <a:lnSpc>
                <a:spcPct val="90000"/>
              </a:lnSpc>
              <a:spcBef>
                <a:spcPts val="999"/>
              </a:spcBef>
              <a:spcAft>
                <a:spcPts val="0"/>
              </a:spcAft>
              <a:buClr>
                <a:srgbClr val="1A3B47"/>
              </a:buClr>
              <a:buSzPts val="1000"/>
              <a:buFont typeface="Arial"/>
              <a:buNone/>
              <a:defRPr sz="1000" b="0" i="0" u="none" strike="noStrike" cap="none">
                <a:solidFill>
                  <a:srgbClr val="1A3B47"/>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399"/>
              <a:buFont typeface="Arial"/>
              <a:buNone/>
              <a:defRPr sz="2399"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grpSp>
        <p:nvGrpSpPr>
          <p:cNvPr id="326" name="Google Shape;326;p56"/>
          <p:cNvGrpSpPr/>
          <p:nvPr/>
        </p:nvGrpSpPr>
        <p:grpSpPr>
          <a:xfrm>
            <a:off x="10328936" y="6242390"/>
            <a:ext cx="1871531" cy="642611"/>
            <a:chOff x="8064500" y="4790414"/>
            <a:chExt cx="1083150" cy="371911"/>
          </a:xfrm>
        </p:grpSpPr>
        <p:sp>
          <p:nvSpPr>
            <p:cNvPr id="327" name="Google Shape;327;p56"/>
            <p:cNvSpPr/>
            <p:nvPr/>
          </p:nvSpPr>
          <p:spPr>
            <a:xfrm>
              <a:off x="8261825" y="4790414"/>
              <a:ext cx="885825" cy="349250"/>
            </a:xfrm>
            <a:custGeom>
              <a:avLst/>
              <a:gdLst/>
              <a:ahLst/>
              <a:cxnLst/>
              <a:rect l="l" t="t" r="r" b="b"/>
              <a:pathLst>
                <a:path w="885825" h="349250" extrusionOk="0">
                  <a:moveTo>
                    <a:pt x="885825" y="225425"/>
                  </a:moveTo>
                  <a:lnTo>
                    <a:pt x="885825" y="0"/>
                  </a:lnTo>
                  <a:lnTo>
                    <a:pt x="0" y="250825"/>
                  </a:lnTo>
                  <a:lnTo>
                    <a:pt x="0" y="349250"/>
                  </a:lnTo>
                  <a:lnTo>
                    <a:pt x="885825" y="225425"/>
                  </a:lnTo>
                  <a:close/>
                </a:path>
              </a:pathLst>
            </a:cu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328" name="Google Shape;328;p56"/>
            <p:cNvSpPr/>
            <p:nvPr/>
          </p:nvSpPr>
          <p:spPr>
            <a:xfrm>
              <a:off x="8064500" y="4844050"/>
              <a:ext cx="1083150" cy="318275"/>
            </a:xfrm>
            <a:custGeom>
              <a:avLst/>
              <a:gdLst/>
              <a:ahLst/>
              <a:cxnLst/>
              <a:rect l="l" t="t" r="r" b="b"/>
              <a:pathLst>
                <a:path w="1083150" h="318275" extrusionOk="0">
                  <a:moveTo>
                    <a:pt x="0" y="307900"/>
                  </a:moveTo>
                  <a:lnTo>
                    <a:pt x="1083150" y="0"/>
                  </a:lnTo>
                  <a:cubicBezTo>
                    <a:pt x="1082442" y="106092"/>
                    <a:pt x="1081733" y="212183"/>
                    <a:pt x="1081025" y="318275"/>
                  </a:cubicBezTo>
                  <a:lnTo>
                    <a:pt x="0" y="307900"/>
                  </a:lnTo>
                  <a:close/>
                </a:path>
              </a:pathLst>
            </a:cu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grpSp>
      <p:sp>
        <p:nvSpPr>
          <p:cNvPr id="329" name="Google Shape;329;p56"/>
          <p:cNvSpPr/>
          <p:nvPr/>
        </p:nvSpPr>
        <p:spPr>
          <a:xfrm>
            <a:off x="336000" y="6506083"/>
            <a:ext cx="858184" cy="171408"/>
          </a:xfrm>
          <a:custGeom>
            <a:avLst/>
            <a:gdLst/>
            <a:ahLst/>
            <a:cxnLst/>
            <a:rect l="l" t="t" r="r" b="b"/>
            <a:pathLst>
              <a:path w="1701" h="337" extrusionOk="0">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spcFirstLastPara="1" wrap="square" lIns="121850" tIns="60925" rIns="121850" bIns="60925" anchor="t" anchorCtr="0">
            <a:noAutofit/>
          </a:bodyPr>
          <a:lstStyle/>
          <a:p>
            <a:pPr marL="0" marR="0" lvl="0" indent="0" algn="l" rtl="0">
              <a:lnSpc>
                <a:spcPct val="100000"/>
              </a:lnSpc>
              <a:spcBef>
                <a:spcPts val="0"/>
              </a:spcBef>
              <a:spcAft>
                <a:spcPts val="0"/>
              </a:spcAft>
              <a:buClr>
                <a:srgbClr val="000000"/>
              </a:buClr>
              <a:buSzPts val="2397"/>
              <a:buFont typeface="Arial"/>
              <a:buNone/>
            </a:pPr>
            <a:endParaRPr sz="2397" b="0" i="0" u="none" strike="noStrike" cap="none">
              <a:solidFill>
                <a:schemeClr val="dk1"/>
              </a:solidFill>
              <a:latin typeface="Arial"/>
              <a:ea typeface="Arial"/>
              <a:cs typeface="Arial"/>
              <a:sym typeface="Arial"/>
            </a:endParaRPr>
          </a:p>
        </p:txBody>
      </p:sp>
      <p:sp>
        <p:nvSpPr>
          <p:cNvPr id="330" name="Google Shape;330;p56"/>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lt1"/>
                </a:solidFill>
                <a:latin typeface="Arial"/>
                <a:ea typeface="Arial"/>
                <a:cs typeface="Arial"/>
                <a:sym typeface="Arial"/>
              </a:rPr>
              <a:t>‹Nº›</a:t>
            </a:fld>
            <a:endParaRPr sz="1066" b="0" i="0" u="none" strike="noStrike" cap="none">
              <a:solidFill>
                <a:schemeClr val="lt1"/>
              </a:solidFill>
              <a:latin typeface="Arial"/>
              <a:ea typeface="Arial"/>
              <a:cs typeface="Arial"/>
              <a:sym typeface="Arial"/>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Lila sin endoso">
  <p:cSld name="Lila sin endoso">
    <p:spTree>
      <p:nvGrpSpPr>
        <p:cNvPr id="1" name="Shape 331"/>
        <p:cNvGrpSpPr/>
        <p:nvPr/>
      </p:nvGrpSpPr>
      <p:grpSpPr>
        <a:xfrm>
          <a:off x="0" y="0"/>
          <a:ext cx="0" cy="0"/>
          <a:chOff x="0" y="0"/>
          <a:chExt cx="0" cy="0"/>
        </a:xfrm>
      </p:grpSpPr>
      <p:sp>
        <p:nvSpPr>
          <p:cNvPr id="332" name="Google Shape;332;p57"/>
          <p:cNvSpPr txBox="1">
            <a:spLocks noGrp="1"/>
          </p:cNvSpPr>
          <p:nvPr>
            <p:ph type="title"/>
          </p:nvPr>
        </p:nvSpPr>
        <p:spPr>
          <a:xfrm>
            <a:off x="336000" y="649095"/>
            <a:ext cx="11519451" cy="919343"/>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2400"/>
              <a:buFont typeface="Playfair Display"/>
              <a:buNone/>
              <a:defRPr sz="2400"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333" name="Google Shape;333;p57"/>
          <p:cNvSpPr txBox="1">
            <a:spLocks noGrp="1"/>
          </p:cNvSpPr>
          <p:nvPr>
            <p:ph type="body" idx="1"/>
          </p:nvPr>
        </p:nvSpPr>
        <p:spPr>
          <a:xfrm>
            <a:off x="336000" y="357000"/>
            <a:ext cx="11519451" cy="251520"/>
          </a:xfrm>
          <a:prstGeom prst="rect">
            <a:avLst/>
          </a:prstGeom>
          <a:noFill/>
          <a:ln>
            <a:noFill/>
          </a:ln>
        </p:spPr>
        <p:txBody>
          <a:bodyPr spcFirstLastPara="1" wrap="square" lIns="0" tIns="45700" rIns="91425" bIns="45700" anchor="t" anchorCtr="0">
            <a:noAutofit/>
          </a:bodyPr>
          <a:lstStyle>
            <a:lvl1pPr marL="457200" marR="0" lvl="0" indent="-228600" algn="l" rtl="0">
              <a:lnSpc>
                <a:spcPct val="90000"/>
              </a:lnSpc>
              <a:spcBef>
                <a:spcPts val="999"/>
              </a:spcBef>
              <a:spcAft>
                <a:spcPts val="0"/>
              </a:spcAft>
              <a:buClr>
                <a:srgbClr val="1A3B47"/>
              </a:buClr>
              <a:buSzPts val="1000"/>
              <a:buFont typeface="Arial"/>
              <a:buNone/>
              <a:defRPr sz="1000" b="0" i="0" u="none" strike="noStrike" cap="none">
                <a:solidFill>
                  <a:srgbClr val="1A3B47"/>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399"/>
              <a:buFont typeface="Arial"/>
              <a:buNone/>
              <a:defRPr sz="2399"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grpSp>
        <p:nvGrpSpPr>
          <p:cNvPr id="334" name="Google Shape;334;p57"/>
          <p:cNvGrpSpPr/>
          <p:nvPr/>
        </p:nvGrpSpPr>
        <p:grpSpPr>
          <a:xfrm>
            <a:off x="10328936" y="6242390"/>
            <a:ext cx="1871531" cy="642611"/>
            <a:chOff x="8064500" y="4790414"/>
            <a:chExt cx="1083150" cy="371911"/>
          </a:xfrm>
        </p:grpSpPr>
        <p:sp>
          <p:nvSpPr>
            <p:cNvPr id="335" name="Google Shape;335;p57"/>
            <p:cNvSpPr/>
            <p:nvPr/>
          </p:nvSpPr>
          <p:spPr>
            <a:xfrm>
              <a:off x="8261825" y="4790414"/>
              <a:ext cx="885825" cy="349250"/>
            </a:xfrm>
            <a:custGeom>
              <a:avLst/>
              <a:gdLst/>
              <a:ahLst/>
              <a:cxnLst/>
              <a:rect l="l" t="t" r="r" b="b"/>
              <a:pathLst>
                <a:path w="885825" h="349250" extrusionOk="0">
                  <a:moveTo>
                    <a:pt x="885825" y="225425"/>
                  </a:moveTo>
                  <a:lnTo>
                    <a:pt x="885825" y="0"/>
                  </a:lnTo>
                  <a:lnTo>
                    <a:pt x="0" y="250825"/>
                  </a:lnTo>
                  <a:lnTo>
                    <a:pt x="0" y="349250"/>
                  </a:lnTo>
                  <a:lnTo>
                    <a:pt x="885825" y="225425"/>
                  </a:lnTo>
                  <a:close/>
                </a:path>
              </a:pathLst>
            </a:custGeom>
            <a:solidFill>
              <a:schemeClr val="accent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sp>
          <p:nvSpPr>
            <p:cNvPr id="336" name="Google Shape;336;p57"/>
            <p:cNvSpPr/>
            <p:nvPr/>
          </p:nvSpPr>
          <p:spPr>
            <a:xfrm>
              <a:off x="8064500" y="4844050"/>
              <a:ext cx="1083150" cy="318275"/>
            </a:xfrm>
            <a:custGeom>
              <a:avLst/>
              <a:gdLst/>
              <a:ahLst/>
              <a:cxnLst/>
              <a:rect l="l" t="t" r="r" b="b"/>
              <a:pathLst>
                <a:path w="1083150" h="318275" extrusionOk="0">
                  <a:moveTo>
                    <a:pt x="0" y="307900"/>
                  </a:moveTo>
                  <a:lnTo>
                    <a:pt x="1083150" y="0"/>
                  </a:lnTo>
                  <a:cubicBezTo>
                    <a:pt x="1082442" y="106092"/>
                    <a:pt x="1081733" y="212183"/>
                    <a:pt x="1081025" y="318275"/>
                  </a:cubicBezTo>
                  <a:lnTo>
                    <a:pt x="0" y="307900"/>
                  </a:lnTo>
                  <a:close/>
                </a:path>
              </a:pathLst>
            </a:cu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chemeClr val="lt1"/>
                </a:solidFill>
                <a:latin typeface="Arial"/>
                <a:ea typeface="Arial"/>
                <a:cs typeface="Arial"/>
                <a:sym typeface="Arial"/>
              </a:endParaRPr>
            </a:p>
          </p:txBody>
        </p:sp>
      </p:grpSp>
      <p:sp>
        <p:nvSpPr>
          <p:cNvPr id="337" name="Google Shape;337;p57"/>
          <p:cNvSpPr txBox="1"/>
          <p:nvPr/>
        </p:nvSpPr>
        <p:spPr>
          <a:xfrm>
            <a:off x="11472598" y="6501346"/>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6"/>
              <a:buFont typeface="Arial"/>
              <a:buNone/>
            </a:pPr>
            <a:fld id="{00000000-1234-1234-1234-123412341234}" type="slidenum">
              <a:rPr lang="es-ES" sz="1066" b="0" i="0" u="none" strike="noStrike" cap="none">
                <a:solidFill>
                  <a:schemeClr val="lt1"/>
                </a:solidFill>
                <a:latin typeface="Arial"/>
                <a:ea typeface="Arial"/>
                <a:cs typeface="Arial"/>
                <a:sym typeface="Arial"/>
              </a:rPr>
              <a:t>‹Nº›</a:t>
            </a:fld>
            <a:endParaRPr sz="1066" b="0" i="0" u="none" strike="noStrike" cap="none">
              <a:solidFill>
                <a:schemeClr val="lt1"/>
              </a:solidFill>
              <a:latin typeface="Arial"/>
              <a:ea typeface="Arial"/>
              <a:cs typeface="Arial"/>
              <a:sym typeface="Arial"/>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Diseño personalizado">
  <p:cSld name="Diseño personalizado">
    <p:spTree>
      <p:nvGrpSpPr>
        <p:cNvPr id="1" name="Shape 338"/>
        <p:cNvGrpSpPr/>
        <p:nvPr/>
      </p:nvGrpSpPr>
      <p:grpSpPr>
        <a:xfrm>
          <a:off x="0" y="0"/>
          <a:ext cx="0" cy="0"/>
          <a:chOff x="0" y="0"/>
          <a:chExt cx="0" cy="0"/>
        </a:xfrm>
      </p:grpSpPr>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5_1. Texto grande">
  <p:cSld name="5_1. Texto grande">
    <p:spTree>
      <p:nvGrpSpPr>
        <p:cNvPr id="1" name="Shape 339"/>
        <p:cNvGrpSpPr/>
        <p:nvPr/>
      </p:nvGrpSpPr>
      <p:grpSpPr>
        <a:xfrm>
          <a:off x="0" y="0"/>
          <a:ext cx="0" cy="0"/>
          <a:chOff x="0" y="0"/>
          <a:chExt cx="0" cy="0"/>
        </a:xfrm>
      </p:grpSpPr>
      <p:sp>
        <p:nvSpPr>
          <p:cNvPr id="340" name="Google Shape;340;p59"/>
          <p:cNvSpPr txBox="1">
            <a:spLocks noGrp="1"/>
          </p:cNvSpPr>
          <p:nvPr>
            <p:ph type="body" idx="1"/>
          </p:nvPr>
        </p:nvSpPr>
        <p:spPr>
          <a:xfrm>
            <a:off x="381000" y="1780119"/>
            <a:ext cx="9499600" cy="4241800"/>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999"/>
              </a:spcBef>
              <a:spcAft>
                <a:spcPts val="0"/>
              </a:spcAft>
              <a:buClr>
                <a:schemeClr val="dk1"/>
              </a:buClr>
              <a:buSzPts val="3200"/>
              <a:buFont typeface="Arial"/>
              <a:buNone/>
              <a:defRPr sz="3200" b="0" i="0" u="none" strike="noStrike" cap="none">
                <a:solidFill>
                  <a:schemeClr val="dk1"/>
                </a:solidFill>
                <a:latin typeface="Arial"/>
                <a:ea typeface="Arial"/>
                <a:cs typeface="Arial"/>
                <a:sym typeface="Arial"/>
              </a:defRPr>
            </a:lvl1pPr>
            <a:lvl2pPr marL="914400" marR="0" lvl="1" indent="-380936" algn="l" rtl="0">
              <a:lnSpc>
                <a:spcPct val="90000"/>
              </a:lnSpc>
              <a:spcBef>
                <a:spcPts val="500"/>
              </a:spcBef>
              <a:spcAft>
                <a:spcPts val="0"/>
              </a:spcAft>
              <a:buClr>
                <a:schemeClr val="dk1"/>
              </a:buClr>
              <a:buSzPts val="2399"/>
              <a:buFont typeface="Arial"/>
              <a:buChar char="•"/>
              <a:defRPr sz="2399" b="0" i="0" u="none" strike="noStrike" cap="none">
                <a:solidFill>
                  <a:schemeClr val="dk1"/>
                </a:solidFill>
                <a:latin typeface="Arial"/>
                <a:ea typeface="Arial"/>
                <a:cs typeface="Arial"/>
                <a:sym typeface="Arial"/>
              </a:defRPr>
            </a:lvl2pPr>
            <a:lvl3pPr marL="1371600" marR="0" lvl="2" indent="-355536" algn="l" rtl="0">
              <a:lnSpc>
                <a:spcPct val="90000"/>
              </a:lnSpc>
              <a:spcBef>
                <a:spcPts val="500"/>
              </a:spcBef>
              <a:spcAft>
                <a:spcPts val="0"/>
              </a:spcAft>
              <a:buClr>
                <a:schemeClr val="dk1"/>
              </a:buClr>
              <a:buSzPts val="1999"/>
              <a:buFont typeface="Arial"/>
              <a:buChar char="•"/>
              <a:defRPr sz="1999" b="0" i="0" u="none" strike="noStrike" cap="none">
                <a:solidFill>
                  <a:schemeClr val="dk1"/>
                </a:solidFill>
                <a:latin typeface="Arial"/>
                <a:ea typeface="Arial"/>
                <a:cs typeface="Arial"/>
                <a:sym typeface="Arial"/>
              </a:defRPr>
            </a:lvl3pPr>
            <a:lvl4pPr marL="1828800" marR="0" lvl="3"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4pPr>
            <a:lvl5pPr marL="2286000" marR="0" lvl="4"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
        <p:nvSpPr>
          <p:cNvPr id="341" name="Google Shape;341;p59"/>
          <p:cNvSpPr txBox="1">
            <a:spLocks noGrp="1"/>
          </p:cNvSpPr>
          <p:nvPr>
            <p:ph type="title"/>
          </p:nvPr>
        </p:nvSpPr>
        <p:spPr>
          <a:xfrm>
            <a:off x="381000" y="380291"/>
            <a:ext cx="11430000" cy="919343"/>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3733"/>
              <a:buFont typeface="Playfair Display"/>
              <a:buNone/>
              <a:defRPr sz="3733"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1_Verde endoso">
  <p:cSld name="1_Verde endoso">
    <p:spTree>
      <p:nvGrpSpPr>
        <p:cNvPr id="1" name="Shape 342"/>
        <p:cNvGrpSpPr/>
        <p:nvPr/>
      </p:nvGrpSpPr>
      <p:grpSpPr>
        <a:xfrm>
          <a:off x="0" y="0"/>
          <a:ext cx="0" cy="0"/>
          <a:chOff x="0" y="0"/>
          <a:chExt cx="0" cy="0"/>
        </a:xfrm>
      </p:grpSpPr>
      <p:sp>
        <p:nvSpPr>
          <p:cNvPr id="343" name="Google Shape;343;g8055afce9b_0_1275"/>
          <p:cNvSpPr txBox="1">
            <a:spLocks noGrp="1"/>
          </p:cNvSpPr>
          <p:nvPr>
            <p:ph type="title"/>
          </p:nvPr>
        </p:nvSpPr>
        <p:spPr>
          <a:xfrm>
            <a:off x="336000" y="649095"/>
            <a:ext cx="11519400" cy="9192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SzPts val="1400"/>
              <a:buNone/>
              <a:defRPr sz="2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344" name="Google Shape;344;g8055afce9b_0_1275"/>
          <p:cNvSpPr txBox="1">
            <a:spLocks noGrp="1"/>
          </p:cNvSpPr>
          <p:nvPr>
            <p:ph type="body" idx="1"/>
          </p:nvPr>
        </p:nvSpPr>
        <p:spPr>
          <a:xfrm>
            <a:off x="336000" y="357000"/>
            <a:ext cx="11519400" cy="251400"/>
          </a:xfrm>
          <a:prstGeom prst="rect">
            <a:avLst/>
          </a:prstGeom>
          <a:noFill/>
          <a:ln>
            <a:noFill/>
          </a:ln>
        </p:spPr>
        <p:txBody>
          <a:bodyPr spcFirstLastPara="1" wrap="square" lIns="0" tIns="45700" rIns="91425" bIns="45700" anchor="t" anchorCtr="0">
            <a:noAutofit/>
          </a:bodyPr>
          <a:lstStyle>
            <a:lvl1pPr marL="457200" marR="0" lvl="0" indent="-228600" algn="l" rtl="0">
              <a:lnSpc>
                <a:spcPct val="100000"/>
              </a:lnSpc>
              <a:spcBef>
                <a:spcPts val="0"/>
              </a:spcBef>
              <a:spcAft>
                <a:spcPts val="0"/>
              </a:spcAft>
              <a:buClr>
                <a:srgbClr val="000000"/>
              </a:buClr>
              <a:buSzPts val="1000"/>
              <a:buFont typeface="Arial"/>
              <a:buNone/>
              <a:defRPr sz="1000" b="0" i="0" u="none" strike="noStrike" cap="none">
                <a:solidFill>
                  <a:srgbClr val="1A3B47"/>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L="2743200" marR="0" lvl="5" indent="-22860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grpSp>
        <p:nvGrpSpPr>
          <p:cNvPr id="345" name="Google Shape;345;g8055afce9b_0_1275"/>
          <p:cNvGrpSpPr/>
          <p:nvPr/>
        </p:nvGrpSpPr>
        <p:grpSpPr>
          <a:xfrm>
            <a:off x="10329263" y="6242571"/>
            <a:ext cx="1871575" cy="642625"/>
            <a:chOff x="8064500" y="4790414"/>
            <a:chExt cx="1083150" cy="371911"/>
          </a:xfrm>
        </p:grpSpPr>
        <p:sp>
          <p:nvSpPr>
            <p:cNvPr id="346" name="Google Shape;346;g8055afce9b_0_1275"/>
            <p:cNvSpPr/>
            <p:nvPr/>
          </p:nvSpPr>
          <p:spPr>
            <a:xfrm>
              <a:off x="8261825" y="4790414"/>
              <a:ext cx="885825" cy="349250"/>
            </a:xfrm>
            <a:custGeom>
              <a:avLst/>
              <a:gdLst/>
              <a:ahLst/>
              <a:cxnLst/>
              <a:rect l="l" t="t" r="r" b="b"/>
              <a:pathLst>
                <a:path w="885825" h="349250" extrusionOk="0">
                  <a:moveTo>
                    <a:pt x="885825" y="225425"/>
                  </a:moveTo>
                  <a:lnTo>
                    <a:pt x="885825" y="0"/>
                  </a:lnTo>
                  <a:lnTo>
                    <a:pt x="0" y="250825"/>
                  </a:lnTo>
                  <a:lnTo>
                    <a:pt x="0" y="349250"/>
                  </a:lnTo>
                  <a:lnTo>
                    <a:pt x="885825" y="225425"/>
                  </a:lnTo>
                  <a:close/>
                </a:path>
              </a:pathLst>
            </a:cu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397" b="0" i="0" u="none" strike="noStrike" cap="none">
                <a:solidFill>
                  <a:schemeClr val="lt1"/>
                </a:solidFill>
                <a:latin typeface="Arial"/>
                <a:ea typeface="Arial"/>
                <a:cs typeface="Arial"/>
                <a:sym typeface="Arial"/>
              </a:endParaRPr>
            </a:p>
          </p:txBody>
        </p:sp>
        <p:sp>
          <p:nvSpPr>
            <p:cNvPr id="347" name="Google Shape;347;g8055afce9b_0_1275"/>
            <p:cNvSpPr/>
            <p:nvPr/>
          </p:nvSpPr>
          <p:spPr>
            <a:xfrm>
              <a:off x="8064500" y="4844050"/>
              <a:ext cx="1083150" cy="318275"/>
            </a:xfrm>
            <a:custGeom>
              <a:avLst/>
              <a:gdLst/>
              <a:ahLst/>
              <a:cxnLst/>
              <a:rect l="l" t="t" r="r" b="b"/>
              <a:pathLst>
                <a:path w="1083150" h="318275" extrusionOk="0">
                  <a:moveTo>
                    <a:pt x="0" y="307900"/>
                  </a:moveTo>
                  <a:lnTo>
                    <a:pt x="1083150" y="0"/>
                  </a:lnTo>
                  <a:cubicBezTo>
                    <a:pt x="1082442" y="106092"/>
                    <a:pt x="1081733" y="212183"/>
                    <a:pt x="1081025" y="318275"/>
                  </a:cubicBezTo>
                  <a:lnTo>
                    <a:pt x="0" y="307900"/>
                  </a:lnTo>
                  <a:close/>
                </a:path>
              </a:pathLst>
            </a:cu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397" b="0" i="0" u="none" strike="noStrike" cap="none">
                <a:solidFill>
                  <a:schemeClr val="lt1"/>
                </a:solidFill>
                <a:latin typeface="Arial"/>
                <a:ea typeface="Arial"/>
                <a:cs typeface="Arial"/>
                <a:sym typeface="Arial"/>
              </a:endParaRPr>
            </a:p>
          </p:txBody>
        </p:sp>
      </p:grpSp>
      <p:pic>
        <p:nvPicPr>
          <p:cNvPr id="348" name="Google Shape;348;g8055afce9b_0_1275"/>
          <p:cNvPicPr preferRelativeResize="0"/>
          <p:nvPr/>
        </p:nvPicPr>
        <p:blipFill rotWithShape="1">
          <a:blip r:embed="rId2">
            <a:alphaModFix/>
          </a:blip>
          <a:srcRect/>
          <a:stretch/>
        </p:blipFill>
        <p:spPr>
          <a:xfrm>
            <a:off x="8887258" y="6540533"/>
            <a:ext cx="1145183" cy="248841"/>
          </a:xfrm>
          <a:prstGeom prst="rect">
            <a:avLst/>
          </a:prstGeom>
          <a:noFill/>
          <a:ln>
            <a:noFill/>
          </a:ln>
        </p:spPr>
      </p:pic>
      <p:sp>
        <p:nvSpPr>
          <p:cNvPr id="349" name="Google Shape;349;g8055afce9b_0_1275"/>
          <p:cNvSpPr/>
          <p:nvPr/>
        </p:nvSpPr>
        <p:spPr>
          <a:xfrm>
            <a:off x="336000" y="6506083"/>
            <a:ext cx="858184" cy="171408"/>
          </a:xfrm>
          <a:custGeom>
            <a:avLst/>
            <a:gdLst/>
            <a:ahLst/>
            <a:cxnLst/>
            <a:rect l="l" t="t" r="r" b="b"/>
            <a:pathLst>
              <a:path w="1701" h="337" extrusionOk="0">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spcFirstLastPara="1" wrap="square" lIns="121850" tIns="60925" rIns="121850" bIns="60925" anchor="t" anchorCtr="0">
            <a:noAutofit/>
          </a:bodyPr>
          <a:lstStyle/>
          <a:p>
            <a:pPr marL="0" marR="0" lvl="0" indent="0" algn="l" rtl="0">
              <a:lnSpc>
                <a:spcPct val="100000"/>
              </a:lnSpc>
              <a:spcBef>
                <a:spcPts val="0"/>
              </a:spcBef>
              <a:spcAft>
                <a:spcPts val="0"/>
              </a:spcAft>
              <a:buNone/>
            </a:pPr>
            <a:endParaRPr sz="2397" b="0" i="0" u="none" strike="noStrike" cap="none">
              <a:solidFill>
                <a:srgbClr val="000000"/>
              </a:solidFill>
              <a:latin typeface="Arial"/>
              <a:ea typeface="Arial"/>
              <a:cs typeface="Arial"/>
              <a:sym typeface="Arial"/>
            </a:endParaRPr>
          </a:p>
        </p:txBody>
      </p:sp>
      <p:sp>
        <p:nvSpPr>
          <p:cNvPr id="350" name="Google Shape;350;g8055afce9b_0_1275"/>
          <p:cNvSpPr txBox="1"/>
          <p:nvPr/>
        </p:nvSpPr>
        <p:spPr>
          <a:xfrm>
            <a:off x="11472598" y="6501346"/>
            <a:ext cx="382800" cy="3237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None/>
            </a:pPr>
            <a:fld id="{00000000-1234-1234-1234-123412341234}" type="slidenum">
              <a:rPr lang="es-ES" sz="1066" b="0" i="0" u="none" strike="noStrike" cap="none">
                <a:solidFill>
                  <a:schemeClr val="lt1"/>
                </a:solidFill>
                <a:latin typeface="Arial"/>
                <a:ea typeface="Arial"/>
                <a:cs typeface="Arial"/>
                <a:sym typeface="Arial"/>
              </a:rPr>
              <a:t>‹Nº›</a:t>
            </a:fld>
            <a:endParaRPr sz="1066" b="0" i="0" u="none" strike="noStrike" cap="none">
              <a:solidFill>
                <a:schemeClr val="lt1"/>
              </a:solidFill>
              <a:latin typeface="Arial"/>
              <a:ea typeface="Arial"/>
              <a:cs typeface="Arial"/>
              <a:sym typeface="Aria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2. Texto estándar">
  <p:cSld name="2. Texto estándar">
    <p:spTree>
      <p:nvGrpSpPr>
        <p:cNvPr id="1" name="Shape 45"/>
        <p:cNvGrpSpPr/>
        <p:nvPr/>
      </p:nvGrpSpPr>
      <p:grpSpPr>
        <a:xfrm>
          <a:off x="0" y="0"/>
          <a:ext cx="0" cy="0"/>
          <a:chOff x="0" y="0"/>
          <a:chExt cx="0" cy="0"/>
        </a:xfrm>
      </p:grpSpPr>
      <p:sp>
        <p:nvSpPr>
          <p:cNvPr id="46" name="Google Shape;46;p14"/>
          <p:cNvSpPr txBox="1">
            <a:spLocks noGrp="1"/>
          </p:cNvSpPr>
          <p:nvPr>
            <p:ph type="title"/>
          </p:nvPr>
        </p:nvSpPr>
        <p:spPr>
          <a:xfrm>
            <a:off x="336000" y="649091"/>
            <a:ext cx="11519451" cy="919343"/>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2667"/>
              <a:buFont typeface="Playfair Display"/>
              <a:buNone/>
              <a:defRPr sz="2667"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47" name="Google Shape;47;p14"/>
          <p:cNvSpPr txBox="1">
            <a:spLocks noGrp="1"/>
          </p:cNvSpPr>
          <p:nvPr>
            <p:ph type="body" idx="1"/>
          </p:nvPr>
        </p:nvSpPr>
        <p:spPr>
          <a:xfrm>
            <a:off x="336000" y="357000"/>
            <a:ext cx="11519451" cy="251520"/>
          </a:xfrm>
          <a:prstGeom prst="rect">
            <a:avLst/>
          </a:prstGeom>
          <a:noFill/>
          <a:ln>
            <a:noFill/>
          </a:ln>
        </p:spPr>
        <p:txBody>
          <a:bodyPr spcFirstLastPara="1" wrap="square" lIns="0" tIns="45700" rIns="91425" bIns="45700" anchor="t" anchorCtr="0">
            <a:noAutofit/>
          </a:bodyPr>
          <a:lstStyle>
            <a:lvl1pPr marL="457200" marR="0" lvl="0" indent="-228600" algn="l" rtl="0">
              <a:lnSpc>
                <a:spcPct val="90000"/>
              </a:lnSpc>
              <a:spcBef>
                <a:spcPts val="999"/>
              </a:spcBef>
              <a:spcAft>
                <a:spcPts val="0"/>
              </a:spcAft>
              <a:buClr>
                <a:srgbClr val="1A3B47"/>
              </a:buClr>
              <a:buSzPts val="1067"/>
              <a:buFont typeface="Arial"/>
              <a:buNone/>
              <a:defRPr sz="1067" b="0" i="0" u="none" strike="noStrike" cap="none">
                <a:solidFill>
                  <a:srgbClr val="1A3B47"/>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399"/>
              <a:buFont typeface="Arial"/>
              <a:buNone/>
              <a:defRPr sz="2399"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grpSp>
        <p:nvGrpSpPr>
          <p:cNvPr id="48" name="Google Shape;48;p14"/>
          <p:cNvGrpSpPr/>
          <p:nvPr/>
        </p:nvGrpSpPr>
        <p:grpSpPr>
          <a:xfrm>
            <a:off x="10328936" y="6242389"/>
            <a:ext cx="1871531" cy="642611"/>
            <a:chOff x="8064500" y="4790414"/>
            <a:chExt cx="1083150" cy="371911"/>
          </a:xfrm>
        </p:grpSpPr>
        <p:sp>
          <p:nvSpPr>
            <p:cNvPr id="49" name="Google Shape;49;p14"/>
            <p:cNvSpPr/>
            <p:nvPr/>
          </p:nvSpPr>
          <p:spPr>
            <a:xfrm>
              <a:off x="8261825" y="4790414"/>
              <a:ext cx="885825" cy="349250"/>
            </a:xfrm>
            <a:custGeom>
              <a:avLst/>
              <a:gdLst/>
              <a:ahLst/>
              <a:cxnLst/>
              <a:rect l="l" t="t" r="r" b="b"/>
              <a:pathLst>
                <a:path w="885825" h="349250" extrusionOk="0">
                  <a:moveTo>
                    <a:pt x="885825" y="225425"/>
                  </a:moveTo>
                  <a:lnTo>
                    <a:pt x="885825" y="0"/>
                  </a:lnTo>
                  <a:lnTo>
                    <a:pt x="0" y="250825"/>
                  </a:lnTo>
                  <a:lnTo>
                    <a:pt x="0" y="349250"/>
                  </a:lnTo>
                  <a:lnTo>
                    <a:pt x="885825" y="225425"/>
                  </a:ln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50" name="Google Shape;50;p14"/>
            <p:cNvSpPr/>
            <p:nvPr/>
          </p:nvSpPr>
          <p:spPr>
            <a:xfrm>
              <a:off x="8064500" y="4844050"/>
              <a:ext cx="1083150" cy="318275"/>
            </a:xfrm>
            <a:custGeom>
              <a:avLst/>
              <a:gdLst/>
              <a:ahLst/>
              <a:cxnLst/>
              <a:rect l="l" t="t" r="r" b="b"/>
              <a:pathLst>
                <a:path w="1083150" h="318275" extrusionOk="0">
                  <a:moveTo>
                    <a:pt x="0" y="307900"/>
                  </a:moveTo>
                  <a:lnTo>
                    <a:pt x="1083150" y="0"/>
                  </a:lnTo>
                  <a:cubicBezTo>
                    <a:pt x="1082442" y="106092"/>
                    <a:pt x="1081733" y="212183"/>
                    <a:pt x="1081025" y="318275"/>
                  </a:cubicBezTo>
                  <a:lnTo>
                    <a:pt x="0" y="307900"/>
                  </a:lnTo>
                  <a:close/>
                </a:path>
              </a:pathLst>
            </a:cu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grpSp>
      <p:sp>
        <p:nvSpPr>
          <p:cNvPr id="51" name="Google Shape;51;p14"/>
          <p:cNvSpPr/>
          <p:nvPr/>
        </p:nvSpPr>
        <p:spPr>
          <a:xfrm>
            <a:off x="336000" y="6506083"/>
            <a:ext cx="858184" cy="171408"/>
          </a:xfrm>
          <a:custGeom>
            <a:avLst/>
            <a:gdLst/>
            <a:ahLst/>
            <a:cxnLst/>
            <a:rect l="l" t="t" r="r" b="b"/>
            <a:pathLst>
              <a:path w="1701" h="337" extrusionOk="0">
                <a:moveTo>
                  <a:pt x="1046" y="222"/>
                </a:moveTo>
                <a:cubicBezTo>
                  <a:pt x="1054" y="233"/>
                  <a:pt x="1058" y="247"/>
                  <a:pt x="1058" y="263"/>
                </a:cubicBezTo>
                <a:cubicBezTo>
                  <a:pt x="1058" y="276"/>
                  <a:pt x="1056" y="288"/>
                  <a:pt x="1051" y="298"/>
                </a:cubicBezTo>
                <a:cubicBezTo>
                  <a:pt x="1046" y="307"/>
                  <a:pt x="1039" y="315"/>
                  <a:pt x="1031" y="321"/>
                </a:cubicBezTo>
                <a:cubicBezTo>
                  <a:pt x="1022" y="327"/>
                  <a:pt x="1013" y="331"/>
                  <a:pt x="1001" y="333"/>
                </a:cubicBezTo>
                <a:cubicBezTo>
                  <a:pt x="991" y="335"/>
                  <a:pt x="979" y="337"/>
                  <a:pt x="967" y="337"/>
                </a:cubicBezTo>
                <a:cubicBezTo>
                  <a:pt x="940" y="337"/>
                  <a:pt x="919" y="331"/>
                  <a:pt x="902" y="319"/>
                </a:cubicBezTo>
                <a:cubicBezTo>
                  <a:pt x="886" y="306"/>
                  <a:pt x="877" y="288"/>
                  <a:pt x="876" y="263"/>
                </a:cubicBezTo>
                <a:cubicBezTo>
                  <a:pt x="876" y="263"/>
                  <a:pt x="877" y="262"/>
                  <a:pt x="877" y="262"/>
                </a:cubicBezTo>
                <a:cubicBezTo>
                  <a:pt x="901" y="262"/>
                  <a:pt x="901" y="262"/>
                  <a:pt x="901" y="262"/>
                </a:cubicBezTo>
                <a:cubicBezTo>
                  <a:pt x="901" y="262"/>
                  <a:pt x="902" y="263"/>
                  <a:pt x="902" y="263"/>
                </a:cubicBezTo>
                <a:cubicBezTo>
                  <a:pt x="902" y="272"/>
                  <a:pt x="903" y="280"/>
                  <a:pt x="906" y="285"/>
                </a:cubicBezTo>
                <a:cubicBezTo>
                  <a:pt x="910" y="291"/>
                  <a:pt x="914" y="296"/>
                  <a:pt x="920" y="300"/>
                </a:cubicBezTo>
                <a:cubicBezTo>
                  <a:pt x="926" y="303"/>
                  <a:pt x="932" y="306"/>
                  <a:pt x="940" y="308"/>
                </a:cubicBezTo>
                <a:cubicBezTo>
                  <a:pt x="954" y="311"/>
                  <a:pt x="970" y="311"/>
                  <a:pt x="991" y="309"/>
                </a:cubicBezTo>
                <a:cubicBezTo>
                  <a:pt x="998" y="308"/>
                  <a:pt x="1005" y="306"/>
                  <a:pt x="1012" y="303"/>
                </a:cubicBezTo>
                <a:cubicBezTo>
                  <a:pt x="1018" y="299"/>
                  <a:pt x="1023" y="295"/>
                  <a:pt x="1027" y="288"/>
                </a:cubicBezTo>
                <a:cubicBezTo>
                  <a:pt x="1031" y="282"/>
                  <a:pt x="1033" y="274"/>
                  <a:pt x="1033" y="263"/>
                </a:cubicBezTo>
                <a:cubicBezTo>
                  <a:pt x="1033" y="254"/>
                  <a:pt x="1031" y="246"/>
                  <a:pt x="1026" y="238"/>
                </a:cubicBezTo>
                <a:cubicBezTo>
                  <a:pt x="1021" y="231"/>
                  <a:pt x="1013" y="226"/>
                  <a:pt x="1003" y="223"/>
                </a:cubicBezTo>
                <a:cubicBezTo>
                  <a:pt x="926" y="200"/>
                  <a:pt x="926" y="200"/>
                  <a:pt x="926" y="200"/>
                </a:cubicBezTo>
                <a:cubicBezTo>
                  <a:pt x="911" y="196"/>
                  <a:pt x="901" y="190"/>
                  <a:pt x="893" y="180"/>
                </a:cubicBezTo>
                <a:cubicBezTo>
                  <a:pt x="885" y="170"/>
                  <a:pt x="881" y="158"/>
                  <a:pt x="881" y="144"/>
                </a:cubicBezTo>
                <a:cubicBezTo>
                  <a:pt x="881" y="131"/>
                  <a:pt x="884" y="121"/>
                  <a:pt x="888" y="112"/>
                </a:cubicBezTo>
                <a:cubicBezTo>
                  <a:pt x="893" y="103"/>
                  <a:pt x="899" y="96"/>
                  <a:pt x="907" y="90"/>
                </a:cubicBezTo>
                <a:cubicBezTo>
                  <a:pt x="915" y="85"/>
                  <a:pt x="924" y="81"/>
                  <a:pt x="934" y="78"/>
                </a:cubicBezTo>
                <a:cubicBezTo>
                  <a:pt x="945" y="76"/>
                  <a:pt x="955" y="75"/>
                  <a:pt x="967" y="75"/>
                </a:cubicBezTo>
                <a:cubicBezTo>
                  <a:pt x="993" y="75"/>
                  <a:pt x="1014" y="81"/>
                  <a:pt x="1030" y="93"/>
                </a:cubicBezTo>
                <a:cubicBezTo>
                  <a:pt x="1047" y="105"/>
                  <a:pt x="1055" y="124"/>
                  <a:pt x="1056" y="148"/>
                </a:cubicBezTo>
                <a:cubicBezTo>
                  <a:pt x="1056" y="148"/>
                  <a:pt x="1056" y="149"/>
                  <a:pt x="1056" y="149"/>
                </a:cubicBezTo>
                <a:cubicBezTo>
                  <a:pt x="1032" y="149"/>
                  <a:pt x="1032" y="149"/>
                  <a:pt x="1032" y="149"/>
                </a:cubicBezTo>
                <a:cubicBezTo>
                  <a:pt x="1032" y="149"/>
                  <a:pt x="1032" y="148"/>
                  <a:pt x="1032" y="148"/>
                </a:cubicBezTo>
                <a:cubicBezTo>
                  <a:pt x="1031" y="131"/>
                  <a:pt x="1025" y="119"/>
                  <a:pt x="1013" y="112"/>
                </a:cubicBezTo>
                <a:cubicBezTo>
                  <a:pt x="1002" y="104"/>
                  <a:pt x="986" y="100"/>
                  <a:pt x="966" y="100"/>
                </a:cubicBezTo>
                <a:cubicBezTo>
                  <a:pt x="958" y="100"/>
                  <a:pt x="951" y="100"/>
                  <a:pt x="944" y="102"/>
                </a:cubicBezTo>
                <a:cubicBezTo>
                  <a:pt x="937" y="103"/>
                  <a:pt x="931" y="105"/>
                  <a:pt x="925" y="108"/>
                </a:cubicBezTo>
                <a:cubicBezTo>
                  <a:pt x="919" y="111"/>
                  <a:pt x="915" y="115"/>
                  <a:pt x="911" y="121"/>
                </a:cubicBezTo>
                <a:cubicBezTo>
                  <a:pt x="908" y="127"/>
                  <a:pt x="906" y="134"/>
                  <a:pt x="906" y="144"/>
                </a:cubicBezTo>
                <a:cubicBezTo>
                  <a:pt x="906" y="151"/>
                  <a:pt x="908" y="157"/>
                  <a:pt x="913" y="163"/>
                </a:cubicBezTo>
                <a:cubicBezTo>
                  <a:pt x="917" y="170"/>
                  <a:pt x="924" y="174"/>
                  <a:pt x="934" y="177"/>
                </a:cubicBezTo>
                <a:cubicBezTo>
                  <a:pt x="1011" y="199"/>
                  <a:pt x="1011" y="199"/>
                  <a:pt x="1011" y="199"/>
                </a:cubicBezTo>
                <a:cubicBezTo>
                  <a:pt x="1026" y="204"/>
                  <a:pt x="1038" y="211"/>
                  <a:pt x="1046" y="222"/>
                </a:cubicBezTo>
                <a:close/>
                <a:moveTo>
                  <a:pt x="722" y="75"/>
                </a:moveTo>
                <a:cubicBezTo>
                  <a:pt x="715" y="75"/>
                  <a:pt x="708" y="76"/>
                  <a:pt x="701" y="78"/>
                </a:cubicBezTo>
                <a:cubicBezTo>
                  <a:pt x="694" y="79"/>
                  <a:pt x="687" y="82"/>
                  <a:pt x="680" y="86"/>
                </a:cubicBezTo>
                <a:cubicBezTo>
                  <a:pt x="673" y="89"/>
                  <a:pt x="667" y="93"/>
                  <a:pt x="662" y="98"/>
                </a:cubicBezTo>
                <a:cubicBezTo>
                  <a:pt x="660" y="100"/>
                  <a:pt x="658" y="101"/>
                  <a:pt x="656" y="103"/>
                </a:cubicBezTo>
                <a:cubicBezTo>
                  <a:pt x="656" y="103"/>
                  <a:pt x="656" y="103"/>
                  <a:pt x="656" y="103"/>
                </a:cubicBezTo>
                <a:cubicBezTo>
                  <a:pt x="656" y="103"/>
                  <a:pt x="656" y="103"/>
                  <a:pt x="656" y="103"/>
                </a:cubicBezTo>
                <a:cubicBezTo>
                  <a:pt x="656" y="103"/>
                  <a:pt x="656" y="103"/>
                  <a:pt x="656" y="103"/>
                </a:cubicBezTo>
                <a:cubicBezTo>
                  <a:pt x="656" y="103"/>
                  <a:pt x="656" y="103"/>
                  <a:pt x="656" y="103"/>
                </a:cubicBezTo>
                <a:cubicBezTo>
                  <a:pt x="643" y="78"/>
                  <a:pt x="643" y="78"/>
                  <a:pt x="643" y="78"/>
                </a:cubicBezTo>
                <a:cubicBezTo>
                  <a:pt x="632" y="78"/>
                  <a:pt x="632" y="78"/>
                  <a:pt x="632" y="78"/>
                </a:cubicBezTo>
                <a:cubicBezTo>
                  <a:pt x="632" y="335"/>
                  <a:pt x="632" y="335"/>
                  <a:pt x="632" y="335"/>
                </a:cubicBezTo>
                <a:cubicBezTo>
                  <a:pt x="656" y="335"/>
                  <a:pt x="656" y="335"/>
                  <a:pt x="656" y="335"/>
                </a:cubicBezTo>
                <a:cubicBezTo>
                  <a:pt x="656" y="162"/>
                  <a:pt x="656" y="162"/>
                  <a:pt x="656" y="162"/>
                </a:cubicBezTo>
                <a:cubicBezTo>
                  <a:pt x="656" y="152"/>
                  <a:pt x="658" y="144"/>
                  <a:pt x="661" y="137"/>
                </a:cubicBezTo>
                <a:cubicBezTo>
                  <a:pt x="664" y="129"/>
                  <a:pt x="669" y="122"/>
                  <a:pt x="674" y="117"/>
                </a:cubicBezTo>
                <a:cubicBezTo>
                  <a:pt x="680" y="112"/>
                  <a:pt x="687" y="108"/>
                  <a:pt x="695" y="105"/>
                </a:cubicBezTo>
                <a:cubicBezTo>
                  <a:pt x="703" y="102"/>
                  <a:pt x="712" y="100"/>
                  <a:pt x="722" y="100"/>
                </a:cubicBezTo>
                <a:cubicBezTo>
                  <a:pt x="735" y="100"/>
                  <a:pt x="745" y="102"/>
                  <a:pt x="754" y="106"/>
                </a:cubicBezTo>
                <a:cubicBezTo>
                  <a:pt x="762" y="110"/>
                  <a:pt x="769" y="115"/>
                  <a:pt x="773" y="120"/>
                </a:cubicBezTo>
                <a:cubicBezTo>
                  <a:pt x="778" y="126"/>
                  <a:pt x="781" y="133"/>
                  <a:pt x="783" y="140"/>
                </a:cubicBezTo>
                <a:cubicBezTo>
                  <a:pt x="785" y="149"/>
                  <a:pt x="786" y="156"/>
                  <a:pt x="786" y="163"/>
                </a:cubicBezTo>
                <a:cubicBezTo>
                  <a:pt x="786" y="335"/>
                  <a:pt x="786" y="335"/>
                  <a:pt x="786" y="335"/>
                </a:cubicBezTo>
                <a:cubicBezTo>
                  <a:pt x="810" y="335"/>
                  <a:pt x="810" y="335"/>
                  <a:pt x="810" y="335"/>
                </a:cubicBezTo>
                <a:cubicBezTo>
                  <a:pt x="810" y="163"/>
                  <a:pt x="810" y="163"/>
                  <a:pt x="810" y="163"/>
                </a:cubicBezTo>
                <a:cubicBezTo>
                  <a:pt x="810" y="135"/>
                  <a:pt x="802" y="113"/>
                  <a:pt x="787" y="98"/>
                </a:cubicBezTo>
                <a:cubicBezTo>
                  <a:pt x="771" y="83"/>
                  <a:pt x="749" y="75"/>
                  <a:pt x="722" y="75"/>
                </a:cubicBezTo>
                <a:close/>
                <a:moveTo>
                  <a:pt x="1650" y="337"/>
                </a:moveTo>
                <a:cubicBezTo>
                  <a:pt x="1672" y="337"/>
                  <a:pt x="1689" y="331"/>
                  <a:pt x="1701" y="321"/>
                </a:cubicBezTo>
                <a:cubicBezTo>
                  <a:pt x="1692" y="298"/>
                  <a:pt x="1692" y="298"/>
                  <a:pt x="1692" y="298"/>
                </a:cubicBezTo>
                <a:cubicBezTo>
                  <a:pt x="1683" y="306"/>
                  <a:pt x="1670" y="313"/>
                  <a:pt x="1650" y="313"/>
                </a:cubicBezTo>
                <a:cubicBezTo>
                  <a:pt x="1636" y="313"/>
                  <a:pt x="1625" y="308"/>
                  <a:pt x="1618" y="300"/>
                </a:cubicBezTo>
                <a:cubicBezTo>
                  <a:pt x="1611" y="291"/>
                  <a:pt x="1607" y="277"/>
                  <a:pt x="1607" y="256"/>
                </a:cubicBezTo>
                <a:cubicBezTo>
                  <a:pt x="1607" y="101"/>
                  <a:pt x="1607" y="101"/>
                  <a:pt x="1607" y="101"/>
                </a:cubicBezTo>
                <a:cubicBezTo>
                  <a:pt x="1685" y="101"/>
                  <a:pt x="1685" y="101"/>
                  <a:pt x="1685" y="101"/>
                </a:cubicBezTo>
                <a:cubicBezTo>
                  <a:pt x="1686" y="101"/>
                  <a:pt x="1686" y="101"/>
                  <a:pt x="1686" y="101"/>
                </a:cubicBezTo>
                <a:cubicBezTo>
                  <a:pt x="1686" y="78"/>
                  <a:pt x="1686" y="78"/>
                  <a:pt x="1686" y="78"/>
                </a:cubicBezTo>
                <a:cubicBezTo>
                  <a:pt x="1686" y="78"/>
                  <a:pt x="1686" y="78"/>
                  <a:pt x="1685" y="78"/>
                </a:cubicBezTo>
                <a:cubicBezTo>
                  <a:pt x="1607" y="78"/>
                  <a:pt x="1607" y="78"/>
                  <a:pt x="1607" y="78"/>
                </a:cubicBezTo>
                <a:cubicBezTo>
                  <a:pt x="1607" y="0"/>
                  <a:pt x="1607" y="0"/>
                  <a:pt x="1607" y="0"/>
                </a:cubicBezTo>
                <a:cubicBezTo>
                  <a:pt x="1583" y="0"/>
                  <a:pt x="1583" y="0"/>
                  <a:pt x="1583" y="0"/>
                </a:cubicBezTo>
                <a:cubicBezTo>
                  <a:pt x="1583" y="257"/>
                  <a:pt x="1583" y="257"/>
                  <a:pt x="1583" y="257"/>
                </a:cubicBezTo>
                <a:cubicBezTo>
                  <a:pt x="1583" y="284"/>
                  <a:pt x="1589" y="304"/>
                  <a:pt x="1600" y="317"/>
                </a:cubicBezTo>
                <a:cubicBezTo>
                  <a:pt x="1612" y="330"/>
                  <a:pt x="1629" y="337"/>
                  <a:pt x="1650" y="337"/>
                </a:cubicBezTo>
                <a:close/>
                <a:moveTo>
                  <a:pt x="248" y="75"/>
                </a:moveTo>
                <a:cubicBezTo>
                  <a:pt x="248" y="75"/>
                  <a:pt x="248" y="75"/>
                  <a:pt x="248" y="75"/>
                </a:cubicBezTo>
                <a:cubicBezTo>
                  <a:pt x="247" y="75"/>
                  <a:pt x="247" y="75"/>
                  <a:pt x="247" y="75"/>
                </a:cubicBezTo>
                <a:cubicBezTo>
                  <a:pt x="219" y="75"/>
                  <a:pt x="197" y="83"/>
                  <a:pt x="181" y="98"/>
                </a:cubicBezTo>
                <a:cubicBezTo>
                  <a:pt x="176" y="103"/>
                  <a:pt x="172" y="108"/>
                  <a:pt x="169" y="114"/>
                </a:cubicBezTo>
                <a:cubicBezTo>
                  <a:pt x="166" y="108"/>
                  <a:pt x="162" y="103"/>
                  <a:pt x="157" y="98"/>
                </a:cubicBezTo>
                <a:cubicBezTo>
                  <a:pt x="141" y="83"/>
                  <a:pt x="120" y="75"/>
                  <a:pt x="92" y="75"/>
                </a:cubicBezTo>
                <a:cubicBezTo>
                  <a:pt x="90" y="75"/>
                  <a:pt x="90" y="75"/>
                  <a:pt x="90" y="75"/>
                </a:cubicBezTo>
                <a:cubicBezTo>
                  <a:pt x="62" y="75"/>
                  <a:pt x="40" y="83"/>
                  <a:pt x="24" y="98"/>
                </a:cubicBezTo>
                <a:cubicBezTo>
                  <a:pt x="8" y="114"/>
                  <a:pt x="0" y="136"/>
                  <a:pt x="0" y="164"/>
                </a:cubicBezTo>
                <a:cubicBezTo>
                  <a:pt x="0" y="335"/>
                  <a:pt x="0" y="335"/>
                  <a:pt x="0" y="335"/>
                </a:cubicBezTo>
                <a:cubicBezTo>
                  <a:pt x="25" y="335"/>
                  <a:pt x="25" y="335"/>
                  <a:pt x="25" y="335"/>
                </a:cubicBezTo>
                <a:cubicBezTo>
                  <a:pt x="25" y="164"/>
                  <a:pt x="25" y="164"/>
                  <a:pt x="25" y="164"/>
                </a:cubicBezTo>
                <a:cubicBezTo>
                  <a:pt x="25" y="156"/>
                  <a:pt x="26" y="149"/>
                  <a:pt x="27" y="141"/>
                </a:cubicBezTo>
                <a:cubicBezTo>
                  <a:pt x="29" y="134"/>
                  <a:pt x="33" y="127"/>
                  <a:pt x="37" y="121"/>
                </a:cubicBezTo>
                <a:cubicBezTo>
                  <a:pt x="42" y="115"/>
                  <a:pt x="49" y="110"/>
                  <a:pt x="57" y="106"/>
                </a:cubicBezTo>
                <a:cubicBezTo>
                  <a:pt x="65" y="102"/>
                  <a:pt x="76" y="100"/>
                  <a:pt x="89" y="100"/>
                </a:cubicBezTo>
                <a:cubicBezTo>
                  <a:pt x="89" y="100"/>
                  <a:pt x="90" y="100"/>
                  <a:pt x="91" y="100"/>
                </a:cubicBezTo>
                <a:cubicBezTo>
                  <a:pt x="104" y="100"/>
                  <a:pt x="115" y="102"/>
                  <a:pt x="124" y="106"/>
                </a:cubicBezTo>
                <a:cubicBezTo>
                  <a:pt x="132" y="110"/>
                  <a:pt x="139" y="115"/>
                  <a:pt x="143" y="121"/>
                </a:cubicBezTo>
                <a:cubicBezTo>
                  <a:pt x="148" y="127"/>
                  <a:pt x="151" y="133"/>
                  <a:pt x="153" y="141"/>
                </a:cubicBezTo>
                <a:cubicBezTo>
                  <a:pt x="155" y="149"/>
                  <a:pt x="156" y="157"/>
                  <a:pt x="156" y="164"/>
                </a:cubicBezTo>
                <a:cubicBezTo>
                  <a:pt x="156" y="335"/>
                  <a:pt x="156" y="335"/>
                  <a:pt x="156" y="335"/>
                </a:cubicBezTo>
                <a:cubicBezTo>
                  <a:pt x="182" y="335"/>
                  <a:pt x="182" y="335"/>
                  <a:pt x="182" y="335"/>
                </a:cubicBezTo>
                <a:cubicBezTo>
                  <a:pt x="182" y="164"/>
                  <a:pt x="182" y="164"/>
                  <a:pt x="182" y="164"/>
                </a:cubicBezTo>
                <a:cubicBezTo>
                  <a:pt x="182" y="157"/>
                  <a:pt x="183" y="149"/>
                  <a:pt x="185" y="141"/>
                </a:cubicBezTo>
                <a:cubicBezTo>
                  <a:pt x="186" y="134"/>
                  <a:pt x="190" y="127"/>
                  <a:pt x="194" y="121"/>
                </a:cubicBezTo>
                <a:cubicBezTo>
                  <a:pt x="199" y="115"/>
                  <a:pt x="206" y="110"/>
                  <a:pt x="214" y="106"/>
                </a:cubicBezTo>
                <a:cubicBezTo>
                  <a:pt x="222" y="102"/>
                  <a:pt x="233" y="100"/>
                  <a:pt x="246" y="100"/>
                </a:cubicBezTo>
                <a:cubicBezTo>
                  <a:pt x="247" y="100"/>
                  <a:pt x="247" y="100"/>
                  <a:pt x="248" y="100"/>
                </a:cubicBezTo>
                <a:cubicBezTo>
                  <a:pt x="262" y="100"/>
                  <a:pt x="273" y="102"/>
                  <a:pt x="281" y="106"/>
                </a:cubicBezTo>
                <a:cubicBezTo>
                  <a:pt x="289" y="110"/>
                  <a:pt x="296" y="115"/>
                  <a:pt x="301" y="121"/>
                </a:cubicBezTo>
                <a:cubicBezTo>
                  <a:pt x="305" y="127"/>
                  <a:pt x="309" y="134"/>
                  <a:pt x="311" y="141"/>
                </a:cubicBezTo>
                <a:cubicBezTo>
                  <a:pt x="312" y="149"/>
                  <a:pt x="313" y="157"/>
                  <a:pt x="313" y="164"/>
                </a:cubicBezTo>
                <a:cubicBezTo>
                  <a:pt x="313" y="335"/>
                  <a:pt x="313" y="335"/>
                  <a:pt x="313" y="335"/>
                </a:cubicBezTo>
                <a:cubicBezTo>
                  <a:pt x="338" y="335"/>
                  <a:pt x="338" y="335"/>
                  <a:pt x="338" y="335"/>
                </a:cubicBezTo>
                <a:cubicBezTo>
                  <a:pt x="338" y="164"/>
                  <a:pt x="338" y="164"/>
                  <a:pt x="338" y="164"/>
                </a:cubicBezTo>
                <a:cubicBezTo>
                  <a:pt x="338" y="136"/>
                  <a:pt x="330" y="114"/>
                  <a:pt x="314" y="98"/>
                </a:cubicBezTo>
                <a:cubicBezTo>
                  <a:pt x="298" y="83"/>
                  <a:pt x="276" y="75"/>
                  <a:pt x="248" y="75"/>
                </a:cubicBezTo>
                <a:close/>
                <a:moveTo>
                  <a:pt x="1522" y="334"/>
                </a:moveTo>
                <a:cubicBezTo>
                  <a:pt x="1523" y="334"/>
                  <a:pt x="1523" y="334"/>
                  <a:pt x="1524" y="334"/>
                </a:cubicBezTo>
                <a:cubicBezTo>
                  <a:pt x="1524" y="311"/>
                  <a:pt x="1524" y="311"/>
                  <a:pt x="1524" y="311"/>
                </a:cubicBezTo>
                <a:cubicBezTo>
                  <a:pt x="1523" y="311"/>
                  <a:pt x="1523" y="311"/>
                  <a:pt x="1522" y="311"/>
                </a:cubicBezTo>
                <a:cubicBezTo>
                  <a:pt x="1472" y="311"/>
                  <a:pt x="1472" y="311"/>
                  <a:pt x="1472" y="311"/>
                </a:cubicBezTo>
                <a:cubicBezTo>
                  <a:pt x="1472" y="78"/>
                  <a:pt x="1472" y="78"/>
                  <a:pt x="1472" y="78"/>
                </a:cubicBezTo>
                <a:cubicBezTo>
                  <a:pt x="1381" y="78"/>
                  <a:pt x="1381" y="78"/>
                  <a:pt x="1381" y="78"/>
                </a:cubicBezTo>
                <a:cubicBezTo>
                  <a:pt x="1380" y="78"/>
                  <a:pt x="1380" y="78"/>
                  <a:pt x="1380" y="78"/>
                </a:cubicBezTo>
                <a:cubicBezTo>
                  <a:pt x="1380" y="101"/>
                  <a:pt x="1380" y="101"/>
                  <a:pt x="1380" y="101"/>
                </a:cubicBezTo>
                <a:cubicBezTo>
                  <a:pt x="1380" y="101"/>
                  <a:pt x="1380" y="101"/>
                  <a:pt x="1381" y="101"/>
                </a:cubicBezTo>
                <a:cubicBezTo>
                  <a:pt x="1447" y="101"/>
                  <a:pt x="1447" y="101"/>
                  <a:pt x="1447" y="101"/>
                </a:cubicBezTo>
                <a:cubicBezTo>
                  <a:pt x="1447" y="311"/>
                  <a:pt x="1447" y="311"/>
                  <a:pt x="1447" y="311"/>
                </a:cubicBezTo>
                <a:cubicBezTo>
                  <a:pt x="1381" y="311"/>
                  <a:pt x="1381" y="311"/>
                  <a:pt x="1381" y="311"/>
                </a:cubicBezTo>
                <a:cubicBezTo>
                  <a:pt x="1380" y="311"/>
                  <a:pt x="1380" y="311"/>
                  <a:pt x="1380" y="311"/>
                </a:cubicBezTo>
                <a:cubicBezTo>
                  <a:pt x="1380" y="334"/>
                  <a:pt x="1380" y="334"/>
                  <a:pt x="1380" y="334"/>
                </a:cubicBezTo>
                <a:cubicBezTo>
                  <a:pt x="1380" y="334"/>
                  <a:pt x="1380" y="334"/>
                  <a:pt x="1381" y="334"/>
                </a:cubicBezTo>
                <a:lnTo>
                  <a:pt x="1522" y="334"/>
                </a:lnTo>
                <a:close/>
                <a:moveTo>
                  <a:pt x="507" y="78"/>
                </a:moveTo>
                <a:cubicBezTo>
                  <a:pt x="415" y="78"/>
                  <a:pt x="415" y="78"/>
                  <a:pt x="415" y="78"/>
                </a:cubicBezTo>
                <a:cubicBezTo>
                  <a:pt x="414" y="78"/>
                  <a:pt x="413" y="78"/>
                  <a:pt x="412" y="79"/>
                </a:cubicBezTo>
                <a:cubicBezTo>
                  <a:pt x="412" y="101"/>
                  <a:pt x="412" y="101"/>
                  <a:pt x="412" y="101"/>
                </a:cubicBezTo>
                <a:cubicBezTo>
                  <a:pt x="413" y="101"/>
                  <a:pt x="414" y="101"/>
                  <a:pt x="415" y="101"/>
                </a:cubicBezTo>
                <a:cubicBezTo>
                  <a:pt x="482" y="101"/>
                  <a:pt x="482" y="101"/>
                  <a:pt x="482" y="101"/>
                </a:cubicBezTo>
                <a:cubicBezTo>
                  <a:pt x="482" y="311"/>
                  <a:pt x="482" y="311"/>
                  <a:pt x="482" y="311"/>
                </a:cubicBezTo>
                <a:cubicBezTo>
                  <a:pt x="412" y="311"/>
                  <a:pt x="412" y="311"/>
                  <a:pt x="412" y="311"/>
                </a:cubicBezTo>
                <a:cubicBezTo>
                  <a:pt x="412" y="334"/>
                  <a:pt x="412" y="334"/>
                  <a:pt x="412" y="334"/>
                </a:cubicBezTo>
                <a:cubicBezTo>
                  <a:pt x="413" y="334"/>
                  <a:pt x="556" y="334"/>
                  <a:pt x="556" y="334"/>
                </a:cubicBezTo>
                <a:cubicBezTo>
                  <a:pt x="556" y="311"/>
                  <a:pt x="556" y="311"/>
                  <a:pt x="556" y="311"/>
                </a:cubicBezTo>
                <a:cubicBezTo>
                  <a:pt x="507" y="311"/>
                  <a:pt x="507" y="311"/>
                  <a:pt x="507" y="311"/>
                </a:cubicBezTo>
                <a:lnTo>
                  <a:pt x="507" y="78"/>
                </a:lnTo>
                <a:close/>
                <a:moveTo>
                  <a:pt x="1297" y="126"/>
                </a:moveTo>
                <a:cubicBezTo>
                  <a:pt x="1301" y="137"/>
                  <a:pt x="1303" y="149"/>
                  <a:pt x="1303" y="162"/>
                </a:cubicBezTo>
                <a:cubicBezTo>
                  <a:pt x="1303" y="334"/>
                  <a:pt x="1303" y="334"/>
                  <a:pt x="1303" y="334"/>
                </a:cubicBezTo>
                <a:cubicBezTo>
                  <a:pt x="1288" y="334"/>
                  <a:pt x="1288" y="334"/>
                  <a:pt x="1288" y="334"/>
                </a:cubicBezTo>
                <a:cubicBezTo>
                  <a:pt x="1280" y="314"/>
                  <a:pt x="1280" y="314"/>
                  <a:pt x="1280" y="314"/>
                </a:cubicBezTo>
                <a:cubicBezTo>
                  <a:pt x="1280" y="315"/>
                  <a:pt x="1280" y="315"/>
                  <a:pt x="1280" y="315"/>
                </a:cubicBezTo>
                <a:cubicBezTo>
                  <a:pt x="1280" y="313"/>
                  <a:pt x="1280" y="313"/>
                  <a:pt x="1280" y="313"/>
                </a:cubicBezTo>
                <a:cubicBezTo>
                  <a:pt x="1280" y="314"/>
                  <a:pt x="1279" y="314"/>
                  <a:pt x="1279" y="314"/>
                </a:cubicBezTo>
                <a:cubicBezTo>
                  <a:pt x="1263" y="329"/>
                  <a:pt x="1241" y="337"/>
                  <a:pt x="1214" y="337"/>
                </a:cubicBezTo>
                <a:cubicBezTo>
                  <a:pt x="1186" y="337"/>
                  <a:pt x="1164" y="329"/>
                  <a:pt x="1148" y="314"/>
                </a:cubicBezTo>
                <a:cubicBezTo>
                  <a:pt x="1132" y="299"/>
                  <a:pt x="1124" y="277"/>
                  <a:pt x="1124" y="249"/>
                </a:cubicBezTo>
                <a:cubicBezTo>
                  <a:pt x="1124" y="162"/>
                  <a:pt x="1124" y="162"/>
                  <a:pt x="1124" y="162"/>
                </a:cubicBezTo>
                <a:cubicBezTo>
                  <a:pt x="1124" y="149"/>
                  <a:pt x="1126" y="137"/>
                  <a:pt x="1130" y="126"/>
                </a:cubicBezTo>
                <a:cubicBezTo>
                  <a:pt x="1135" y="116"/>
                  <a:pt x="1141" y="106"/>
                  <a:pt x="1148" y="99"/>
                </a:cubicBezTo>
                <a:cubicBezTo>
                  <a:pt x="1156" y="91"/>
                  <a:pt x="1165" y="85"/>
                  <a:pt x="1177" y="81"/>
                </a:cubicBezTo>
                <a:cubicBezTo>
                  <a:pt x="1199" y="73"/>
                  <a:pt x="1228" y="73"/>
                  <a:pt x="1250" y="81"/>
                </a:cubicBezTo>
                <a:cubicBezTo>
                  <a:pt x="1262" y="85"/>
                  <a:pt x="1271" y="91"/>
                  <a:pt x="1279" y="99"/>
                </a:cubicBezTo>
                <a:cubicBezTo>
                  <a:pt x="1286" y="106"/>
                  <a:pt x="1293" y="116"/>
                  <a:pt x="1297" y="126"/>
                </a:cubicBezTo>
                <a:close/>
                <a:moveTo>
                  <a:pt x="1278" y="162"/>
                </a:moveTo>
                <a:cubicBezTo>
                  <a:pt x="1278" y="143"/>
                  <a:pt x="1272" y="127"/>
                  <a:pt x="1261" y="116"/>
                </a:cubicBezTo>
                <a:cubicBezTo>
                  <a:pt x="1250" y="105"/>
                  <a:pt x="1234" y="100"/>
                  <a:pt x="1214" y="100"/>
                </a:cubicBezTo>
                <a:cubicBezTo>
                  <a:pt x="1193" y="100"/>
                  <a:pt x="1177" y="105"/>
                  <a:pt x="1166" y="116"/>
                </a:cubicBezTo>
                <a:cubicBezTo>
                  <a:pt x="1155" y="127"/>
                  <a:pt x="1149" y="142"/>
                  <a:pt x="1149" y="162"/>
                </a:cubicBezTo>
                <a:cubicBezTo>
                  <a:pt x="1149" y="249"/>
                  <a:pt x="1149" y="249"/>
                  <a:pt x="1149" y="249"/>
                </a:cubicBezTo>
                <a:cubicBezTo>
                  <a:pt x="1149" y="256"/>
                  <a:pt x="1150" y="263"/>
                  <a:pt x="1152" y="271"/>
                </a:cubicBezTo>
                <a:cubicBezTo>
                  <a:pt x="1154" y="278"/>
                  <a:pt x="1157" y="285"/>
                  <a:pt x="1162" y="291"/>
                </a:cubicBezTo>
                <a:cubicBezTo>
                  <a:pt x="1166" y="297"/>
                  <a:pt x="1173" y="302"/>
                  <a:pt x="1181" y="306"/>
                </a:cubicBezTo>
                <a:cubicBezTo>
                  <a:pt x="1189" y="310"/>
                  <a:pt x="1200" y="312"/>
                  <a:pt x="1214" y="312"/>
                </a:cubicBezTo>
                <a:cubicBezTo>
                  <a:pt x="1227" y="312"/>
                  <a:pt x="1238" y="310"/>
                  <a:pt x="1246" y="306"/>
                </a:cubicBezTo>
                <a:cubicBezTo>
                  <a:pt x="1255" y="302"/>
                  <a:pt x="1261" y="297"/>
                  <a:pt x="1266" y="291"/>
                </a:cubicBezTo>
                <a:cubicBezTo>
                  <a:pt x="1270" y="285"/>
                  <a:pt x="1273" y="278"/>
                  <a:pt x="1275" y="271"/>
                </a:cubicBezTo>
                <a:cubicBezTo>
                  <a:pt x="1277" y="263"/>
                  <a:pt x="1278" y="256"/>
                  <a:pt x="1278" y="249"/>
                </a:cubicBezTo>
                <a:lnTo>
                  <a:pt x="1278" y="162"/>
                </a:lnTo>
                <a:close/>
              </a:path>
            </a:pathLst>
          </a:custGeom>
          <a:solidFill>
            <a:srgbClr val="1A3B47"/>
          </a:solidFill>
          <a:ln>
            <a:noFill/>
          </a:ln>
        </p:spPr>
        <p:txBody>
          <a:bodyPr spcFirstLastPara="1" wrap="square" lIns="121900" tIns="60950" rIns="121900" bIns="6095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dk1"/>
              </a:solidFill>
              <a:latin typeface="Arial"/>
              <a:ea typeface="Arial"/>
              <a:cs typeface="Arial"/>
              <a:sym typeface="Arial"/>
            </a:endParaRPr>
          </a:p>
        </p:txBody>
      </p:sp>
      <p:sp>
        <p:nvSpPr>
          <p:cNvPr id="52" name="Google Shape;52;p14"/>
          <p:cNvSpPr txBox="1"/>
          <p:nvPr/>
        </p:nvSpPr>
        <p:spPr>
          <a:xfrm>
            <a:off x="11472598" y="6501342"/>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7"/>
              <a:buFont typeface="Arial"/>
              <a:buNone/>
            </a:pPr>
            <a:fld id="{00000000-1234-1234-1234-123412341234}" type="slidenum">
              <a:rPr lang="es-ES" sz="1067" b="0" i="0" u="none" strike="noStrike" cap="none">
                <a:solidFill>
                  <a:schemeClr val="lt1"/>
                </a:solidFill>
                <a:latin typeface="Arial"/>
                <a:ea typeface="Arial"/>
                <a:cs typeface="Arial"/>
                <a:sym typeface="Arial"/>
              </a:rPr>
              <a:t>‹Nº›</a:t>
            </a:fld>
            <a:endParaRPr sz="1067" b="0" i="0" u="none" strike="noStrike" cap="none">
              <a:solidFill>
                <a:schemeClr val="lt1"/>
              </a:solidFill>
              <a:latin typeface="Arial"/>
              <a:ea typeface="Arial"/>
              <a:cs typeface="Arial"/>
              <a:sym typeface="Aria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in nada">
  <p:cSld name="Sin nada">
    <p:spTree>
      <p:nvGrpSpPr>
        <p:cNvPr id="1" name="Shape 53"/>
        <p:cNvGrpSpPr/>
        <p:nvPr/>
      </p:nvGrpSpPr>
      <p:grpSpPr>
        <a:xfrm>
          <a:off x="0" y="0"/>
          <a:ext cx="0" cy="0"/>
          <a:chOff x="0" y="0"/>
          <a:chExt cx="0" cy="0"/>
        </a:xfrm>
      </p:grpSpPr>
      <p:graphicFrame>
        <p:nvGraphicFramePr>
          <p:cNvPr id="54" name="Google Shape;54;p17"/>
          <p:cNvGraphicFramePr/>
          <p:nvPr/>
        </p:nvGraphicFramePr>
        <p:xfrm>
          <a:off x="2117" y="2121"/>
          <a:ext cx="2117" cy="2117"/>
        </p:xfrm>
        <a:graphic>
          <a:graphicData uri="http://schemas.openxmlformats.org/presentationml/2006/ole">
            <mc:AlternateContent xmlns:mc="http://schemas.openxmlformats.org/markup-compatibility/2006">
              <mc:Choice xmlns:v="urn:schemas-microsoft-com:vml" Requires="v">
                <p:oleObj spid="_x0000_s2110" r:id="rId3" imgW="2117" imgH="2117" progId="TCLayout.ActiveDocument.1">
                  <p:embed/>
                </p:oleObj>
              </mc:Choice>
              <mc:Fallback>
                <p:oleObj r:id="rId3" imgW="2117" imgH="2117" progId="TCLayout.ActiveDocument.1">
                  <p:embed/>
                  <p:pic>
                    <p:nvPicPr>
                      <p:cNvPr id="54" name="Google Shape;54;p17"/>
                      <p:cNvPicPr preferRelativeResize="0"/>
                      <p:nvPr/>
                    </p:nvPicPr>
                    <p:blipFill rotWithShape="1">
                      <a:blip r:embed="rId4">
                        <a:alphaModFix/>
                      </a:blip>
                      <a:srcRect/>
                      <a:stretch/>
                    </p:blipFill>
                    <p:spPr>
                      <a:xfrm>
                        <a:off x="2117" y="2121"/>
                        <a:ext cx="2117" cy="2117"/>
                      </a:xfrm>
                      <a:prstGeom prst="rect">
                        <a:avLst/>
                      </a:prstGeom>
                      <a:noFill/>
                      <a:ln>
                        <a:noFill/>
                      </a:ln>
                    </p:spPr>
                  </p:pic>
                </p:oleObj>
              </mc:Fallback>
            </mc:AlternateContent>
          </a:graphicData>
        </a:graphic>
      </p:graphicFrame>
      <p:sp>
        <p:nvSpPr>
          <p:cNvPr id="55" name="Google Shape;55;p17"/>
          <p:cNvSpPr txBox="1">
            <a:spLocks noGrp="1"/>
          </p:cNvSpPr>
          <p:nvPr>
            <p:ph type="title"/>
          </p:nvPr>
        </p:nvSpPr>
        <p:spPr>
          <a:xfrm>
            <a:off x="336000" y="649095"/>
            <a:ext cx="11519451" cy="919343"/>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2400"/>
              <a:buFont typeface="Playfair Display"/>
              <a:buNone/>
              <a:defRPr sz="2400"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56" name="Google Shape;56;p17"/>
          <p:cNvSpPr txBox="1">
            <a:spLocks noGrp="1"/>
          </p:cNvSpPr>
          <p:nvPr>
            <p:ph type="body" idx="1"/>
          </p:nvPr>
        </p:nvSpPr>
        <p:spPr>
          <a:xfrm>
            <a:off x="336000" y="357000"/>
            <a:ext cx="11519451" cy="251520"/>
          </a:xfrm>
          <a:prstGeom prst="rect">
            <a:avLst/>
          </a:prstGeom>
          <a:noFill/>
          <a:ln>
            <a:noFill/>
          </a:ln>
        </p:spPr>
        <p:txBody>
          <a:bodyPr spcFirstLastPara="1" wrap="square" lIns="0" tIns="45700" rIns="91425" bIns="45700" anchor="t" anchorCtr="0">
            <a:noAutofit/>
          </a:bodyPr>
          <a:lstStyle>
            <a:lvl1pPr marL="457200" marR="0" lvl="0" indent="-228600" algn="l" rtl="0">
              <a:lnSpc>
                <a:spcPct val="90000"/>
              </a:lnSpc>
              <a:spcBef>
                <a:spcPts val="999"/>
              </a:spcBef>
              <a:spcAft>
                <a:spcPts val="0"/>
              </a:spcAft>
              <a:buClr>
                <a:srgbClr val="1A3B47"/>
              </a:buClr>
              <a:buSzPts val="1000"/>
              <a:buFont typeface="Arial"/>
              <a:buNone/>
              <a:defRPr sz="1000" b="0" i="0" u="none" strike="noStrike" cap="none">
                <a:solidFill>
                  <a:srgbClr val="1A3B47"/>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399"/>
              <a:buFont typeface="Arial"/>
              <a:buNone/>
              <a:defRPr sz="2399"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8_1. Texto grande">
  <p:cSld name="8_1. Texto grande">
    <p:spTree>
      <p:nvGrpSpPr>
        <p:cNvPr id="1" name="Shape 57"/>
        <p:cNvGrpSpPr/>
        <p:nvPr/>
      </p:nvGrpSpPr>
      <p:grpSpPr>
        <a:xfrm>
          <a:off x="0" y="0"/>
          <a:ext cx="0" cy="0"/>
          <a:chOff x="0" y="0"/>
          <a:chExt cx="0" cy="0"/>
        </a:xfrm>
      </p:grpSpPr>
      <p:sp>
        <p:nvSpPr>
          <p:cNvPr id="58" name="Google Shape;58;p16"/>
          <p:cNvSpPr txBox="1">
            <a:spLocks noGrp="1"/>
          </p:cNvSpPr>
          <p:nvPr>
            <p:ph type="title"/>
          </p:nvPr>
        </p:nvSpPr>
        <p:spPr>
          <a:xfrm>
            <a:off x="336000" y="649091"/>
            <a:ext cx="11519451" cy="919343"/>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2667"/>
              <a:buFont typeface="Playfair Display"/>
              <a:buNone/>
              <a:defRPr sz="2667"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59" name="Google Shape;59;p16"/>
          <p:cNvSpPr txBox="1">
            <a:spLocks noGrp="1"/>
          </p:cNvSpPr>
          <p:nvPr>
            <p:ph type="body" idx="1"/>
          </p:nvPr>
        </p:nvSpPr>
        <p:spPr>
          <a:xfrm>
            <a:off x="336000" y="357000"/>
            <a:ext cx="11519451" cy="251520"/>
          </a:xfrm>
          <a:prstGeom prst="rect">
            <a:avLst/>
          </a:prstGeom>
          <a:noFill/>
          <a:ln>
            <a:noFill/>
          </a:ln>
        </p:spPr>
        <p:txBody>
          <a:bodyPr spcFirstLastPara="1" wrap="square" lIns="0" tIns="45700" rIns="91425" bIns="45700" anchor="t" anchorCtr="0">
            <a:noAutofit/>
          </a:bodyPr>
          <a:lstStyle>
            <a:lvl1pPr marL="457200" marR="0" lvl="0" indent="-228600" algn="l" rtl="0">
              <a:lnSpc>
                <a:spcPct val="90000"/>
              </a:lnSpc>
              <a:spcBef>
                <a:spcPts val="999"/>
              </a:spcBef>
              <a:spcAft>
                <a:spcPts val="0"/>
              </a:spcAft>
              <a:buClr>
                <a:srgbClr val="1A3B47"/>
              </a:buClr>
              <a:buSzPts val="1067"/>
              <a:buFont typeface="Arial"/>
              <a:buNone/>
              <a:defRPr sz="1067" b="0" i="0" u="none" strike="noStrike" cap="none">
                <a:solidFill>
                  <a:srgbClr val="1A3B47"/>
                </a:solidFill>
                <a:latin typeface="Arial"/>
                <a:ea typeface="Arial"/>
                <a:cs typeface="Arial"/>
                <a:sym typeface="Arial"/>
              </a:defRPr>
            </a:lvl1pPr>
            <a:lvl2pPr marL="914400" marR="0" lvl="1" indent="-228600" algn="l" rtl="0">
              <a:lnSpc>
                <a:spcPct val="90000"/>
              </a:lnSpc>
              <a:spcBef>
                <a:spcPts val="500"/>
              </a:spcBef>
              <a:spcAft>
                <a:spcPts val="0"/>
              </a:spcAft>
              <a:buClr>
                <a:schemeClr val="dk1"/>
              </a:buClr>
              <a:buSzPts val="2399"/>
              <a:buFont typeface="Arial"/>
              <a:buNone/>
              <a:defRPr sz="2399" b="0" i="0" u="none" strike="noStrike" cap="none">
                <a:solidFill>
                  <a:schemeClr val="dk1"/>
                </a:solidFill>
                <a:latin typeface="Arial"/>
                <a:ea typeface="Arial"/>
                <a:cs typeface="Arial"/>
                <a:sym typeface="Arial"/>
              </a:defRPr>
            </a:lvl2pPr>
            <a:lvl3pPr marL="1371600" marR="0" lvl="2" indent="-228600" algn="l" rtl="0">
              <a:lnSpc>
                <a:spcPct val="90000"/>
              </a:lnSpc>
              <a:spcBef>
                <a:spcPts val="500"/>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3pPr>
            <a:lvl4pPr marL="1828800" marR="0" lvl="3"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4pPr>
            <a:lvl5pPr marL="2286000" marR="0" lvl="4" indent="-228600" algn="l" rtl="0">
              <a:lnSpc>
                <a:spcPct val="90000"/>
              </a:lnSpc>
              <a:spcBef>
                <a:spcPts val="500"/>
              </a:spcBef>
              <a:spcAft>
                <a:spcPts val="0"/>
              </a:spcAft>
              <a:buClr>
                <a:schemeClr val="dk1"/>
              </a:buClr>
              <a:buSzPts val="1799"/>
              <a:buFont typeface="Arial"/>
              <a:buNone/>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grpSp>
        <p:nvGrpSpPr>
          <p:cNvPr id="60" name="Google Shape;60;p16"/>
          <p:cNvGrpSpPr/>
          <p:nvPr/>
        </p:nvGrpSpPr>
        <p:grpSpPr>
          <a:xfrm>
            <a:off x="10328936" y="6242389"/>
            <a:ext cx="1871531" cy="642611"/>
            <a:chOff x="8064500" y="4790414"/>
            <a:chExt cx="1083150" cy="371911"/>
          </a:xfrm>
        </p:grpSpPr>
        <p:sp>
          <p:nvSpPr>
            <p:cNvPr id="61" name="Google Shape;61;p16"/>
            <p:cNvSpPr/>
            <p:nvPr/>
          </p:nvSpPr>
          <p:spPr>
            <a:xfrm>
              <a:off x="8261825" y="4790414"/>
              <a:ext cx="885825" cy="349250"/>
            </a:xfrm>
            <a:custGeom>
              <a:avLst/>
              <a:gdLst/>
              <a:ahLst/>
              <a:cxnLst/>
              <a:rect l="l" t="t" r="r" b="b"/>
              <a:pathLst>
                <a:path w="885825" h="349250" extrusionOk="0">
                  <a:moveTo>
                    <a:pt x="885825" y="225425"/>
                  </a:moveTo>
                  <a:lnTo>
                    <a:pt x="885825" y="0"/>
                  </a:lnTo>
                  <a:lnTo>
                    <a:pt x="0" y="250825"/>
                  </a:lnTo>
                  <a:lnTo>
                    <a:pt x="0" y="349250"/>
                  </a:lnTo>
                  <a:lnTo>
                    <a:pt x="885825" y="225425"/>
                  </a:lnTo>
                  <a:close/>
                </a:path>
              </a:pathLst>
            </a:cu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9"/>
                <a:buFont typeface="Arial"/>
                <a:buNone/>
              </a:pPr>
              <a:endParaRPr sz="2399" b="0" i="0" u="none" strike="noStrike" cap="none">
                <a:solidFill>
                  <a:schemeClr val="lt1"/>
                </a:solidFill>
                <a:latin typeface="Arial"/>
                <a:ea typeface="Arial"/>
                <a:cs typeface="Arial"/>
                <a:sym typeface="Arial"/>
              </a:endParaRPr>
            </a:p>
          </p:txBody>
        </p:sp>
        <p:sp>
          <p:nvSpPr>
            <p:cNvPr id="62" name="Google Shape;62;p16"/>
            <p:cNvSpPr/>
            <p:nvPr/>
          </p:nvSpPr>
          <p:spPr>
            <a:xfrm>
              <a:off x="8064500" y="4844050"/>
              <a:ext cx="1083150" cy="318275"/>
            </a:xfrm>
            <a:custGeom>
              <a:avLst/>
              <a:gdLst/>
              <a:ahLst/>
              <a:cxnLst/>
              <a:rect l="l" t="t" r="r" b="b"/>
              <a:pathLst>
                <a:path w="1083150" h="318275" extrusionOk="0">
                  <a:moveTo>
                    <a:pt x="0" y="307900"/>
                  </a:moveTo>
                  <a:lnTo>
                    <a:pt x="1083150" y="0"/>
                  </a:lnTo>
                  <a:cubicBezTo>
                    <a:pt x="1082442" y="106092"/>
                    <a:pt x="1081733" y="212183"/>
                    <a:pt x="1081025" y="318275"/>
                  </a:cubicBezTo>
                  <a:lnTo>
                    <a:pt x="0" y="307900"/>
                  </a:lnTo>
                  <a:close/>
                </a:path>
              </a:pathLst>
            </a:cu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9"/>
                <a:buFont typeface="Arial"/>
                <a:buNone/>
              </a:pPr>
              <a:endParaRPr sz="2399" b="0" i="0" u="none" strike="noStrike" cap="none">
                <a:solidFill>
                  <a:schemeClr val="lt1"/>
                </a:solidFill>
                <a:latin typeface="Arial"/>
                <a:ea typeface="Arial"/>
                <a:cs typeface="Arial"/>
                <a:sym typeface="Arial"/>
              </a:endParaRPr>
            </a:p>
          </p:txBody>
        </p:sp>
      </p:grpSp>
      <p:sp>
        <p:nvSpPr>
          <p:cNvPr id="63" name="Google Shape;63;p16"/>
          <p:cNvSpPr txBox="1"/>
          <p:nvPr/>
        </p:nvSpPr>
        <p:spPr>
          <a:xfrm>
            <a:off x="11472598" y="6501342"/>
            <a:ext cx="382853" cy="323687"/>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067"/>
              <a:buFont typeface="Arial"/>
              <a:buNone/>
            </a:pPr>
            <a:fld id="{00000000-1234-1234-1234-123412341234}" type="slidenum">
              <a:rPr lang="es-ES" sz="1067" b="0" i="0" u="none" strike="noStrike" cap="none">
                <a:solidFill>
                  <a:schemeClr val="lt1"/>
                </a:solidFill>
                <a:latin typeface="Arial"/>
                <a:ea typeface="Arial"/>
                <a:cs typeface="Arial"/>
                <a:sym typeface="Arial"/>
              </a:rPr>
              <a:t>‹Nº›</a:t>
            </a:fld>
            <a:endParaRPr sz="1067" b="0" i="0" u="none" strike="noStrike" cap="none">
              <a:solidFill>
                <a:schemeClr val="lt1"/>
              </a:solidFill>
              <a:latin typeface="Arial"/>
              <a:ea typeface="Arial"/>
              <a:cs typeface="Arial"/>
              <a:sym typeface="Arial"/>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1. Portada Foto">
  <p:cSld name="1. Portada Foto">
    <p:spTree>
      <p:nvGrpSpPr>
        <p:cNvPr id="1" name="Shape 64"/>
        <p:cNvGrpSpPr/>
        <p:nvPr/>
      </p:nvGrpSpPr>
      <p:grpSpPr>
        <a:xfrm>
          <a:off x="0" y="0"/>
          <a:ext cx="0" cy="0"/>
          <a:chOff x="0" y="0"/>
          <a:chExt cx="0" cy="0"/>
        </a:xfrm>
      </p:grpSpPr>
      <p:sp>
        <p:nvSpPr>
          <p:cNvPr id="65" name="Google Shape;65;p18"/>
          <p:cNvSpPr>
            <a:spLocks noGrp="1"/>
          </p:cNvSpPr>
          <p:nvPr>
            <p:ph type="pic" idx="2"/>
          </p:nvPr>
        </p:nvSpPr>
        <p:spPr>
          <a:xfrm>
            <a:off x="0" y="4"/>
            <a:ext cx="12192000" cy="6877415"/>
          </a:xfrm>
          <a:prstGeom prst="rect">
            <a:avLst/>
          </a:prstGeom>
          <a:noFill/>
          <a:ln>
            <a:noFill/>
          </a:ln>
        </p:spPr>
        <p:txBody>
          <a:bodyPr spcFirstLastPara="1" wrap="square" lIns="91425" tIns="45700" rIns="91425" bIns="45700" anchor="t" anchorCtr="0">
            <a:noAutofit/>
          </a:bodyPr>
          <a:lstStyle>
            <a:lvl1pPr marR="0" lvl="0" algn="ctr" rtl="0">
              <a:lnSpc>
                <a:spcPct val="90000"/>
              </a:lnSpc>
              <a:spcBef>
                <a:spcPts val="999"/>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1pPr>
            <a:lvl2pPr marR="0" lvl="1" algn="l" rtl="0">
              <a:lnSpc>
                <a:spcPct val="90000"/>
              </a:lnSpc>
              <a:spcBef>
                <a:spcPts val="500"/>
              </a:spcBef>
              <a:spcAft>
                <a:spcPts val="0"/>
              </a:spcAft>
              <a:buClr>
                <a:schemeClr val="dk1"/>
              </a:buClr>
              <a:buSzPts val="2399"/>
              <a:buFont typeface="Arial"/>
              <a:buChar char="•"/>
              <a:defRPr sz="2399"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1999"/>
              <a:buFont typeface="Arial"/>
              <a:buChar char="•"/>
              <a:defRPr sz="1999"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
        <p:nvSpPr>
          <p:cNvPr id="66" name="Google Shape;66;p18"/>
          <p:cNvSpPr txBox="1">
            <a:spLocks noGrp="1"/>
          </p:cNvSpPr>
          <p:nvPr>
            <p:ph type="body" idx="1"/>
          </p:nvPr>
        </p:nvSpPr>
        <p:spPr>
          <a:xfrm>
            <a:off x="336002" y="383588"/>
            <a:ext cx="3725333" cy="214776"/>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999"/>
              </a:spcBef>
              <a:spcAft>
                <a:spcPts val="0"/>
              </a:spcAft>
              <a:buClr>
                <a:schemeClr val="dk1"/>
              </a:buClr>
              <a:buSzPts val="1866"/>
              <a:buFont typeface="Arial"/>
              <a:buNone/>
              <a:defRPr sz="1866" b="0" i="0" u="none" strike="noStrike" cap="none">
                <a:solidFill>
                  <a:schemeClr val="dk1"/>
                </a:solidFill>
                <a:latin typeface="Arial"/>
                <a:ea typeface="Arial"/>
                <a:cs typeface="Arial"/>
                <a:sym typeface="Arial"/>
              </a:defRPr>
            </a:lvl1pPr>
            <a:lvl2pPr marL="914400" marR="0" lvl="1" indent="-380936" algn="l" rtl="0">
              <a:lnSpc>
                <a:spcPct val="90000"/>
              </a:lnSpc>
              <a:spcBef>
                <a:spcPts val="500"/>
              </a:spcBef>
              <a:spcAft>
                <a:spcPts val="0"/>
              </a:spcAft>
              <a:buClr>
                <a:schemeClr val="dk1"/>
              </a:buClr>
              <a:buSzPts val="2399"/>
              <a:buFont typeface="Arial"/>
              <a:buChar char="•"/>
              <a:defRPr sz="2399" b="0" i="0" u="none" strike="noStrike" cap="none">
                <a:solidFill>
                  <a:schemeClr val="dk1"/>
                </a:solidFill>
                <a:latin typeface="Arial"/>
                <a:ea typeface="Arial"/>
                <a:cs typeface="Arial"/>
                <a:sym typeface="Arial"/>
              </a:defRPr>
            </a:lvl2pPr>
            <a:lvl3pPr marL="1371600" marR="0" lvl="2" indent="-355536" algn="l" rtl="0">
              <a:lnSpc>
                <a:spcPct val="90000"/>
              </a:lnSpc>
              <a:spcBef>
                <a:spcPts val="500"/>
              </a:spcBef>
              <a:spcAft>
                <a:spcPts val="0"/>
              </a:spcAft>
              <a:buClr>
                <a:schemeClr val="dk1"/>
              </a:buClr>
              <a:buSzPts val="1999"/>
              <a:buFont typeface="Arial"/>
              <a:buChar char="•"/>
              <a:defRPr sz="1999" b="0" i="0" u="none" strike="noStrike" cap="none">
                <a:solidFill>
                  <a:schemeClr val="dk1"/>
                </a:solidFill>
                <a:latin typeface="Arial"/>
                <a:ea typeface="Arial"/>
                <a:cs typeface="Arial"/>
                <a:sym typeface="Arial"/>
              </a:defRPr>
            </a:lvl3pPr>
            <a:lvl4pPr marL="1828800" marR="0" lvl="3"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4pPr>
            <a:lvl5pPr marL="2286000" marR="0" lvl="4"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
        <p:nvSpPr>
          <p:cNvPr id="67" name="Google Shape;67;p18"/>
          <p:cNvSpPr txBox="1">
            <a:spLocks noGrp="1"/>
          </p:cNvSpPr>
          <p:nvPr>
            <p:ph type="body" idx="3"/>
          </p:nvPr>
        </p:nvSpPr>
        <p:spPr>
          <a:xfrm>
            <a:off x="336002" y="689241"/>
            <a:ext cx="3725333" cy="159485"/>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999"/>
              </a:spcBef>
              <a:spcAft>
                <a:spcPts val="0"/>
              </a:spcAft>
              <a:buClr>
                <a:schemeClr val="dk1"/>
              </a:buClr>
              <a:buSzPts val="1333"/>
              <a:buFont typeface="Arial"/>
              <a:buNone/>
              <a:defRPr sz="1333" b="0" i="0" u="none" strike="noStrike" cap="none">
                <a:solidFill>
                  <a:schemeClr val="dk1"/>
                </a:solidFill>
                <a:latin typeface="Arial"/>
                <a:ea typeface="Arial"/>
                <a:cs typeface="Arial"/>
                <a:sym typeface="Arial"/>
              </a:defRPr>
            </a:lvl1pPr>
            <a:lvl2pPr marL="914400" marR="0" lvl="1" indent="-380936" algn="l" rtl="0">
              <a:lnSpc>
                <a:spcPct val="90000"/>
              </a:lnSpc>
              <a:spcBef>
                <a:spcPts val="500"/>
              </a:spcBef>
              <a:spcAft>
                <a:spcPts val="0"/>
              </a:spcAft>
              <a:buClr>
                <a:schemeClr val="dk1"/>
              </a:buClr>
              <a:buSzPts val="2399"/>
              <a:buFont typeface="Arial"/>
              <a:buChar char="•"/>
              <a:defRPr sz="2399" b="0" i="0" u="none" strike="noStrike" cap="none">
                <a:solidFill>
                  <a:schemeClr val="dk1"/>
                </a:solidFill>
                <a:latin typeface="Arial"/>
                <a:ea typeface="Arial"/>
                <a:cs typeface="Arial"/>
                <a:sym typeface="Arial"/>
              </a:defRPr>
            </a:lvl2pPr>
            <a:lvl3pPr marL="1371600" marR="0" lvl="2" indent="-355536" algn="l" rtl="0">
              <a:lnSpc>
                <a:spcPct val="90000"/>
              </a:lnSpc>
              <a:spcBef>
                <a:spcPts val="500"/>
              </a:spcBef>
              <a:spcAft>
                <a:spcPts val="0"/>
              </a:spcAft>
              <a:buClr>
                <a:schemeClr val="dk1"/>
              </a:buClr>
              <a:buSzPts val="1999"/>
              <a:buFont typeface="Arial"/>
              <a:buChar char="•"/>
              <a:defRPr sz="1999" b="0" i="0" u="none" strike="noStrike" cap="none">
                <a:solidFill>
                  <a:schemeClr val="dk1"/>
                </a:solidFill>
                <a:latin typeface="Arial"/>
                <a:ea typeface="Arial"/>
                <a:cs typeface="Arial"/>
                <a:sym typeface="Arial"/>
              </a:defRPr>
            </a:lvl3pPr>
            <a:lvl4pPr marL="1828800" marR="0" lvl="3"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4pPr>
            <a:lvl5pPr marL="2286000" marR="0" lvl="4"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
        <p:nvSpPr>
          <p:cNvPr id="68" name="Google Shape;68;p18"/>
          <p:cNvSpPr>
            <a:spLocks noGrp="1"/>
          </p:cNvSpPr>
          <p:nvPr>
            <p:ph type="pic" idx="4"/>
          </p:nvPr>
        </p:nvSpPr>
        <p:spPr>
          <a:xfrm>
            <a:off x="336000" y="986371"/>
            <a:ext cx="1799167" cy="639233"/>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999"/>
              </a:spcBef>
              <a:spcAft>
                <a:spcPts val="0"/>
              </a:spcAft>
              <a:buClr>
                <a:schemeClr val="dk1"/>
              </a:buClr>
              <a:buSzPts val="1333"/>
              <a:buFont typeface="Arial"/>
              <a:buNone/>
              <a:defRPr sz="1333" b="0" i="0" u="none" strike="noStrike" cap="none">
                <a:solidFill>
                  <a:schemeClr val="dk1"/>
                </a:solidFill>
                <a:latin typeface="Arial"/>
                <a:ea typeface="Arial"/>
                <a:cs typeface="Arial"/>
                <a:sym typeface="Arial"/>
              </a:defRPr>
            </a:lvl1pPr>
            <a:lvl2pPr marR="0" lvl="1" algn="l" rtl="0">
              <a:lnSpc>
                <a:spcPct val="90000"/>
              </a:lnSpc>
              <a:spcBef>
                <a:spcPts val="500"/>
              </a:spcBef>
              <a:spcAft>
                <a:spcPts val="0"/>
              </a:spcAft>
              <a:buClr>
                <a:schemeClr val="dk1"/>
              </a:buClr>
              <a:buSzPts val="2399"/>
              <a:buFont typeface="Arial"/>
              <a:buChar char="•"/>
              <a:defRPr sz="2399"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1999"/>
              <a:buFont typeface="Arial"/>
              <a:buChar char="•"/>
              <a:defRPr sz="1999"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
        <p:nvSpPr>
          <p:cNvPr id="69" name="Google Shape;69;p18"/>
          <p:cNvSpPr txBox="1">
            <a:spLocks noGrp="1"/>
          </p:cNvSpPr>
          <p:nvPr>
            <p:ph type="title"/>
          </p:nvPr>
        </p:nvSpPr>
        <p:spPr>
          <a:xfrm>
            <a:off x="4539954" y="2873081"/>
            <a:ext cx="6626810" cy="1648341"/>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5997"/>
              <a:buFont typeface="Playfair Display"/>
              <a:buNone/>
              <a:defRPr sz="5997"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2. Portada foto 2">
  <p:cSld name="2. Portada foto 2">
    <p:spTree>
      <p:nvGrpSpPr>
        <p:cNvPr id="1" name="Shape 70"/>
        <p:cNvGrpSpPr/>
        <p:nvPr/>
      </p:nvGrpSpPr>
      <p:grpSpPr>
        <a:xfrm>
          <a:off x="0" y="0"/>
          <a:ext cx="0" cy="0"/>
          <a:chOff x="0" y="0"/>
          <a:chExt cx="0" cy="0"/>
        </a:xfrm>
      </p:grpSpPr>
      <p:sp>
        <p:nvSpPr>
          <p:cNvPr id="71" name="Google Shape;71;p19"/>
          <p:cNvSpPr>
            <a:spLocks noGrp="1"/>
          </p:cNvSpPr>
          <p:nvPr>
            <p:ph type="pic" idx="2"/>
          </p:nvPr>
        </p:nvSpPr>
        <p:spPr>
          <a:xfrm>
            <a:off x="0" y="0"/>
            <a:ext cx="12192000" cy="6858000"/>
          </a:xfrm>
          <a:prstGeom prst="rect">
            <a:avLst/>
          </a:prstGeom>
          <a:noFill/>
          <a:ln>
            <a:noFill/>
          </a:ln>
        </p:spPr>
        <p:txBody>
          <a:bodyPr spcFirstLastPara="1" wrap="square" lIns="91425" tIns="45700" rIns="91425" bIns="45700" anchor="t" anchorCtr="0">
            <a:noAutofit/>
          </a:bodyPr>
          <a:lstStyle>
            <a:lvl1pPr marR="0" lvl="0" algn="ctr" rtl="0">
              <a:lnSpc>
                <a:spcPct val="90000"/>
              </a:lnSpc>
              <a:spcBef>
                <a:spcPts val="999"/>
              </a:spcBef>
              <a:spcAft>
                <a:spcPts val="0"/>
              </a:spcAft>
              <a:buClr>
                <a:schemeClr val="dk1"/>
              </a:buClr>
              <a:buSzPts val="1999"/>
              <a:buFont typeface="Arial"/>
              <a:buNone/>
              <a:defRPr sz="1999" b="0" i="0" u="none" strike="noStrike" cap="none">
                <a:solidFill>
                  <a:schemeClr val="dk1"/>
                </a:solidFill>
                <a:latin typeface="Arial"/>
                <a:ea typeface="Arial"/>
                <a:cs typeface="Arial"/>
                <a:sym typeface="Arial"/>
              </a:defRPr>
            </a:lvl1pPr>
            <a:lvl2pPr marR="0" lvl="1" algn="l" rtl="0">
              <a:lnSpc>
                <a:spcPct val="90000"/>
              </a:lnSpc>
              <a:spcBef>
                <a:spcPts val="500"/>
              </a:spcBef>
              <a:spcAft>
                <a:spcPts val="0"/>
              </a:spcAft>
              <a:buClr>
                <a:schemeClr val="dk1"/>
              </a:buClr>
              <a:buSzPts val="2399"/>
              <a:buFont typeface="Arial"/>
              <a:buChar char="•"/>
              <a:defRPr sz="2399"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1999"/>
              <a:buFont typeface="Arial"/>
              <a:buChar char="•"/>
              <a:defRPr sz="1999"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
        <p:nvSpPr>
          <p:cNvPr id="72" name="Google Shape;72;p19"/>
          <p:cNvSpPr txBox="1">
            <a:spLocks noGrp="1"/>
          </p:cNvSpPr>
          <p:nvPr>
            <p:ph type="body" idx="1"/>
          </p:nvPr>
        </p:nvSpPr>
        <p:spPr>
          <a:xfrm>
            <a:off x="336001" y="3311240"/>
            <a:ext cx="4842163" cy="248041"/>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999"/>
              </a:spcBef>
              <a:spcAft>
                <a:spcPts val="0"/>
              </a:spcAft>
              <a:buClr>
                <a:schemeClr val="dk1"/>
              </a:buClr>
              <a:buSzPts val="1866"/>
              <a:buFont typeface="Arial"/>
              <a:buNone/>
              <a:defRPr sz="1866" b="0" i="0" u="none" strike="noStrike" cap="none">
                <a:solidFill>
                  <a:schemeClr val="dk1"/>
                </a:solidFill>
                <a:latin typeface="Arial"/>
                <a:ea typeface="Arial"/>
                <a:cs typeface="Arial"/>
                <a:sym typeface="Arial"/>
              </a:defRPr>
            </a:lvl1pPr>
            <a:lvl2pPr marL="914400" marR="0" lvl="1" indent="-380936" algn="l" rtl="0">
              <a:lnSpc>
                <a:spcPct val="90000"/>
              </a:lnSpc>
              <a:spcBef>
                <a:spcPts val="500"/>
              </a:spcBef>
              <a:spcAft>
                <a:spcPts val="0"/>
              </a:spcAft>
              <a:buClr>
                <a:schemeClr val="dk1"/>
              </a:buClr>
              <a:buSzPts val="2399"/>
              <a:buFont typeface="Arial"/>
              <a:buChar char="•"/>
              <a:defRPr sz="2399" b="0" i="0" u="none" strike="noStrike" cap="none">
                <a:solidFill>
                  <a:schemeClr val="dk1"/>
                </a:solidFill>
                <a:latin typeface="Arial"/>
                <a:ea typeface="Arial"/>
                <a:cs typeface="Arial"/>
                <a:sym typeface="Arial"/>
              </a:defRPr>
            </a:lvl2pPr>
            <a:lvl3pPr marL="1371600" marR="0" lvl="2" indent="-355536" algn="l" rtl="0">
              <a:lnSpc>
                <a:spcPct val="90000"/>
              </a:lnSpc>
              <a:spcBef>
                <a:spcPts val="500"/>
              </a:spcBef>
              <a:spcAft>
                <a:spcPts val="0"/>
              </a:spcAft>
              <a:buClr>
                <a:schemeClr val="dk1"/>
              </a:buClr>
              <a:buSzPts val="1999"/>
              <a:buFont typeface="Arial"/>
              <a:buChar char="•"/>
              <a:defRPr sz="1999" b="0" i="0" u="none" strike="noStrike" cap="none">
                <a:solidFill>
                  <a:schemeClr val="dk1"/>
                </a:solidFill>
                <a:latin typeface="Arial"/>
                <a:ea typeface="Arial"/>
                <a:cs typeface="Arial"/>
                <a:sym typeface="Arial"/>
              </a:defRPr>
            </a:lvl3pPr>
            <a:lvl4pPr marL="1828800" marR="0" lvl="3"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4pPr>
            <a:lvl5pPr marL="2286000" marR="0" lvl="4"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
        <p:nvSpPr>
          <p:cNvPr id="73" name="Google Shape;73;p19"/>
          <p:cNvSpPr txBox="1">
            <a:spLocks noGrp="1"/>
          </p:cNvSpPr>
          <p:nvPr>
            <p:ph type="body" idx="3"/>
          </p:nvPr>
        </p:nvSpPr>
        <p:spPr>
          <a:xfrm>
            <a:off x="336002" y="3743044"/>
            <a:ext cx="3725333" cy="159485"/>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999"/>
              </a:spcBef>
              <a:spcAft>
                <a:spcPts val="0"/>
              </a:spcAft>
              <a:buClr>
                <a:schemeClr val="dk1"/>
              </a:buClr>
              <a:buSzPts val="1333"/>
              <a:buFont typeface="Arial"/>
              <a:buNone/>
              <a:defRPr sz="1333" b="0" i="0" u="none" strike="noStrike" cap="none">
                <a:solidFill>
                  <a:schemeClr val="dk1"/>
                </a:solidFill>
                <a:latin typeface="Arial"/>
                <a:ea typeface="Arial"/>
                <a:cs typeface="Arial"/>
                <a:sym typeface="Arial"/>
              </a:defRPr>
            </a:lvl1pPr>
            <a:lvl2pPr marL="914400" marR="0" lvl="1" indent="-380936" algn="l" rtl="0">
              <a:lnSpc>
                <a:spcPct val="90000"/>
              </a:lnSpc>
              <a:spcBef>
                <a:spcPts val="500"/>
              </a:spcBef>
              <a:spcAft>
                <a:spcPts val="0"/>
              </a:spcAft>
              <a:buClr>
                <a:schemeClr val="dk1"/>
              </a:buClr>
              <a:buSzPts val="2399"/>
              <a:buFont typeface="Arial"/>
              <a:buChar char="•"/>
              <a:defRPr sz="2399" b="0" i="0" u="none" strike="noStrike" cap="none">
                <a:solidFill>
                  <a:schemeClr val="dk1"/>
                </a:solidFill>
                <a:latin typeface="Arial"/>
                <a:ea typeface="Arial"/>
                <a:cs typeface="Arial"/>
                <a:sym typeface="Arial"/>
              </a:defRPr>
            </a:lvl2pPr>
            <a:lvl3pPr marL="1371600" marR="0" lvl="2" indent="-355536" algn="l" rtl="0">
              <a:lnSpc>
                <a:spcPct val="90000"/>
              </a:lnSpc>
              <a:spcBef>
                <a:spcPts val="500"/>
              </a:spcBef>
              <a:spcAft>
                <a:spcPts val="0"/>
              </a:spcAft>
              <a:buClr>
                <a:schemeClr val="dk1"/>
              </a:buClr>
              <a:buSzPts val="1999"/>
              <a:buFont typeface="Arial"/>
              <a:buChar char="•"/>
              <a:defRPr sz="1999" b="0" i="0" u="none" strike="noStrike" cap="none">
                <a:solidFill>
                  <a:schemeClr val="dk1"/>
                </a:solidFill>
                <a:latin typeface="Arial"/>
                <a:ea typeface="Arial"/>
                <a:cs typeface="Arial"/>
                <a:sym typeface="Arial"/>
              </a:defRPr>
            </a:lvl3pPr>
            <a:lvl4pPr marL="1828800" marR="0" lvl="3"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4pPr>
            <a:lvl5pPr marL="2286000" marR="0" lvl="4"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5pPr>
            <a:lvl6pPr marL="2743200" marR="0" lvl="5"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L="3200400" marR="0" lvl="6"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L="3657600" marR="0" lvl="7"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L="4114800" marR="0" lvl="8" indent="-34283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
        <p:nvSpPr>
          <p:cNvPr id="74" name="Google Shape;74;p19"/>
          <p:cNvSpPr>
            <a:spLocks noGrp="1"/>
          </p:cNvSpPr>
          <p:nvPr>
            <p:ph type="pic" idx="4"/>
          </p:nvPr>
        </p:nvSpPr>
        <p:spPr>
          <a:xfrm>
            <a:off x="336000" y="382577"/>
            <a:ext cx="1799167" cy="639233"/>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999"/>
              </a:spcBef>
              <a:spcAft>
                <a:spcPts val="0"/>
              </a:spcAft>
              <a:buClr>
                <a:schemeClr val="dk1"/>
              </a:buClr>
              <a:buSzPts val="1333"/>
              <a:buFont typeface="Arial"/>
              <a:buNone/>
              <a:defRPr sz="1333" b="0" i="0" u="none" strike="noStrike" cap="none">
                <a:solidFill>
                  <a:schemeClr val="dk1"/>
                </a:solidFill>
                <a:latin typeface="Arial"/>
                <a:ea typeface="Arial"/>
                <a:cs typeface="Arial"/>
                <a:sym typeface="Arial"/>
              </a:defRPr>
            </a:lvl1pPr>
            <a:lvl2pPr marR="0" lvl="1" algn="l" rtl="0">
              <a:lnSpc>
                <a:spcPct val="90000"/>
              </a:lnSpc>
              <a:spcBef>
                <a:spcPts val="500"/>
              </a:spcBef>
              <a:spcAft>
                <a:spcPts val="0"/>
              </a:spcAft>
              <a:buClr>
                <a:schemeClr val="dk1"/>
              </a:buClr>
              <a:buSzPts val="2399"/>
              <a:buFont typeface="Arial"/>
              <a:buChar char="•"/>
              <a:defRPr sz="2399"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1999"/>
              <a:buFont typeface="Arial"/>
              <a:buChar char="•"/>
              <a:defRPr sz="1999"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799"/>
              <a:buFont typeface="Arial"/>
              <a:buChar char="•"/>
              <a:defRPr sz="1799" b="0" i="0" u="none" strike="noStrike" cap="none">
                <a:solidFill>
                  <a:schemeClr val="dk1"/>
                </a:solidFill>
                <a:latin typeface="Arial"/>
                <a:ea typeface="Arial"/>
                <a:cs typeface="Arial"/>
                <a:sym typeface="Arial"/>
              </a:defRPr>
            </a:lvl9pPr>
          </a:lstStyle>
          <a:p>
            <a:endParaRPr/>
          </a:p>
        </p:txBody>
      </p:sp>
      <p:sp>
        <p:nvSpPr>
          <p:cNvPr id="75" name="Google Shape;75;p19"/>
          <p:cNvSpPr txBox="1">
            <a:spLocks noGrp="1"/>
          </p:cNvSpPr>
          <p:nvPr>
            <p:ph type="title"/>
          </p:nvPr>
        </p:nvSpPr>
        <p:spPr>
          <a:xfrm>
            <a:off x="349675" y="1421649"/>
            <a:ext cx="7563994" cy="1648341"/>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dk1"/>
              </a:buClr>
              <a:buSzPts val="5330"/>
              <a:buFont typeface="Playfair Display"/>
              <a:buNone/>
              <a:defRPr sz="5330" b="0" i="0" u="none" strike="noStrike" cap="none">
                <a:solidFill>
                  <a:schemeClr val="dk1"/>
                </a:solidFill>
                <a:latin typeface="Playfair Display"/>
                <a:ea typeface="Playfair Display"/>
                <a:cs typeface="Playfair Display"/>
                <a:sym typeface="Playfair Display"/>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8"/>
        <p:cNvGrpSpPr/>
        <p:nvPr/>
      </p:nvGrpSpPr>
      <p:grpSpPr>
        <a:xfrm>
          <a:off x="0" y="0"/>
          <a:ext cx="0" cy="0"/>
          <a:chOff x="0" y="0"/>
          <a:chExt cx="0" cy="0"/>
        </a:xfrm>
      </p:grpSpPr>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 id="2147483697" r:id="rId4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xmlns="">
        <p15:guide id="1" orient="horz" pos="225">
          <p15:clr>
            <a:srgbClr val="F26B43"/>
          </p15:clr>
        </p15:guide>
        <p15:guide id="2" orient="horz" pos="4035">
          <p15:clr>
            <a:srgbClr val="F26B43"/>
          </p15:clr>
        </p15:guide>
        <p15:guide id="3" pos="3840">
          <p15:clr>
            <a:srgbClr val="F26B43"/>
          </p15:clr>
        </p15:guide>
        <p15:guide id="4" pos="7469">
          <p15:clr>
            <a:srgbClr val="F26B43"/>
          </p15:clr>
        </p15:guide>
        <p15:guide id="5" pos="212">
          <p15:clr>
            <a:srgbClr val="F26B43"/>
          </p15:clr>
        </p15:guide>
        <p15:guide id="6" orient="horz" pos="769">
          <p15:clr>
            <a:srgbClr val="F26B43"/>
          </p15:clr>
        </p15:guide>
        <p15:guide id="7" orient="horz" pos="361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jpg"/><Relationship Id="rId7"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5.xml"/><Relationship Id="rId1" Type="http://schemas.openxmlformats.org/officeDocument/2006/relationships/slideLayout" Target="../slideLayouts/slideLayout4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1.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23.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5.png"/><Relationship Id="rId7" Type="http://schemas.openxmlformats.org/officeDocument/2006/relationships/image" Target="../media/image31.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1.png"/></Relationships>
</file>

<file path=ppt/slides/_rels/slide2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5.png"/><Relationship Id="rId7" Type="http://schemas.openxmlformats.org/officeDocument/2006/relationships/image" Target="../media/image31.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29.png"/><Relationship Id="rId5" Type="http://schemas.openxmlformats.org/officeDocument/2006/relationships/image" Target="../media/image24.png"/><Relationship Id="rId4" Type="http://schemas.openxmlformats.org/officeDocument/2006/relationships/image" Target="../media/image21.png"/></Relationships>
</file>

<file path=ppt/slides/_rels/slide25.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35.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24.png"/><Relationship Id="rId4" Type="http://schemas.openxmlformats.org/officeDocument/2006/relationships/image" Target="../media/image21.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7.xml"/><Relationship Id="rId1" Type="http://schemas.openxmlformats.org/officeDocument/2006/relationships/slideLayout" Target="../slideLayouts/slideLayout2.xml"/><Relationship Id="rId5" Type="http://schemas.openxmlformats.org/officeDocument/2006/relationships/image" Target="../media/image26.png"/><Relationship Id="rId4" Type="http://schemas.openxmlformats.org/officeDocument/2006/relationships/image" Target="../media/image21.png"/></Relationships>
</file>

<file path=ppt/slides/_rels/slide2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37.emf"/><Relationship Id="rId7" Type="http://schemas.openxmlformats.org/officeDocument/2006/relationships/diagramColors" Target="../diagrams/colors1.xml"/><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3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4.jpg"/></Relationships>
</file>

<file path=ppt/slides/_rels/slide4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2.xml"/><Relationship Id="rId1" Type="http://schemas.openxmlformats.org/officeDocument/2006/relationships/slideLayout" Target="../slideLayouts/slideLayout2.xml"/><Relationship Id="rId5" Type="http://schemas.openxmlformats.org/officeDocument/2006/relationships/image" Target="../media/image42.png"/><Relationship Id="rId4" Type="http://schemas.openxmlformats.org/officeDocument/2006/relationships/image" Target="../media/image41.png"/></Relationships>
</file>

<file path=ppt/slides/_rels/slide43.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jpg"/><Relationship Id="rId7"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9.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47.png"/></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60.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54"/>
        <p:cNvGrpSpPr/>
        <p:nvPr/>
      </p:nvGrpSpPr>
      <p:grpSpPr>
        <a:xfrm>
          <a:off x="0" y="0"/>
          <a:ext cx="0" cy="0"/>
          <a:chOff x="0" y="0"/>
          <a:chExt cx="0" cy="0"/>
        </a:xfrm>
      </p:grpSpPr>
      <p:pic>
        <p:nvPicPr>
          <p:cNvPr id="355" name="Google Shape;355;p1"/>
          <p:cNvPicPr preferRelativeResize="0"/>
          <p:nvPr/>
        </p:nvPicPr>
        <p:blipFill rotWithShape="1">
          <a:blip r:embed="rId3">
            <a:alphaModFix/>
          </a:blip>
          <a:srcRect/>
          <a:stretch/>
        </p:blipFill>
        <p:spPr>
          <a:xfrm>
            <a:off x="-24680" y="-239959"/>
            <a:ext cx="12241361" cy="7200799"/>
          </a:xfrm>
          <a:prstGeom prst="rect">
            <a:avLst/>
          </a:prstGeom>
          <a:noFill/>
          <a:ln>
            <a:noFill/>
          </a:ln>
        </p:spPr>
      </p:pic>
      <p:sp>
        <p:nvSpPr>
          <p:cNvPr id="356" name="Google Shape;356;p1"/>
          <p:cNvSpPr/>
          <p:nvPr/>
        </p:nvSpPr>
        <p:spPr>
          <a:xfrm>
            <a:off x="336550" y="1988839"/>
            <a:ext cx="5039400" cy="3952500"/>
          </a:xfrm>
          <a:prstGeom prst="rect">
            <a:avLst/>
          </a:prstGeom>
          <a:solidFill>
            <a:srgbClr val="F2F2F2">
              <a:alpha val="6902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9"/>
              <a:buFont typeface="Arial"/>
              <a:buNone/>
            </a:pPr>
            <a:endParaRPr sz="2399" b="0" i="0" u="none" strike="noStrike" cap="none">
              <a:solidFill>
                <a:srgbClr val="FFFFFF"/>
              </a:solidFill>
              <a:latin typeface="Arial"/>
              <a:ea typeface="Arial"/>
              <a:cs typeface="Arial"/>
              <a:sym typeface="Arial"/>
            </a:endParaRPr>
          </a:p>
        </p:txBody>
      </p:sp>
      <p:sp>
        <p:nvSpPr>
          <p:cNvPr id="357" name="Google Shape;357;p1"/>
          <p:cNvSpPr txBox="1">
            <a:spLocks noGrp="1"/>
          </p:cNvSpPr>
          <p:nvPr>
            <p:ph type="body" idx="1"/>
          </p:nvPr>
        </p:nvSpPr>
        <p:spPr>
          <a:xfrm>
            <a:off x="623392" y="4293096"/>
            <a:ext cx="3312300" cy="978600"/>
          </a:xfrm>
          <a:prstGeom prst="rect">
            <a:avLst/>
          </a:prstGeom>
          <a:noFill/>
          <a:ln>
            <a:noFill/>
          </a:ln>
        </p:spPr>
        <p:txBody>
          <a:bodyPr spcFirstLastPara="1" wrap="square" lIns="0" tIns="0" rIns="0" bIns="0" anchor="t" anchorCtr="0">
            <a:noAutofit/>
          </a:bodyPr>
          <a:lstStyle/>
          <a:p>
            <a:pPr marL="0" lvl="0" indent="0">
              <a:spcBef>
                <a:spcPts val="0"/>
              </a:spcBef>
              <a:buSzPts val="2000"/>
            </a:pPr>
            <a:r>
              <a:rPr lang="en-US" sz="2000" dirty="0" err="1">
                <a:latin typeface="Playfair Display"/>
                <a:ea typeface="Playfair Display"/>
                <a:cs typeface="Playfair Display"/>
                <a:sym typeface="Playfair Display"/>
              </a:rPr>
              <a:t>Piloto</a:t>
            </a:r>
            <a:r>
              <a:rPr lang="en-US" sz="2000" dirty="0">
                <a:latin typeface="Playfair Display"/>
                <a:ea typeface="Playfair Display"/>
                <a:cs typeface="Playfair Display"/>
                <a:sym typeface="Playfair Display"/>
              </a:rPr>
              <a:t> App Contact Tracing Covid-19 </a:t>
            </a:r>
          </a:p>
          <a:p>
            <a:pPr marL="0" lvl="0" indent="0" algn="l" rtl="0">
              <a:lnSpc>
                <a:spcPct val="90000"/>
              </a:lnSpc>
              <a:spcBef>
                <a:spcPts val="999"/>
              </a:spcBef>
              <a:spcAft>
                <a:spcPts val="0"/>
              </a:spcAft>
              <a:buClr>
                <a:schemeClr val="dk1"/>
              </a:buClr>
              <a:buSzPts val="1800"/>
              <a:buNone/>
            </a:pPr>
            <a:endParaRPr dirty="0">
              <a:latin typeface="Playfair Display"/>
              <a:ea typeface="Playfair Display"/>
              <a:cs typeface="Playfair Display"/>
              <a:sym typeface="Playfair Display"/>
            </a:endParaRPr>
          </a:p>
        </p:txBody>
      </p:sp>
      <p:sp>
        <p:nvSpPr>
          <p:cNvPr id="358" name="Google Shape;358;p1"/>
          <p:cNvSpPr txBox="1">
            <a:spLocks noGrp="1"/>
          </p:cNvSpPr>
          <p:nvPr>
            <p:ph type="title"/>
          </p:nvPr>
        </p:nvSpPr>
        <p:spPr>
          <a:xfrm>
            <a:off x="479376" y="2348880"/>
            <a:ext cx="4680600" cy="23985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1"/>
              </a:buClr>
              <a:buSzPts val="3200"/>
              <a:buFont typeface="Playfair Display"/>
              <a:buNone/>
            </a:pPr>
            <a:r>
              <a:rPr lang="es-ES" sz="3200" dirty="0">
                <a:latin typeface="Playfair Display"/>
                <a:ea typeface="Playfair Display"/>
                <a:cs typeface="Playfair Display"/>
                <a:sym typeface="Playfair Display"/>
              </a:rPr>
              <a:t>Covid-19 </a:t>
            </a:r>
            <a:r>
              <a:rPr lang="es-ES" sz="3200" dirty="0" smtClean="0">
                <a:latin typeface="Playfair Display"/>
                <a:ea typeface="Playfair Display"/>
                <a:cs typeface="Playfair Display"/>
                <a:sym typeface="Playfair Display"/>
              </a:rPr>
              <a:t>App</a:t>
            </a:r>
            <a:br>
              <a:rPr lang="es-ES" sz="3200" dirty="0" smtClean="0">
                <a:latin typeface="Playfair Display"/>
                <a:ea typeface="Playfair Display"/>
                <a:cs typeface="Playfair Display"/>
                <a:sym typeface="Playfair Display"/>
              </a:rPr>
            </a:br>
            <a:r>
              <a:rPr lang="es-ES" sz="2800" dirty="0" smtClean="0"/>
              <a:t>Secretaría General de Administración Digital</a:t>
            </a:r>
            <a:endParaRPr sz="4000" dirty="0"/>
          </a:p>
        </p:txBody>
      </p:sp>
      <p:sp>
        <p:nvSpPr>
          <p:cNvPr id="359" name="Google Shape;359;p1"/>
          <p:cNvSpPr txBox="1">
            <a:spLocks noGrp="1"/>
          </p:cNvSpPr>
          <p:nvPr>
            <p:ph type="body" idx="2"/>
          </p:nvPr>
        </p:nvSpPr>
        <p:spPr>
          <a:xfrm>
            <a:off x="623392" y="5389967"/>
            <a:ext cx="2592300" cy="3432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1"/>
              </a:buClr>
              <a:buSzPts val="1400"/>
              <a:buNone/>
            </a:pPr>
            <a:r>
              <a:rPr lang="es-ES" sz="1400">
                <a:latin typeface="Playfair Display"/>
                <a:ea typeface="Playfair Display"/>
                <a:cs typeface="Playfair Display"/>
                <a:sym typeface="Playfair Display"/>
              </a:rPr>
              <a:t>Madrid, Mayo </a:t>
            </a:r>
            <a:r>
              <a:rPr lang="es-ES">
                <a:latin typeface="Playfair Display"/>
                <a:ea typeface="Playfair Display"/>
                <a:cs typeface="Playfair Display"/>
                <a:sym typeface="Playfair Display"/>
              </a:rPr>
              <a:t>2020</a:t>
            </a:r>
            <a:endParaRPr sz="1400">
              <a:latin typeface="Playfair Display"/>
              <a:ea typeface="Playfair Display"/>
              <a:cs typeface="Playfair Display"/>
              <a:sym typeface="Playfair Display"/>
            </a:endParaRPr>
          </a:p>
        </p:txBody>
      </p:sp>
      <p:grpSp>
        <p:nvGrpSpPr>
          <p:cNvPr id="360" name="Google Shape;360;p1"/>
          <p:cNvGrpSpPr/>
          <p:nvPr/>
        </p:nvGrpSpPr>
        <p:grpSpPr>
          <a:xfrm>
            <a:off x="7342643" y="523041"/>
            <a:ext cx="2081132" cy="3698316"/>
            <a:chOff x="4707092" y="1022350"/>
            <a:chExt cx="1561708" cy="2775263"/>
          </a:xfrm>
        </p:grpSpPr>
        <p:sp>
          <p:nvSpPr>
            <p:cNvPr id="361" name="Google Shape;361;p1"/>
            <p:cNvSpPr/>
            <p:nvPr/>
          </p:nvSpPr>
          <p:spPr>
            <a:xfrm>
              <a:off x="4707731" y="1022350"/>
              <a:ext cx="171450" cy="2775263"/>
            </a:xfrm>
            <a:custGeom>
              <a:avLst/>
              <a:gdLst/>
              <a:ahLst/>
              <a:cxnLst/>
              <a:rect l="l" t="t" r="r" b="b"/>
              <a:pathLst>
                <a:path w="171450" h="2761456" extrusionOk="0">
                  <a:moveTo>
                    <a:pt x="0" y="0"/>
                  </a:moveTo>
                  <a:lnTo>
                    <a:pt x="168275" y="47393"/>
                  </a:lnTo>
                  <a:cubicBezTo>
                    <a:pt x="169333" y="934089"/>
                    <a:pt x="170392" y="1820785"/>
                    <a:pt x="171450" y="2707481"/>
                  </a:cubicBezTo>
                  <a:lnTo>
                    <a:pt x="0" y="2761456"/>
                  </a:lnTo>
                  <a:lnTo>
                    <a:pt x="0" y="0"/>
                  </a:lnTo>
                  <a:close/>
                </a:path>
              </a:pathLst>
            </a:cu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rgbClr val="FFFFFF"/>
                </a:solidFill>
                <a:latin typeface="Arial"/>
                <a:ea typeface="Arial"/>
                <a:cs typeface="Arial"/>
                <a:sym typeface="Arial"/>
              </a:endParaRPr>
            </a:p>
          </p:txBody>
        </p:sp>
        <p:sp>
          <p:nvSpPr>
            <p:cNvPr id="362" name="Google Shape;362;p1"/>
            <p:cNvSpPr/>
            <p:nvPr/>
          </p:nvSpPr>
          <p:spPr>
            <a:xfrm>
              <a:off x="6096000" y="1470024"/>
              <a:ext cx="172800" cy="1879500"/>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rgbClr val="FFFFFF"/>
                </a:solidFill>
                <a:latin typeface="Arial"/>
                <a:ea typeface="Arial"/>
                <a:cs typeface="Arial"/>
                <a:sym typeface="Arial"/>
              </a:endParaRPr>
            </a:p>
          </p:txBody>
        </p:sp>
        <p:sp>
          <p:nvSpPr>
            <p:cNvPr id="363" name="Google Shape;363;p1"/>
            <p:cNvSpPr/>
            <p:nvPr/>
          </p:nvSpPr>
          <p:spPr>
            <a:xfrm rot="6360820">
              <a:off x="5398687" y="549929"/>
              <a:ext cx="172910" cy="1569208"/>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rgbClr val="FFFFFF"/>
                </a:solidFill>
                <a:latin typeface="Arial"/>
                <a:ea typeface="Arial"/>
                <a:cs typeface="Arial"/>
                <a:sym typeface="Arial"/>
              </a:endParaRPr>
            </a:p>
          </p:txBody>
        </p:sp>
        <p:sp>
          <p:nvSpPr>
            <p:cNvPr id="364" name="Google Shape;364;p1"/>
            <p:cNvSpPr/>
            <p:nvPr/>
          </p:nvSpPr>
          <p:spPr>
            <a:xfrm rot="4439180">
              <a:off x="5430300" y="2717031"/>
              <a:ext cx="172910" cy="1507684"/>
            </a:xfrm>
            <a:prstGeom prst="rect">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rgbClr val="FFFFFF"/>
                </a:solidFill>
                <a:latin typeface="Arial"/>
                <a:ea typeface="Arial"/>
                <a:cs typeface="Arial"/>
                <a:sym typeface="Arial"/>
              </a:endParaRPr>
            </a:p>
          </p:txBody>
        </p:sp>
      </p:grpSp>
      <p:grpSp>
        <p:nvGrpSpPr>
          <p:cNvPr id="365" name="Google Shape;365;p1"/>
          <p:cNvGrpSpPr/>
          <p:nvPr/>
        </p:nvGrpSpPr>
        <p:grpSpPr>
          <a:xfrm>
            <a:off x="8476763" y="1615397"/>
            <a:ext cx="2081132" cy="3698316"/>
            <a:chOff x="4707092" y="1022350"/>
            <a:chExt cx="1561708" cy="2775263"/>
          </a:xfrm>
        </p:grpSpPr>
        <p:sp>
          <p:nvSpPr>
            <p:cNvPr id="366" name="Google Shape;366;p1"/>
            <p:cNvSpPr/>
            <p:nvPr/>
          </p:nvSpPr>
          <p:spPr>
            <a:xfrm>
              <a:off x="4707731" y="1022350"/>
              <a:ext cx="171450" cy="2775263"/>
            </a:xfrm>
            <a:custGeom>
              <a:avLst/>
              <a:gdLst/>
              <a:ahLst/>
              <a:cxnLst/>
              <a:rect l="l" t="t" r="r" b="b"/>
              <a:pathLst>
                <a:path w="171450" h="2761456" extrusionOk="0">
                  <a:moveTo>
                    <a:pt x="0" y="0"/>
                  </a:moveTo>
                  <a:lnTo>
                    <a:pt x="168275" y="47393"/>
                  </a:lnTo>
                  <a:cubicBezTo>
                    <a:pt x="169333" y="934089"/>
                    <a:pt x="170392" y="1820785"/>
                    <a:pt x="171450" y="2707481"/>
                  </a:cubicBezTo>
                  <a:lnTo>
                    <a:pt x="0" y="2761456"/>
                  </a:lnTo>
                  <a:lnTo>
                    <a:pt x="0" y="0"/>
                  </a:lnTo>
                  <a:close/>
                </a:path>
              </a:pathLst>
            </a:custGeom>
            <a:solidFill>
              <a:srgbClr val="64AFC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rgbClr val="FFFFFF"/>
                </a:solidFill>
                <a:latin typeface="Arial"/>
                <a:ea typeface="Arial"/>
                <a:cs typeface="Arial"/>
                <a:sym typeface="Arial"/>
              </a:endParaRPr>
            </a:p>
          </p:txBody>
        </p:sp>
        <p:sp>
          <p:nvSpPr>
            <p:cNvPr id="367" name="Google Shape;367;p1"/>
            <p:cNvSpPr/>
            <p:nvPr/>
          </p:nvSpPr>
          <p:spPr>
            <a:xfrm>
              <a:off x="6096000" y="1470024"/>
              <a:ext cx="172800" cy="1879500"/>
            </a:xfrm>
            <a:prstGeom prst="rect">
              <a:avLst/>
            </a:prstGeom>
            <a:solidFill>
              <a:srgbClr val="64AFC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rgbClr val="FFFFFF"/>
                </a:solidFill>
                <a:latin typeface="Arial"/>
                <a:ea typeface="Arial"/>
                <a:cs typeface="Arial"/>
                <a:sym typeface="Arial"/>
              </a:endParaRPr>
            </a:p>
          </p:txBody>
        </p:sp>
        <p:sp>
          <p:nvSpPr>
            <p:cNvPr id="368" name="Google Shape;368;p1"/>
            <p:cNvSpPr/>
            <p:nvPr/>
          </p:nvSpPr>
          <p:spPr>
            <a:xfrm rot="6360820">
              <a:off x="5398687" y="549929"/>
              <a:ext cx="172910" cy="1569208"/>
            </a:xfrm>
            <a:prstGeom prst="rect">
              <a:avLst/>
            </a:prstGeom>
            <a:solidFill>
              <a:srgbClr val="64AFC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rgbClr val="FFFFFF"/>
                </a:solidFill>
                <a:latin typeface="Arial"/>
                <a:ea typeface="Arial"/>
                <a:cs typeface="Arial"/>
                <a:sym typeface="Arial"/>
              </a:endParaRPr>
            </a:p>
          </p:txBody>
        </p:sp>
        <p:sp>
          <p:nvSpPr>
            <p:cNvPr id="369" name="Google Shape;369;p1"/>
            <p:cNvSpPr/>
            <p:nvPr/>
          </p:nvSpPr>
          <p:spPr>
            <a:xfrm rot="4439180">
              <a:off x="5430300" y="2717031"/>
              <a:ext cx="172910" cy="1507684"/>
            </a:xfrm>
            <a:prstGeom prst="rect">
              <a:avLst/>
            </a:prstGeom>
            <a:solidFill>
              <a:srgbClr val="64AFC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rgbClr val="FFFFFF"/>
                </a:solidFill>
                <a:latin typeface="Arial"/>
                <a:ea typeface="Arial"/>
                <a:cs typeface="Arial"/>
                <a:sym typeface="Arial"/>
              </a:endParaRPr>
            </a:p>
          </p:txBody>
        </p:sp>
      </p:grpSp>
      <p:grpSp>
        <p:nvGrpSpPr>
          <p:cNvPr id="370" name="Google Shape;370;p1"/>
          <p:cNvGrpSpPr/>
          <p:nvPr/>
        </p:nvGrpSpPr>
        <p:grpSpPr>
          <a:xfrm>
            <a:off x="9566919" y="2708880"/>
            <a:ext cx="2081132" cy="3698316"/>
            <a:chOff x="4707092" y="1022350"/>
            <a:chExt cx="1561708" cy="2775263"/>
          </a:xfrm>
        </p:grpSpPr>
        <p:sp>
          <p:nvSpPr>
            <p:cNvPr id="371" name="Google Shape;371;p1"/>
            <p:cNvSpPr/>
            <p:nvPr/>
          </p:nvSpPr>
          <p:spPr>
            <a:xfrm>
              <a:off x="4707731" y="1022350"/>
              <a:ext cx="171450" cy="2775263"/>
            </a:xfrm>
            <a:custGeom>
              <a:avLst/>
              <a:gdLst/>
              <a:ahLst/>
              <a:cxnLst/>
              <a:rect l="l" t="t" r="r" b="b"/>
              <a:pathLst>
                <a:path w="171450" h="2761456" extrusionOk="0">
                  <a:moveTo>
                    <a:pt x="0" y="0"/>
                  </a:moveTo>
                  <a:lnTo>
                    <a:pt x="168275" y="47393"/>
                  </a:lnTo>
                  <a:cubicBezTo>
                    <a:pt x="169333" y="934089"/>
                    <a:pt x="170392" y="1820785"/>
                    <a:pt x="171450" y="2707481"/>
                  </a:cubicBezTo>
                  <a:lnTo>
                    <a:pt x="0" y="2761456"/>
                  </a:lnTo>
                  <a:lnTo>
                    <a:pt x="0" y="0"/>
                  </a:lnTo>
                  <a:close/>
                </a:path>
              </a:pathLst>
            </a:custGeom>
            <a:solidFill>
              <a:srgbClr val="F5CF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rgbClr val="FFFFFF"/>
                </a:solidFill>
                <a:latin typeface="Arial"/>
                <a:ea typeface="Arial"/>
                <a:cs typeface="Arial"/>
                <a:sym typeface="Arial"/>
              </a:endParaRPr>
            </a:p>
          </p:txBody>
        </p:sp>
        <p:sp>
          <p:nvSpPr>
            <p:cNvPr id="372" name="Google Shape;372;p1"/>
            <p:cNvSpPr/>
            <p:nvPr/>
          </p:nvSpPr>
          <p:spPr>
            <a:xfrm>
              <a:off x="6096000" y="1470024"/>
              <a:ext cx="172800" cy="1879500"/>
            </a:xfrm>
            <a:prstGeom prst="rect">
              <a:avLst/>
            </a:prstGeom>
            <a:solidFill>
              <a:srgbClr val="F5CF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rgbClr val="FFFFFF"/>
                </a:solidFill>
                <a:latin typeface="Arial"/>
                <a:ea typeface="Arial"/>
                <a:cs typeface="Arial"/>
                <a:sym typeface="Arial"/>
              </a:endParaRPr>
            </a:p>
          </p:txBody>
        </p:sp>
        <p:sp>
          <p:nvSpPr>
            <p:cNvPr id="373" name="Google Shape;373;p1"/>
            <p:cNvSpPr/>
            <p:nvPr/>
          </p:nvSpPr>
          <p:spPr>
            <a:xfrm rot="6360820">
              <a:off x="5398687" y="549929"/>
              <a:ext cx="172910" cy="1569208"/>
            </a:xfrm>
            <a:prstGeom prst="rect">
              <a:avLst/>
            </a:prstGeom>
            <a:solidFill>
              <a:srgbClr val="F5CF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rgbClr val="FFFFFF"/>
                </a:solidFill>
                <a:latin typeface="Arial"/>
                <a:ea typeface="Arial"/>
                <a:cs typeface="Arial"/>
                <a:sym typeface="Arial"/>
              </a:endParaRPr>
            </a:p>
          </p:txBody>
        </p:sp>
        <p:sp>
          <p:nvSpPr>
            <p:cNvPr id="374" name="Google Shape;374;p1"/>
            <p:cNvSpPr/>
            <p:nvPr/>
          </p:nvSpPr>
          <p:spPr>
            <a:xfrm rot="4439180">
              <a:off x="5430300" y="2717031"/>
              <a:ext cx="172910" cy="1507684"/>
            </a:xfrm>
            <a:prstGeom prst="rect">
              <a:avLst/>
            </a:prstGeom>
            <a:solidFill>
              <a:srgbClr val="F5CFD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rgbClr val="FFFFFF"/>
                </a:solidFill>
                <a:latin typeface="Arial"/>
                <a:ea typeface="Arial"/>
                <a:cs typeface="Arial"/>
                <a:sym typeface="Arial"/>
              </a:endParaRPr>
            </a:p>
          </p:txBody>
        </p:sp>
      </p:grpSp>
      <p:pic>
        <p:nvPicPr>
          <p:cNvPr id="375" name="Google Shape;375;p1"/>
          <p:cNvPicPr preferRelativeResize="0"/>
          <p:nvPr/>
        </p:nvPicPr>
        <p:blipFill rotWithShape="1">
          <a:blip r:embed="rId4">
            <a:alphaModFix/>
          </a:blip>
          <a:srcRect b="61039"/>
          <a:stretch/>
        </p:blipFill>
        <p:spPr>
          <a:xfrm>
            <a:off x="1515221" y="6503866"/>
            <a:ext cx="1785121" cy="314442"/>
          </a:xfrm>
          <a:prstGeom prst="rect">
            <a:avLst/>
          </a:prstGeom>
          <a:noFill/>
          <a:ln>
            <a:noFill/>
          </a:ln>
        </p:spPr>
      </p:pic>
      <p:pic>
        <p:nvPicPr>
          <p:cNvPr id="376" name="Google Shape;376;p1"/>
          <p:cNvPicPr preferRelativeResize="0"/>
          <p:nvPr/>
        </p:nvPicPr>
        <p:blipFill rotWithShape="1">
          <a:blip r:embed="rId5">
            <a:alphaModFix/>
          </a:blip>
          <a:srcRect t="71487"/>
          <a:stretch/>
        </p:blipFill>
        <p:spPr>
          <a:xfrm>
            <a:off x="3863992" y="6324980"/>
            <a:ext cx="2160000" cy="278457"/>
          </a:xfrm>
          <a:prstGeom prst="rect">
            <a:avLst/>
          </a:prstGeom>
          <a:noFill/>
          <a:ln>
            <a:noFill/>
          </a:ln>
        </p:spPr>
      </p:pic>
      <p:pic>
        <p:nvPicPr>
          <p:cNvPr id="378" name="Google Shape;378;p1"/>
          <p:cNvPicPr preferRelativeResize="0"/>
          <p:nvPr/>
        </p:nvPicPr>
        <p:blipFill rotWithShape="1">
          <a:blip r:embed="rId6">
            <a:alphaModFix/>
          </a:blip>
          <a:srcRect t="38023" b="38021"/>
          <a:stretch/>
        </p:blipFill>
        <p:spPr>
          <a:xfrm>
            <a:off x="331732" y="5913660"/>
            <a:ext cx="3052763" cy="730251"/>
          </a:xfrm>
          <a:prstGeom prst="rect">
            <a:avLst/>
          </a:prstGeom>
          <a:noFill/>
          <a:ln>
            <a:noFill/>
          </a:ln>
        </p:spPr>
      </p:pic>
      <p:pic>
        <p:nvPicPr>
          <p:cNvPr id="3" name="Imagen 2"/>
          <p:cNvPicPr>
            <a:picLocks noChangeAspect="1"/>
          </p:cNvPicPr>
          <p:nvPr/>
        </p:nvPicPr>
        <p:blipFill>
          <a:blip r:embed="rId7"/>
          <a:stretch>
            <a:fillRect/>
          </a:stretch>
        </p:blipFill>
        <p:spPr>
          <a:xfrm>
            <a:off x="331731" y="449783"/>
            <a:ext cx="4070487" cy="669827"/>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516"/>
        <p:cNvGrpSpPr/>
        <p:nvPr/>
      </p:nvGrpSpPr>
      <p:grpSpPr>
        <a:xfrm>
          <a:off x="0" y="0"/>
          <a:ext cx="0" cy="0"/>
          <a:chOff x="0" y="0"/>
          <a:chExt cx="0" cy="0"/>
        </a:xfrm>
      </p:grpSpPr>
      <p:sp>
        <p:nvSpPr>
          <p:cNvPr id="517" name="Google Shape;517;g8055afce9b_0_767"/>
          <p:cNvSpPr txBox="1">
            <a:spLocks noGrp="1"/>
          </p:cNvSpPr>
          <p:nvPr>
            <p:ph type="body" idx="1"/>
          </p:nvPr>
        </p:nvSpPr>
        <p:spPr>
          <a:xfrm>
            <a:off x="336000" y="128400"/>
            <a:ext cx="11519400" cy="251400"/>
          </a:xfrm>
          <a:prstGeom prst="rect">
            <a:avLst/>
          </a:prstGeom>
          <a:noFill/>
          <a:ln>
            <a:noFill/>
          </a:ln>
        </p:spPr>
        <p:txBody>
          <a:bodyPr spcFirstLastPara="1" wrap="square" lIns="0" tIns="45700" rIns="91425" bIns="45700" anchor="t" anchorCtr="0">
            <a:noAutofit/>
          </a:bodyPr>
          <a:lstStyle/>
          <a:p>
            <a:pPr marL="0" lvl="0" indent="0" algn="l" rtl="0">
              <a:lnSpc>
                <a:spcPct val="90000"/>
              </a:lnSpc>
              <a:spcBef>
                <a:spcPts val="0"/>
              </a:spcBef>
              <a:spcAft>
                <a:spcPts val="0"/>
              </a:spcAft>
              <a:buClr>
                <a:srgbClr val="1A3B47"/>
              </a:buClr>
              <a:buSzPts val="1400"/>
              <a:buNone/>
            </a:pPr>
            <a:r>
              <a:rPr lang="en-US" sz="1400" dirty="0" smtClean="0">
                <a:latin typeface="Playfair Display"/>
                <a:ea typeface="Playfair Display"/>
                <a:cs typeface="Playfair Display"/>
                <a:sym typeface="Playfair Display"/>
              </a:rPr>
              <a:t>Covid-19 app - </a:t>
            </a:r>
            <a:r>
              <a:rPr lang="en-US" sz="1400" dirty="0" err="1" smtClean="0">
                <a:latin typeface="Playfair Display"/>
                <a:ea typeface="Playfair Display"/>
                <a:cs typeface="Playfair Display"/>
                <a:sym typeface="Playfair Display"/>
              </a:rPr>
              <a:t>Piloto</a:t>
            </a:r>
            <a:r>
              <a:rPr lang="en-US" sz="1400" dirty="0" smtClean="0">
                <a:latin typeface="Playfair Display"/>
                <a:ea typeface="Playfair Display"/>
                <a:cs typeface="Playfair Display"/>
                <a:sym typeface="Playfair Display"/>
              </a:rPr>
              <a:t> App Contact Tracing Covid-19 </a:t>
            </a:r>
            <a:endParaRPr dirty="0"/>
          </a:p>
        </p:txBody>
      </p:sp>
      <p:sp>
        <p:nvSpPr>
          <p:cNvPr id="518" name="Google Shape;518;g8055afce9b_0_767"/>
          <p:cNvSpPr txBox="1"/>
          <p:nvPr/>
        </p:nvSpPr>
        <p:spPr>
          <a:xfrm>
            <a:off x="335998" y="649092"/>
            <a:ext cx="11232600" cy="7221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2400"/>
              <a:buFont typeface="Playfair Display"/>
              <a:buNone/>
            </a:pPr>
            <a:r>
              <a:rPr lang="es-ES" sz="2400" b="0" i="0" u="none" strike="noStrike" cap="none" dirty="0">
                <a:solidFill>
                  <a:schemeClr val="dk1"/>
                </a:solidFill>
                <a:latin typeface="Playfair Display"/>
                <a:ea typeface="Playfair Display"/>
                <a:cs typeface="Playfair Display"/>
                <a:sym typeface="Playfair Display"/>
              </a:rPr>
              <a:t>… y su funcionalidad </a:t>
            </a:r>
            <a:r>
              <a:rPr lang="es-ES" sz="2400" b="0" i="0" u="none" strike="noStrike" cap="none" dirty="0" err="1" smtClean="0">
                <a:solidFill>
                  <a:schemeClr val="dk1"/>
                </a:solidFill>
                <a:latin typeface="Playfair Display"/>
                <a:ea typeface="Playfair Display"/>
                <a:cs typeface="Playfair Display"/>
                <a:sym typeface="Playfair Display"/>
              </a:rPr>
              <a:t>backend</a:t>
            </a:r>
            <a:r>
              <a:rPr lang="es-ES" sz="2400" b="0" i="0" u="none" strike="noStrike" cap="none" dirty="0" smtClean="0">
                <a:solidFill>
                  <a:schemeClr val="dk1"/>
                </a:solidFill>
                <a:latin typeface="Playfair Display"/>
                <a:ea typeface="Playfair Display"/>
                <a:cs typeface="Playfair Display"/>
                <a:sym typeface="Playfair Display"/>
              </a:rPr>
              <a:t> </a:t>
            </a:r>
            <a:r>
              <a:rPr lang="es-ES" sz="2400" b="0" i="0" u="none" strike="noStrike" cap="none" dirty="0">
                <a:solidFill>
                  <a:schemeClr val="dk1"/>
                </a:solidFill>
                <a:latin typeface="Playfair Display"/>
                <a:ea typeface="Playfair Display"/>
                <a:cs typeface="Playfair Display"/>
                <a:sym typeface="Playfair Display"/>
              </a:rPr>
              <a:t>se sustenta en tres bloques clave</a:t>
            </a:r>
            <a:endParaRPr sz="2400" b="0" i="0" u="none" strike="noStrike" cap="none" dirty="0">
              <a:solidFill>
                <a:schemeClr val="dk1"/>
              </a:solidFill>
              <a:latin typeface="Playfair Display"/>
              <a:ea typeface="Playfair Display"/>
              <a:cs typeface="Playfair Display"/>
              <a:sym typeface="Playfair Display"/>
            </a:endParaRPr>
          </a:p>
        </p:txBody>
      </p:sp>
      <p:sp>
        <p:nvSpPr>
          <p:cNvPr id="519" name="Google Shape;519;g8055afce9b_0_767"/>
          <p:cNvSpPr txBox="1"/>
          <p:nvPr/>
        </p:nvSpPr>
        <p:spPr>
          <a:xfrm>
            <a:off x="1888959" y="1161969"/>
            <a:ext cx="9966300" cy="51501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800"/>
              <a:buFont typeface="Arial"/>
              <a:buNone/>
            </a:pPr>
            <a:r>
              <a:rPr lang="es-ES" sz="1800" b="0" i="0" u="none" strike="noStrike" cap="none">
                <a:solidFill>
                  <a:srgbClr val="000000"/>
                </a:solidFill>
                <a:latin typeface="Playfair Display"/>
                <a:ea typeface="Playfair Display"/>
                <a:cs typeface="Playfair Display"/>
                <a:sym typeface="Playfair Display"/>
              </a:rPr>
              <a:t>Servicio central de Gestión de balizas</a:t>
            </a:r>
            <a:endParaRPr/>
          </a:p>
          <a:p>
            <a:pPr marL="0" marR="0" lvl="0" indent="0" algn="l" rtl="0">
              <a:lnSpc>
                <a:spcPct val="100000"/>
              </a:lnSpc>
              <a:spcBef>
                <a:spcPts val="0"/>
              </a:spcBef>
              <a:spcAft>
                <a:spcPts val="0"/>
              </a:spcAft>
              <a:buClr>
                <a:srgbClr val="000000"/>
              </a:buClr>
              <a:buSzPts val="1800"/>
              <a:buFont typeface="Arial"/>
              <a:buNone/>
            </a:pPr>
            <a:endParaRPr sz="13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800"/>
              <a:buFont typeface="Arial"/>
              <a:buNone/>
            </a:pPr>
            <a:r>
              <a:rPr lang="es-ES" sz="1300" b="0" i="0" u="none" strike="noStrike" cap="none">
                <a:solidFill>
                  <a:srgbClr val="000000"/>
                </a:solidFill>
                <a:latin typeface="Arial"/>
                <a:ea typeface="Arial"/>
                <a:cs typeface="Arial"/>
                <a:sym typeface="Arial"/>
              </a:rPr>
              <a:t>La aplicación debe comunicarse con un servidor externo que provea la siguiente funcionalidad:</a:t>
            </a:r>
            <a:endParaRPr sz="1300" b="0" i="0" u="none" strike="noStrike" cap="none">
              <a:solidFill>
                <a:srgbClr val="000000"/>
              </a:solidFill>
              <a:latin typeface="Arial"/>
              <a:ea typeface="Arial"/>
              <a:cs typeface="Arial"/>
              <a:sym typeface="Arial"/>
            </a:endParaRPr>
          </a:p>
          <a:p>
            <a:pPr marL="914400" marR="0" lvl="0" indent="-311150" algn="l" rtl="0">
              <a:lnSpc>
                <a:spcPct val="100000"/>
              </a:lnSpc>
              <a:spcBef>
                <a:spcPts val="1000"/>
              </a:spcBef>
              <a:spcAft>
                <a:spcPts val="0"/>
              </a:spcAft>
              <a:buClr>
                <a:srgbClr val="000000"/>
              </a:buClr>
              <a:buSzPts val="1300"/>
              <a:buFont typeface="Arial"/>
              <a:buChar char="●"/>
            </a:pPr>
            <a:r>
              <a:rPr lang="es-ES" sz="1300" b="0" i="0" u="none" strike="noStrike" cap="none">
                <a:solidFill>
                  <a:srgbClr val="000000"/>
                </a:solidFill>
                <a:latin typeface="Arial"/>
                <a:ea typeface="Arial"/>
                <a:cs typeface="Arial"/>
                <a:sym typeface="Arial"/>
              </a:rPr>
              <a:t>Recolectar las balizas de los usuarios que hayan sido diagnosticados de COVID-19</a:t>
            </a:r>
            <a:endParaRPr sz="1300" b="0" i="0" u="none" strike="noStrike" cap="none">
              <a:solidFill>
                <a:srgbClr val="000000"/>
              </a:solidFill>
              <a:latin typeface="Arial"/>
              <a:ea typeface="Arial"/>
              <a:cs typeface="Arial"/>
              <a:sym typeface="Arial"/>
            </a:endParaRPr>
          </a:p>
          <a:p>
            <a:pPr marL="914400" marR="0" lvl="0" indent="-311150" algn="l" rtl="0">
              <a:lnSpc>
                <a:spcPct val="100000"/>
              </a:lnSpc>
              <a:spcBef>
                <a:spcPts val="0"/>
              </a:spcBef>
              <a:spcAft>
                <a:spcPts val="0"/>
              </a:spcAft>
              <a:buClr>
                <a:srgbClr val="000000"/>
              </a:buClr>
              <a:buSzPts val="1300"/>
              <a:buFont typeface="Arial"/>
              <a:buChar char="●"/>
            </a:pPr>
            <a:r>
              <a:rPr lang="es-ES" sz="1300" b="0" i="0" u="none" strike="noStrike" cap="none">
                <a:solidFill>
                  <a:srgbClr val="000000"/>
                </a:solidFill>
                <a:latin typeface="Arial"/>
                <a:ea typeface="Arial"/>
                <a:cs typeface="Arial"/>
                <a:sym typeface="Arial"/>
              </a:rPr>
              <a:t>Distribuir las balizas de los casos confirmados hacia los dispositivos</a:t>
            </a:r>
            <a:endParaRPr sz="1300" b="0" i="0" u="none" strike="noStrike" cap="none">
              <a:solidFill>
                <a:srgbClr val="000000"/>
              </a:solidFill>
              <a:latin typeface="Arial"/>
              <a:ea typeface="Arial"/>
              <a:cs typeface="Arial"/>
              <a:sym typeface="Arial"/>
            </a:endParaRPr>
          </a:p>
          <a:p>
            <a:pPr marL="914400" marR="0" lvl="0" indent="-311150" algn="l" rtl="0">
              <a:lnSpc>
                <a:spcPct val="100000"/>
              </a:lnSpc>
              <a:spcBef>
                <a:spcPts val="0"/>
              </a:spcBef>
              <a:spcAft>
                <a:spcPts val="0"/>
              </a:spcAft>
              <a:buClr>
                <a:srgbClr val="000000"/>
              </a:buClr>
              <a:buSzPts val="1300"/>
              <a:buFont typeface="Arial"/>
              <a:buChar char="●"/>
            </a:pPr>
            <a:r>
              <a:rPr lang="es-ES" sz="1300" b="0" i="0" u="none" strike="noStrike" cap="none">
                <a:solidFill>
                  <a:srgbClr val="000000"/>
                </a:solidFill>
                <a:latin typeface="Arial"/>
                <a:ea typeface="Arial"/>
                <a:cs typeface="Arial"/>
                <a:sym typeface="Arial"/>
              </a:rPr>
              <a:t>Integración servicio autorización positivos</a:t>
            </a:r>
            <a:endParaRPr sz="1300" b="0" i="0" u="none" strike="noStrike" cap="none">
              <a:solidFill>
                <a:srgbClr val="000000"/>
              </a:solidFill>
              <a:latin typeface="Arial"/>
              <a:ea typeface="Arial"/>
              <a:cs typeface="Arial"/>
              <a:sym typeface="Arial"/>
            </a:endParaRPr>
          </a:p>
          <a:p>
            <a:pPr marL="0" marR="0" lvl="0" indent="0" algn="l" rtl="0">
              <a:lnSpc>
                <a:spcPct val="100000"/>
              </a:lnSpc>
              <a:spcBef>
                <a:spcPts val="1000"/>
              </a:spcBef>
              <a:spcAft>
                <a:spcPts val="0"/>
              </a:spcAft>
              <a:buClr>
                <a:srgbClr val="000000"/>
              </a:buClr>
              <a:buSzPts val="1800"/>
              <a:buFont typeface="Arial"/>
              <a:buNone/>
            </a:pPr>
            <a:r>
              <a:rPr lang="es-ES" sz="1800" b="0" i="0" u="none" strike="noStrike" cap="none">
                <a:solidFill>
                  <a:srgbClr val="000000"/>
                </a:solidFill>
                <a:latin typeface="Playfair Display"/>
                <a:ea typeface="Playfair Display"/>
                <a:cs typeface="Playfair Display"/>
                <a:sym typeface="Playfair Display"/>
              </a:rPr>
              <a:t>Servicio central de Validación de positivos - Proporcionado por el Estado </a:t>
            </a:r>
            <a:endParaRPr/>
          </a:p>
          <a:p>
            <a:pPr marL="0" marR="0" lvl="0" indent="0" algn="l" rtl="0">
              <a:lnSpc>
                <a:spcPct val="100000"/>
              </a:lnSpc>
              <a:spcBef>
                <a:spcPts val="1000"/>
              </a:spcBef>
              <a:spcAft>
                <a:spcPts val="0"/>
              </a:spcAft>
              <a:buClr>
                <a:srgbClr val="000000"/>
              </a:buClr>
              <a:buSzPts val="1800"/>
              <a:buFont typeface="Arial"/>
              <a:buNone/>
            </a:pPr>
            <a:r>
              <a:rPr lang="es-ES" sz="1300" b="0" i="0" u="none" strike="noStrike" cap="none">
                <a:solidFill>
                  <a:srgbClr val="000000"/>
                </a:solidFill>
                <a:latin typeface="Arial"/>
                <a:ea typeface="Arial"/>
                <a:cs typeface="Arial"/>
                <a:sym typeface="Arial"/>
              </a:rPr>
              <a:t>La aplicación debe comunicarse con un servidor externo que te provea el código de autorización que confirme el positivo y pueda autorizar a subir las balizas al servicio en función del siguiente ciclo propuesto:</a:t>
            </a:r>
            <a:endParaRPr sz="1300" b="0" i="0" u="none" strike="noStrike" cap="none">
              <a:solidFill>
                <a:srgbClr val="000000"/>
              </a:solidFill>
              <a:latin typeface="Arial"/>
              <a:ea typeface="Arial"/>
              <a:cs typeface="Arial"/>
              <a:sym typeface="Arial"/>
            </a:endParaRPr>
          </a:p>
          <a:p>
            <a:pPr marL="914400" marR="0" lvl="0" indent="-311150" algn="l" rtl="0">
              <a:lnSpc>
                <a:spcPct val="100000"/>
              </a:lnSpc>
              <a:spcBef>
                <a:spcPts val="1000"/>
              </a:spcBef>
              <a:spcAft>
                <a:spcPts val="0"/>
              </a:spcAft>
              <a:buClr>
                <a:srgbClr val="000000"/>
              </a:buClr>
              <a:buSzPts val="1300"/>
              <a:buFont typeface="Arial"/>
              <a:buChar char="●"/>
            </a:pPr>
            <a:r>
              <a:rPr lang="es-ES" sz="1300" b="0" i="0" u="none" strike="noStrike" cap="none">
                <a:solidFill>
                  <a:srgbClr val="000000"/>
                </a:solidFill>
                <a:latin typeface="Arial"/>
                <a:ea typeface="Arial"/>
                <a:cs typeface="Arial"/>
                <a:sym typeface="Arial"/>
              </a:rPr>
              <a:t>Sistema médico solicita token/QR autenticación al backend para confirmar positivo COVID-19</a:t>
            </a:r>
            <a:endParaRPr sz="1300" b="0" i="0" u="none" strike="noStrike" cap="none">
              <a:solidFill>
                <a:srgbClr val="000000"/>
              </a:solidFill>
              <a:latin typeface="Arial"/>
              <a:ea typeface="Arial"/>
              <a:cs typeface="Arial"/>
              <a:sym typeface="Arial"/>
            </a:endParaRPr>
          </a:p>
          <a:p>
            <a:pPr marL="914400" marR="0" lvl="0" indent="-311150" algn="l" rtl="0">
              <a:lnSpc>
                <a:spcPct val="100000"/>
              </a:lnSpc>
              <a:spcBef>
                <a:spcPts val="0"/>
              </a:spcBef>
              <a:spcAft>
                <a:spcPts val="0"/>
              </a:spcAft>
              <a:buClr>
                <a:srgbClr val="000000"/>
              </a:buClr>
              <a:buSzPts val="1300"/>
              <a:buFont typeface="Arial"/>
              <a:buChar char="●"/>
            </a:pPr>
            <a:r>
              <a:rPr lang="es-ES" sz="1300" b="0" i="0" u="none" strike="noStrike" cap="none">
                <a:solidFill>
                  <a:srgbClr val="000000"/>
                </a:solidFill>
                <a:latin typeface="Arial"/>
                <a:ea typeface="Arial"/>
                <a:cs typeface="Arial"/>
                <a:sym typeface="Arial"/>
              </a:rPr>
              <a:t>Paciente recibe token/QR autenticación para confirmar el positivo COVID-19</a:t>
            </a:r>
            <a:endParaRPr sz="1300" b="0" i="0" u="none" strike="noStrike" cap="none">
              <a:solidFill>
                <a:srgbClr val="000000"/>
              </a:solidFill>
              <a:latin typeface="Arial"/>
              <a:ea typeface="Arial"/>
              <a:cs typeface="Arial"/>
              <a:sym typeface="Arial"/>
            </a:endParaRPr>
          </a:p>
          <a:p>
            <a:pPr marL="914400" marR="0" lvl="0" indent="-311150" algn="l" rtl="0">
              <a:lnSpc>
                <a:spcPct val="100000"/>
              </a:lnSpc>
              <a:spcBef>
                <a:spcPts val="0"/>
              </a:spcBef>
              <a:spcAft>
                <a:spcPts val="0"/>
              </a:spcAft>
              <a:buClr>
                <a:srgbClr val="000000"/>
              </a:buClr>
              <a:buSzPts val="1300"/>
              <a:buFont typeface="Arial"/>
              <a:buChar char="●"/>
            </a:pPr>
            <a:r>
              <a:rPr lang="es-ES" sz="1300" b="0" i="0" u="none" strike="noStrike" cap="none">
                <a:solidFill>
                  <a:srgbClr val="000000"/>
                </a:solidFill>
                <a:latin typeface="Arial"/>
                <a:ea typeface="Arial"/>
                <a:cs typeface="Arial"/>
                <a:sym typeface="Arial"/>
              </a:rPr>
              <a:t>Paciente envía el token/QR autorizado al backend para subir su histórico de contactos</a:t>
            </a:r>
            <a:endParaRPr sz="1300" b="0" i="0" u="none" strike="noStrike" cap="none">
              <a:solidFill>
                <a:srgbClr val="000000"/>
              </a:solidFill>
              <a:latin typeface="Arial"/>
              <a:ea typeface="Arial"/>
              <a:cs typeface="Arial"/>
              <a:sym typeface="Arial"/>
            </a:endParaRPr>
          </a:p>
          <a:p>
            <a:pPr marL="914400" marR="0" lvl="0" indent="-311150" algn="l" rtl="0">
              <a:lnSpc>
                <a:spcPct val="100000"/>
              </a:lnSpc>
              <a:spcBef>
                <a:spcPts val="0"/>
              </a:spcBef>
              <a:spcAft>
                <a:spcPts val="0"/>
              </a:spcAft>
              <a:buClr>
                <a:srgbClr val="000000"/>
              </a:buClr>
              <a:buSzPts val="1300"/>
              <a:buFont typeface="Arial"/>
              <a:buChar char="●"/>
            </a:pPr>
            <a:r>
              <a:rPr lang="es-ES" sz="1300" b="0" i="0" u="none" strike="noStrike" cap="none">
                <a:solidFill>
                  <a:srgbClr val="000000"/>
                </a:solidFill>
                <a:latin typeface="Arial"/>
                <a:ea typeface="Arial"/>
                <a:cs typeface="Arial"/>
                <a:sym typeface="Arial"/>
              </a:rPr>
              <a:t>Pendiente por definir por parte Gobierno 	</a:t>
            </a:r>
            <a:endParaRPr sz="1300" b="0" i="0" u="none" strike="noStrike" cap="none">
              <a:solidFill>
                <a:srgbClr val="000000"/>
              </a:solidFill>
              <a:latin typeface="Arial"/>
              <a:ea typeface="Arial"/>
              <a:cs typeface="Arial"/>
              <a:sym typeface="Arial"/>
            </a:endParaRPr>
          </a:p>
          <a:p>
            <a:pPr marL="0" marR="0" lvl="0" indent="0" algn="l" rtl="0">
              <a:lnSpc>
                <a:spcPct val="100000"/>
              </a:lnSpc>
              <a:spcBef>
                <a:spcPts val="1000"/>
              </a:spcBef>
              <a:spcAft>
                <a:spcPts val="0"/>
              </a:spcAft>
              <a:buNone/>
            </a:pPr>
            <a:r>
              <a:rPr lang="es-ES" sz="1300" b="0" i="0" u="none" strike="noStrike" cap="none">
                <a:solidFill>
                  <a:schemeClr val="dk1"/>
                </a:solidFill>
                <a:latin typeface="Arial"/>
                <a:ea typeface="Arial"/>
                <a:cs typeface="Arial"/>
                <a:sym typeface="Arial"/>
              </a:rPr>
              <a:t>Como no se dispone de servicio de la autoridad sanitaria en el alcance inicial se simulará la validación del positivo que desencadene el proceso de tracing para que se pueda probar su funcionamiento.</a:t>
            </a:r>
            <a:endParaRPr/>
          </a:p>
          <a:p>
            <a:pPr marL="0" marR="0" lvl="0" indent="0" algn="l" rtl="0">
              <a:lnSpc>
                <a:spcPct val="100000"/>
              </a:lnSpc>
              <a:spcBef>
                <a:spcPts val="1000"/>
              </a:spcBef>
              <a:spcAft>
                <a:spcPts val="0"/>
              </a:spcAft>
              <a:buClr>
                <a:srgbClr val="000000"/>
              </a:buClr>
              <a:buSzPts val="1800"/>
              <a:buFont typeface="Arial"/>
              <a:buNone/>
            </a:pPr>
            <a:r>
              <a:rPr lang="es-ES" sz="1800" b="0" i="0" u="none" strike="noStrike" cap="none">
                <a:solidFill>
                  <a:srgbClr val="000000"/>
                </a:solidFill>
                <a:latin typeface="Playfair Display"/>
                <a:ea typeface="Playfair Display"/>
                <a:cs typeface="Playfair Display"/>
                <a:sym typeface="Playfair Display"/>
              </a:rPr>
              <a:t>Integración con sistemas Terceros - Proporcionado por el Estado</a:t>
            </a:r>
            <a:endParaRPr sz="1300" b="0" i="0" u="none" strike="noStrike" cap="none">
              <a:solidFill>
                <a:srgbClr val="000000"/>
              </a:solidFill>
              <a:latin typeface="Arial"/>
              <a:ea typeface="Arial"/>
              <a:cs typeface="Arial"/>
              <a:sym typeface="Arial"/>
            </a:endParaRPr>
          </a:p>
          <a:p>
            <a:pPr marL="0" marR="0" lvl="0" indent="0" algn="l" rtl="0">
              <a:lnSpc>
                <a:spcPct val="100000"/>
              </a:lnSpc>
              <a:spcBef>
                <a:spcPts val="1000"/>
              </a:spcBef>
              <a:spcAft>
                <a:spcPts val="0"/>
              </a:spcAft>
              <a:buClr>
                <a:srgbClr val="000000"/>
              </a:buClr>
              <a:buSzPts val="1800"/>
              <a:buFont typeface="Arial"/>
              <a:buNone/>
            </a:pPr>
            <a:r>
              <a:rPr lang="es-ES" sz="1300" b="0" i="0" u="none" strike="noStrike" cap="none">
                <a:solidFill>
                  <a:srgbClr val="000000"/>
                </a:solidFill>
                <a:latin typeface="Arial"/>
                <a:ea typeface="Arial"/>
                <a:cs typeface="Arial"/>
                <a:sym typeface="Arial"/>
              </a:rPr>
              <a:t>Interoperabilidad con </a:t>
            </a:r>
            <a:r>
              <a:rPr lang="es-ES" sz="1300" b="1" i="0" u="none" strike="noStrike" cap="none">
                <a:solidFill>
                  <a:srgbClr val="000000"/>
                </a:solidFill>
                <a:latin typeface="Arial"/>
                <a:ea typeface="Arial"/>
                <a:cs typeface="Arial"/>
                <a:sym typeface="Arial"/>
              </a:rPr>
              <a:t>backends de otros Estados </a:t>
            </a:r>
            <a:r>
              <a:rPr lang="es-ES" sz="1300" b="0" i="0" u="none" strike="noStrike" cap="none">
                <a:solidFill>
                  <a:srgbClr val="000000"/>
                </a:solidFill>
                <a:latin typeface="Arial"/>
                <a:ea typeface="Arial"/>
                <a:cs typeface="Arial"/>
                <a:sym typeface="Arial"/>
              </a:rPr>
              <a:t>para asegurar funcionalidad cross fronteras : Pendiente por definir por parte del Gobierno</a:t>
            </a:r>
            <a:endParaRPr sz="1300" b="0" i="0" u="none" strike="noStrike" cap="none">
              <a:solidFill>
                <a:srgbClr val="000000"/>
              </a:solidFill>
              <a:latin typeface="Arial"/>
              <a:ea typeface="Arial"/>
              <a:cs typeface="Arial"/>
              <a:sym typeface="Arial"/>
            </a:endParaRPr>
          </a:p>
        </p:txBody>
      </p:sp>
      <p:pic>
        <p:nvPicPr>
          <p:cNvPr id="520" name="Google Shape;520;g8055afce9b_0_767"/>
          <p:cNvPicPr preferRelativeResize="0"/>
          <p:nvPr/>
        </p:nvPicPr>
        <p:blipFill rotWithShape="1">
          <a:blip r:embed="rId3">
            <a:alphaModFix/>
          </a:blip>
          <a:srcRect/>
          <a:stretch/>
        </p:blipFill>
        <p:spPr>
          <a:xfrm>
            <a:off x="251218" y="1773539"/>
            <a:ext cx="1457125" cy="1457125"/>
          </a:xfrm>
          <a:prstGeom prst="rect">
            <a:avLst/>
          </a:prstGeom>
          <a:noFill/>
          <a:ln>
            <a:noFill/>
          </a:ln>
        </p:spPr>
      </p:pic>
      <p:sp>
        <p:nvSpPr>
          <p:cNvPr id="521" name="Google Shape;521;g8055afce9b_0_767"/>
          <p:cNvSpPr/>
          <p:nvPr/>
        </p:nvSpPr>
        <p:spPr>
          <a:xfrm>
            <a:off x="1888959" y="6030580"/>
            <a:ext cx="9144000" cy="7386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s-ES" sz="1400" b="0" i="0" u="none" strike="noStrike" cap="none" dirty="0">
                <a:solidFill>
                  <a:schemeClr val="tx1"/>
                </a:solidFill>
                <a:latin typeface="Arial"/>
                <a:ea typeface="Arial"/>
                <a:cs typeface="Arial"/>
                <a:sym typeface="Arial"/>
              </a:rPr>
              <a:t>Se propone un soporte funcional para apoyar a </a:t>
            </a:r>
            <a:r>
              <a:rPr lang="es-ES" sz="1400" b="0" i="0" u="none" strike="noStrike" cap="none">
                <a:solidFill>
                  <a:schemeClr val="tx1"/>
                </a:solidFill>
                <a:latin typeface="Arial"/>
                <a:ea typeface="Arial"/>
                <a:cs typeface="Arial"/>
                <a:sym typeface="Arial"/>
              </a:rPr>
              <a:t>la </a:t>
            </a:r>
            <a:r>
              <a:rPr lang="es-ES" sz="1400" b="0" i="0" u="none" strike="noStrike" cap="none" smtClean="0">
                <a:solidFill>
                  <a:schemeClr val="tx1"/>
                </a:solidFill>
                <a:latin typeface="Arial"/>
                <a:ea typeface="Arial"/>
                <a:cs typeface="Arial"/>
                <a:sym typeface="Arial"/>
              </a:rPr>
              <a:t>SGAD </a:t>
            </a:r>
            <a:r>
              <a:rPr lang="es-ES" sz="1400" b="0" i="0" u="none" strike="noStrike" cap="none" dirty="0">
                <a:solidFill>
                  <a:schemeClr val="tx1"/>
                </a:solidFill>
                <a:latin typeface="Arial"/>
                <a:ea typeface="Arial"/>
                <a:cs typeface="Arial"/>
                <a:sym typeface="Arial"/>
              </a:rPr>
              <a:t>en el diseño de los servicios de sanidad e interoperabilidad que actualmente están en fase de </a:t>
            </a:r>
            <a:r>
              <a:rPr lang="es-ES" sz="1400" b="0" i="0" u="none" strike="noStrike" cap="none" dirty="0" smtClean="0">
                <a:solidFill>
                  <a:schemeClr val="tx1"/>
                </a:solidFill>
                <a:latin typeface="Arial"/>
                <a:ea typeface="Arial"/>
                <a:cs typeface="Arial"/>
                <a:sym typeface="Arial"/>
              </a:rPr>
              <a:t>definición, planteando alternativas</a:t>
            </a:r>
            <a:r>
              <a:rPr lang="es-ES" dirty="0">
                <a:solidFill>
                  <a:schemeClr val="tx1"/>
                </a:solidFill>
              </a:rPr>
              <a:t>,</a:t>
            </a:r>
            <a:r>
              <a:rPr lang="es-ES" sz="1400" b="0" i="0" u="none" strike="noStrike" cap="none" dirty="0" smtClean="0">
                <a:solidFill>
                  <a:schemeClr val="tx1"/>
                </a:solidFill>
                <a:latin typeface="Arial"/>
                <a:ea typeface="Arial"/>
                <a:cs typeface="Arial"/>
                <a:sym typeface="Arial"/>
              </a:rPr>
              <a:t> modelos, pruebas </a:t>
            </a:r>
            <a:r>
              <a:rPr lang="es-ES" sz="1400" b="0" i="0" u="none" strike="noStrike" cap="none" dirty="0">
                <a:solidFill>
                  <a:schemeClr val="tx1"/>
                </a:solidFill>
                <a:latin typeface="Arial"/>
                <a:ea typeface="Arial"/>
                <a:cs typeface="Arial"/>
                <a:sym typeface="Arial"/>
              </a:rPr>
              <a:t>de concepto, desarrollos,… al equipo de soporte agile/seguridad planteado durante la fase de </a:t>
            </a:r>
            <a:r>
              <a:rPr lang="es-ES" sz="1400" b="0" i="0" u="none" strike="noStrike" cap="none" dirty="0" smtClean="0">
                <a:solidFill>
                  <a:schemeClr val="tx1"/>
                </a:solidFill>
                <a:latin typeface="Arial"/>
                <a:ea typeface="Arial"/>
                <a:cs typeface="Arial"/>
                <a:sym typeface="Arial"/>
              </a:rPr>
              <a:t>piloto </a:t>
            </a:r>
            <a:endParaRPr sz="1400" b="0" i="0" u="none" strike="noStrike" cap="none" dirty="0">
              <a:solidFill>
                <a:schemeClr val="tx1"/>
              </a:solidFill>
              <a:latin typeface="Arial"/>
              <a:ea typeface="Arial"/>
              <a:cs typeface="Arial"/>
              <a:sym typeface="Aria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525"/>
        <p:cNvGrpSpPr/>
        <p:nvPr/>
      </p:nvGrpSpPr>
      <p:grpSpPr>
        <a:xfrm>
          <a:off x="0" y="0"/>
          <a:ext cx="0" cy="0"/>
          <a:chOff x="0" y="0"/>
          <a:chExt cx="0" cy="0"/>
        </a:xfrm>
      </p:grpSpPr>
      <p:sp>
        <p:nvSpPr>
          <p:cNvPr id="539" name="Google Shape;539;g8055afce9b_0_775"/>
          <p:cNvSpPr txBox="1"/>
          <p:nvPr/>
        </p:nvSpPr>
        <p:spPr>
          <a:xfrm>
            <a:off x="2017388" y="1220800"/>
            <a:ext cx="2017200" cy="339000"/>
          </a:xfrm>
          <a:prstGeom prst="rect">
            <a:avLst/>
          </a:prstGeom>
          <a:noFill/>
          <a:ln>
            <a:noFill/>
          </a:ln>
        </p:spPr>
        <p:txBody>
          <a:bodyPr spcFirstLastPara="1" wrap="square" lIns="91425" tIns="91425" rIns="91425" bIns="91425" anchor="t"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rgbClr val="000000"/>
              </a:solidFill>
              <a:latin typeface="Playfair Display"/>
              <a:ea typeface="Playfair Display"/>
              <a:cs typeface="Playfair Display"/>
              <a:sym typeface="Playfair Display"/>
            </a:endParaRPr>
          </a:p>
        </p:txBody>
      </p:sp>
      <p:sp>
        <p:nvSpPr>
          <p:cNvPr id="2" name="Marcador de texto 1"/>
          <p:cNvSpPr>
            <a:spLocks noGrp="1"/>
          </p:cNvSpPr>
          <p:nvPr>
            <p:ph type="body" idx="1"/>
          </p:nvPr>
        </p:nvSpPr>
        <p:spPr/>
        <p:txBody>
          <a:bodyPr/>
          <a:lstStyle/>
          <a:p>
            <a:endParaRPr lang="es-ES"/>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549"/>
        <p:cNvGrpSpPr/>
        <p:nvPr/>
      </p:nvGrpSpPr>
      <p:grpSpPr>
        <a:xfrm>
          <a:off x="0" y="0"/>
          <a:ext cx="0" cy="0"/>
          <a:chOff x="0" y="0"/>
          <a:chExt cx="0" cy="0"/>
        </a:xfrm>
      </p:grpSpPr>
      <p:cxnSp>
        <p:nvCxnSpPr>
          <p:cNvPr id="555" name="Google Shape;555;g8055afce9b_0_798"/>
          <p:cNvCxnSpPr/>
          <p:nvPr/>
        </p:nvCxnSpPr>
        <p:spPr>
          <a:xfrm rot="10800000" flipH="1">
            <a:off x="10375926" y="1992936"/>
            <a:ext cx="1477800" cy="5700"/>
          </a:xfrm>
          <a:prstGeom prst="straightConnector1">
            <a:avLst/>
          </a:prstGeom>
          <a:noFill/>
          <a:ln w="76200" cap="flat" cmpd="sng">
            <a:solidFill>
              <a:schemeClr val="lt1"/>
            </a:solidFill>
            <a:prstDash val="dot"/>
            <a:round/>
            <a:headEnd type="none" w="sm" len="sm"/>
            <a:tailEnd type="none" w="sm" len="sm"/>
          </a:ln>
        </p:spPr>
      </p:cxnSp>
      <p:sp>
        <p:nvSpPr>
          <p:cNvPr id="2" name="Marcador de texto 1"/>
          <p:cNvSpPr>
            <a:spLocks noGrp="1"/>
          </p:cNvSpPr>
          <p:nvPr>
            <p:ph type="body" idx="1"/>
          </p:nvPr>
        </p:nvSpPr>
        <p:spPr/>
        <p:txBody>
          <a:bodyPr/>
          <a:lstStyle/>
          <a:p>
            <a:endParaRPr lang="es-ES"/>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577"/>
        <p:cNvGrpSpPr/>
        <p:nvPr/>
      </p:nvGrpSpPr>
      <p:grpSpPr>
        <a:xfrm>
          <a:off x="0" y="0"/>
          <a:ext cx="0" cy="0"/>
          <a:chOff x="0" y="0"/>
          <a:chExt cx="0" cy="0"/>
        </a:xfrm>
      </p:grpSpPr>
      <p:sp>
        <p:nvSpPr>
          <p:cNvPr id="2" name="Marcador de texto 1"/>
          <p:cNvSpPr>
            <a:spLocks noGrp="1"/>
          </p:cNvSpPr>
          <p:nvPr>
            <p:ph type="body" idx="1"/>
          </p:nvPr>
        </p:nvSpPr>
        <p:spPr/>
        <p:txBody>
          <a:bodyPr/>
          <a:lstStyle/>
          <a:p>
            <a:endParaRPr lang="es-ES"/>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603"/>
        <p:cNvGrpSpPr/>
        <p:nvPr/>
      </p:nvGrpSpPr>
      <p:grpSpPr>
        <a:xfrm>
          <a:off x="0" y="0"/>
          <a:ext cx="0" cy="0"/>
          <a:chOff x="0" y="0"/>
          <a:chExt cx="0" cy="0"/>
        </a:xfrm>
      </p:grpSpPr>
      <p:sp>
        <p:nvSpPr>
          <p:cNvPr id="48" name="Google Shape;599;g8055afce9b_0_825"/>
          <p:cNvSpPr/>
          <p:nvPr/>
        </p:nvSpPr>
        <p:spPr>
          <a:xfrm>
            <a:off x="1267888" y="6460023"/>
            <a:ext cx="4356402" cy="139311"/>
          </a:xfrm>
          <a:prstGeom prst="rect">
            <a:avLst/>
          </a:prstGeom>
          <a:noFill/>
          <a:ln>
            <a:noFill/>
          </a:ln>
        </p:spPr>
        <p:txBody>
          <a:bodyPr spcFirstLastPara="1" wrap="square" lIns="91425" tIns="45700" rIns="91425" bIns="45700" anchor="t" anchorCtr="0">
            <a:noAutofit/>
          </a:bodyPr>
          <a:lstStyle/>
          <a:p>
            <a:pPr marL="87313" marR="0" lvl="0" indent="-87313" algn="l" rtl="0">
              <a:lnSpc>
                <a:spcPct val="100000"/>
              </a:lnSpc>
              <a:spcBef>
                <a:spcPts val="0"/>
              </a:spcBef>
              <a:spcAft>
                <a:spcPts val="0"/>
              </a:spcAft>
              <a:buNone/>
            </a:pPr>
            <a:endParaRPr sz="800" b="0" i="0" u="none" strike="noStrike" cap="none" dirty="0">
              <a:solidFill>
                <a:srgbClr val="000000"/>
              </a:solidFill>
              <a:latin typeface="Arial"/>
              <a:ea typeface="Arial"/>
              <a:cs typeface="Arial"/>
              <a:sym typeface="Arial"/>
            </a:endParaRPr>
          </a:p>
        </p:txBody>
      </p:sp>
      <p:sp>
        <p:nvSpPr>
          <p:cNvPr id="2" name="Marcador de texto 1"/>
          <p:cNvSpPr>
            <a:spLocks noGrp="1"/>
          </p:cNvSpPr>
          <p:nvPr>
            <p:ph type="body" idx="1"/>
          </p:nvPr>
        </p:nvSpPr>
        <p:spPr/>
        <p:txBody>
          <a:bodyPr/>
          <a:lstStyle/>
          <a:p>
            <a:endParaRPr lang="es-ES"/>
          </a:p>
        </p:txBody>
      </p:sp>
    </p:spTree>
    <p:extLst>
      <p:ext uri="{BB962C8B-B14F-4D97-AF65-F5344CB8AC3E}">
        <p14:creationId xmlns:p14="http://schemas.microsoft.com/office/powerpoint/2010/main" val="382840578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639"/>
        <p:cNvGrpSpPr/>
        <p:nvPr/>
      </p:nvGrpSpPr>
      <p:grpSpPr>
        <a:xfrm>
          <a:off x="0" y="0"/>
          <a:ext cx="0" cy="0"/>
          <a:chOff x="0" y="0"/>
          <a:chExt cx="0" cy="0"/>
        </a:xfrm>
      </p:grpSpPr>
      <p:pic>
        <p:nvPicPr>
          <p:cNvPr id="640" name="Google Shape;640;g8055afce9b_0_885"/>
          <p:cNvPicPr preferRelativeResize="0"/>
          <p:nvPr/>
        </p:nvPicPr>
        <p:blipFill rotWithShape="1">
          <a:blip r:embed="rId3">
            <a:alphaModFix/>
          </a:blip>
          <a:srcRect b="-351"/>
          <a:stretch/>
        </p:blipFill>
        <p:spPr>
          <a:xfrm>
            <a:off x="-1138042" y="-111787"/>
            <a:ext cx="13498739" cy="7396952"/>
          </a:xfrm>
          <a:prstGeom prst="rect">
            <a:avLst/>
          </a:prstGeom>
          <a:noFill/>
          <a:ln>
            <a:noFill/>
          </a:ln>
        </p:spPr>
      </p:pic>
      <p:sp>
        <p:nvSpPr>
          <p:cNvPr id="641" name="Google Shape;641;g8055afce9b_0_885"/>
          <p:cNvSpPr/>
          <p:nvPr/>
        </p:nvSpPr>
        <p:spPr>
          <a:xfrm>
            <a:off x="-1138042" y="-123000"/>
            <a:ext cx="14465700" cy="7408200"/>
          </a:xfrm>
          <a:prstGeom prst="rect">
            <a:avLst/>
          </a:prstGeom>
          <a:solidFill>
            <a:srgbClr val="E4E3F0">
              <a:alpha val="8196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667" b="0" i="0" u="none" strike="noStrike" cap="none">
              <a:solidFill>
                <a:schemeClr val="lt1"/>
              </a:solidFill>
              <a:latin typeface="Arial"/>
              <a:ea typeface="Arial"/>
              <a:cs typeface="Arial"/>
              <a:sym typeface="Arial"/>
            </a:endParaRPr>
          </a:p>
        </p:txBody>
      </p:sp>
      <p:sp>
        <p:nvSpPr>
          <p:cNvPr id="642" name="Google Shape;642;g8055afce9b_0_885"/>
          <p:cNvSpPr/>
          <p:nvPr/>
        </p:nvSpPr>
        <p:spPr>
          <a:xfrm>
            <a:off x="3098902" y="-459431"/>
            <a:ext cx="9242655" cy="6987498"/>
          </a:xfrm>
          <a:custGeom>
            <a:avLst/>
            <a:gdLst/>
            <a:ahLst/>
            <a:cxnLst/>
            <a:rect l="l" t="t" r="r" b="b"/>
            <a:pathLst>
              <a:path w="5803865" h="5293559" extrusionOk="0">
                <a:moveTo>
                  <a:pt x="0" y="5286405"/>
                </a:moveTo>
                <a:lnTo>
                  <a:pt x="1630646" y="0"/>
                </a:lnTo>
                <a:lnTo>
                  <a:pt x="5802738" y="17804"/>
                </a:lnTo>
                <a:cubicBezTo>
                  <a:pt x="5803114" y="1776389"/>
                  <a:pt x="5803489" y="3534974"/>
                  <a:pt x="5803865" y="5293559"/>
                </a:cubicBezTo>
                <a:lnTo>
                  <a:pt x="0" y="5286405"/>
                </a:lnTo>
                <a:close/>
              </a:path>
            </a:pathLst>
          </a:custGeom>
          <a:solidFill>
            <a:srgbClr val="FFFFFF">
              <a:alpha val="7882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000" b="0" i="0" u="none" strike="noStrike" cap="none">
              <a:solidFill>
                <a:schemeClr val="lt1"/>
              </a:solidFill>
              <a:latin typeface="Arial"/>
              <a:ea typeface="Arial"/>
              <a:cs typeface="Arial"/>
              <a:sym typeface="Arial"/>
            </a:endParaRPr>
          </a:p>
        </p:txBody>
      </p:sp>
      <p:sp>
        <p:nvSpPr>
          <p:cNvPr id="643" name="Google Shape;643;g8055afce9b_0_885"/>
          <p:cNvSpPr/>
          <p:nvPr/>
        </p:nvSpPr>
        <p:spPr>
          <a:xfrm>
            <a:off x="5603946" y="622047"/>
            <a:ext cx="6560621" cy="4288152"/>
          </a:xfrm>
          <a:prstGeom prst="rect">
            <a:avLst/>
          </a:prstGeom>
          <a:noFill/>
          <a:ln>
            <a:noFill/>
          </a:ln>
        </p:spPr>
        <p:txBody>
          <a:bodyPr spcFirstLastPara="1" wrap="square" lIns="64000" tIns="0" rIns="64000" bIns="0" anchor="t" anchorCtr="0">
            <a:noAutofit/>
          </a:bodyPr>
          <a:lstStyle/>
          <a:p>
            <a:pPr marL="228593" marR="0" lvl="0" indent="-228593" algn="l" rtl="0">
              <a:lnSpc>
                <a:spcPct val="100000"/>
              </a:lnSpc>
              <a:spcBef>
                <a:spcPts val="0"/>
              </a:spcBef>
              <a:spcAft>
                <a:spcPts val="0"/>
              </a:spcAft>
              <a:buClr>
                <a:srgbClr val="000000"/>
              </a:buClr>
              <a:buSzPts val="1050"/>
              <a:buFont typeface="Noto Sans Symbols"/>
              <a:buChar char="✔"/>
            </a:pPr>
            <a:r>
              <a:rPr lang="es-ES" b="0" i="0" u="none" strike="noStrike" cap="none" dirty="0">
                <a:solidFill>
                  <a:schemeClr val="tx1"/>
                </a:solidFill>
                <a:latin typeface="Playfair Display"/>
                <a:ea typeface="Playfair Display"/>
                <a:cs typeface="Playfair Display"/>
                <a:sym typeface="Playfair Display"/>
              </a:rPr>
              <a:t>Para poder poner en marcha el servicio, Minsait necesita que Gobierno de España le </a:t>
            </a:r>
            <a:r>
              <a:rPr lang="es-ES" b="1" i="0" u="none" strike="noStrike" cap="none" dirty="0">
                <a:solidFill>
                  <a:schemeClr val="tx1"/>
                </a:solidFill>
                <a:latin typeface="Playfair Display"/>
                <a:ea typeface="Playfair Display"/>
                <a:cs typeface="Playfair Display"/>
                <a:sym typeface="Playfair Display"/>
              </a:rPr>
              <a:t>facilite el apoyo legal y la involucración de Administraciones necesarias y </a:t>
            </a:r>
            <a:r>
              <a:rPr lang="es-ES" b="1" i="0" u="none" strike="noStrike" cap="none" dirty="0" smtClean="0">
                <a:solidFill>
                  <a:schemeClr val="tx1"/>
                </a:solidFill>
                <a:latin typeface="Playfair Display"/>
                <a:ea typeface="Playfair Display"/>
                <a:cs typeface="Playfair Display"/>
                <a:sym typeface="Playfair Display"/>
              </a:rPr>
              <a:t>permisos</a:t>
            </a:r>
            <a:r>
              <a:rPr lang="es-ES" dirty="0" smtClean="0">
                <a:solidFill>
                  <a:schemeClr val="tx1"/>
                </a:solidFill>
                <a:latin typeface="Playfair Display"/>
                <a:ea typeface="Playfair Display"/>
                <a:cs typeface="Playfair Display"/>
                <a:sym typeface="Playfair Display"/>
              </a:rPr>
              <a:t>, así como la autorización para el acceso al SDK de Google y Apple.</a:t>
            </a:r>
            <a:endParaRPr dirty="0">
              <a:solidFill>
                <a:schemeClr val="tx1"/>
              </a:solidFill>
            </a:endParaRPr>
          </a:p>
          <a:p>
            <a:pPr marL="228593" marR="0" lvl="0" indent="-161918" algn="l" rtl="0">
              <a:lnSpc>
                <a:spcPct val="100000"/>
              </a:lnSpc>
              <a:spcBef>
                <a:spcPts val="0"/>
              </a:spcBef>
              <a:spcAft>
                <a:spcPts val="0"/>
              </a:spcAft>
              <a:buClr>
                <a:srgbClr val="000000"/>
              </a:buClr>
              <a:buSzPts val="1050"/>
              <a:buFont typeface="Noto Sans Symbols"/>
              <a:buNone/>
            </a:pPr>
            <a:endParaRPr b="0" i="0" u="none" strike="noStrike" cap="none" dirty="0">
              <a:solidFill>
                <a:srgbClr val="FF0000"/>
              </a:solidFill>
              <a:latin typeface="Playfair Display"/>
              <a:ea typeface="Playfair Display"/>
              <a:cs typeface="Playfair Display"/>
              <a:sym typeface="Playfair Display"/>
            </a:endParaRPr>
          </a:p>
          <a:p>
            <a:pPr marL="228593" indent="-228593">
              <a:buSzPts val="1050"/>
              <a:buFont typeface="Noto Sans Symbols"/>
              <a:buChar char="✔"/>
            </a:pPr>
            <a:r>
              <a:rPr lang="es-ES" b="0" i="0" u="none" strike="noStrike" cap="none" dirty="0">
                <a:solidFill>
                  <a:schemeClr val="tx1"/>
                </a:solidFill>
                <a:latin typeface="Playfair Display"/>
                <a:ea typeface="Playfair Display"/>
                <a:cs typeface="Playfair Display"/>
                <a:sym typeface="Playfair Display"/>
              </a:rPr>
              <a:t>De cara a </a:t>
            </a:r>
            <a:r>
              <a:rPr lang="es-ES" b="0" i="0" u="none" strike="noStrike" cap="none" dirty="0" smtClean="0">
                <a:solidFill>
                  <a:schemeClr val="tx1"/>
                </a:solidFill>
                <a:latin typeface="Playfair Display"/>
                <a:ea typeface="Playfair Display"/>
                <a:cs typeface="Playfair Display"/>
                <a:sym typeface="Playfair Display"/>
              </a:rPr>
              <a:t>habilitar </a:t>
            </a:r>
            <a:r>
              <a:rPr lang="es-ES" b="0" i="0" u="none" strike="noStrike" cap="none" dirty="0">
                <a:solidFill>
                  <a:schemeClr val="tx1"/>
                </a:solidFill>
                <a:latin typeface="Playfair Display"/>
                <a:ea typeface="Playfair Display"/>
                <a:cs typeface="Playfair Display"/>
                <a:sym typeface="Playfair Display"/>
              </a:rPr>
              <a:t>el testeo de la app, el Gobierno de España </a:t>
            </a:r>
            <a:r>
              <a:rPr lang="es-ES" b="1" i="0" u="none" strike="noStrike" cap="none" dirty="0">
                <a:solidFill>
                  <a:schemeClr val="tx1"/>
                </a:solidFill>
                <a:latin typeface="Playfair Display"/>
                <a:ea typeface="Playfair Display"/>
                <a:cs typeface="Playfair Display"/>
                <a:sym typeface="Playfair Display"/>
              </a:rPr>
              <a:t>facilitará el canal de subida de la app a </a:t>
            </a:r>
            <a:r>
              <a:rPr lang="es-ES" b="1" i="0" u="none" strike="noStrike" cap="none" dirty="0" err="1">
                <a:solidFill>
                  <a:schemeClr val="tx1"/>
                </a:solidFill>
                <a:latin typeface="Playfair Display"/>
                <a:ea typeface="Playfair Display"/>
                <a:cs typeface="Playfair Display"/>
                <a:sym typeface="Playfair Display"/>
              </a:rPr>
              <a:t>Stores</a:t>
            </a:r>
            <a:r>
              <a:rPr lang="es-ES" b="1" i="0" u="none" strike="noStrike" cap="none" dirty="0">
                <a:solidFill>
                  <a:schemeClr val="tx1"/>
                </a:solidFill>
                <a:latin typeface="Playfair Display"/>
                <a:ea typeface="Playfair Display"/>
                <a:cs typeface="Playfair Display"/>
                <a:sym typeface="Playfair Display"/>
              </a:rPr>
              <a:t> </a:t>
            </a:r>
            <a:r>
              <a:rPr lang="es-ES" b="1" i="0" u="none" strike="noStrike" cap="none" dirty="0" smtClean="0">
                <a:solidFill>
                  <a:schemeClr val="tx1"/>
                </a:solidFill>
                <a:latin typeface="Playfair Display"/>
                <a:ea typeface="Playfair Display"/>
                <a:cs typeface="Playfair Display"/>
                <a:sym typeface="Playfair Display"/>
              </a:rPr>
              <a:t>oficiales</a:t>
            </a:r>
            <a:r>
              <a:rPr lang="es-ES" dirty="0" smtClean="0">
                <a:solidFill>
                  <a:schemeClr val="tx1"/>
                </a:solidFill>
                <a:latin typeface="Playfair Display"/>
                <a:ea typeface="Playfair Display"/>
                <a:cs typeface="Playfair Display"/>
                <a:sym typeface="Playfair Display"/>
              </a:rPr>
              <a:t>. </a:t>
            </a:r>
          </a:p>
          <a:p>
            <a:pPr marL="228593" indent="-228593">
              <a:buSzPts val="1050"/>
              <a:buFont typeface="Noto Sans Symbols"/>
              <a:buChar char="✔"/>
            </a:pPr>
            <a:endParaRPr lang="es-ES" dirty="0">
              <a:solidFill>
                <a:schemeClr val="tx1"/>
              </a:solidFill>
              <a:latin typeface="Playfair Display"/>
              <a:ea typeface="Playfair Display"/>
              <a:cs typeface="Playfair Display"/>
              <a:sym typeface="Playfair Display"/>
            </a:endParaRPr>
          </a:p>
          <a:p>
            <a:pPr marL="228593" indent="-228593">
              <a:buSzPts val="1050"/>
              <a:buFont typeface="Noto Sans Symbols"/>
              <a:buChar char="✔"/>
            </a:pPr>
            <a:r>
              <a:rPr lang="es-ES" dirty="0" smtClean="0">
                <a:solidFill>
                  <a:schemeClr val="tx1"/>
                </a:solidFill>
                <a:latin typeface="Playfair Display"/>
                <a:ea typeface="Playfair Display"/>
                <a:cs typeface="Playfair Display"/>
                <a:sym typeface="Playfair Display"/>
              </a:rPr>
              <a:t>El </a:t>
            </a:r>
            <a:r>
              <a:rPr lang="es-ES" dirty="0">
                <a:solidFill>
                  <a:schemeClr val="tx1"/>
                </a:solidFill>
                <a:latin typeface="Playfair Display"/>
                <a:ea typeface="Playfair Display"/>
                <a:cs typeface="Playfair Display"/>
                <a:sym typeface="Playfair Display"/>
              </a:rPr>
              <a:t>desempeño de la solución está sujeto a las características de la </a:t>
            </a:r>
            <a:r>
              <a:rPr lang="es-ES" b="1" dirty="0">
                <a:solidFill>
                  <a:schemeClr val="tx1"/>
                </a:solidFill>
                <a:latin typeface="Playfair Display"/>
                <a:ea typeface="Playfair Display"/>
                <a:cs typeface="Playfair Display"/>
                <a:sym typeface="Playfair Display"/>
              </a:rPr>
              <a:t>SDK facilitada por Google y Apple</a:t>
            </a:r>
            <a:r>
              <a:rPr lang="es-ES" dirty="0">
                <a:solidFill>
                  <a:schemeClr val="tx1"/>
                </a:solidFill>
                <a:latin typeface="Playfair Display"/>
                <a:ea typeface="Playfair Display"/>
                <a:cs typeface="Playfair Display"/>
                <a:sym typeface="Playfair Display"/>
              </a:rPr>
              <a:t>.</a:t>
            </a:r>
            <a:endParaRPr lang="es-ES" dirty="0">
              <a:solidFill>
                <a:schemeClr val="tx1"/>
              </a:solidFill>
            </a:endParaRPr>
          </a:p>
          <a:p>
            <a:pPr marL="228593" marR="0" lvl="0" indent="-161918" algn="l" rtl="0">
              <a:lnSpc>
                <a:spcPct val="100000"/>
              </a:lnSpc>
              <a:spcBef>
                <a:spcPts val="0"/>
              </a:spcBef>
              <a:spcAft>
                <a:spcPts val="0"/>
              </a:spcAft>
              <a:buClr>
                <a:srgbClr val="000000"/>
              </a:buClr>
              <a:buSzPts val="1050"/>
              <a:buFont typeface="Noto Sans Symbols"/>
              <a:buNone/>
            </a:pPr>
            <a:endParaRPr b="0" i="0" u="none" strike="noStrike" cap="none" dirty="0">
              <a:solidFill>
                <a:srgbClr val="FF0000"/>
              </a:solidFill>
              <a:latin typeface="Playfair Display"/>
              <a:ea typeface="Playfair Display"/>
              <a:cs typeface="Playfair Display"/>
              <a:sym typeface="Playfair Display"/>
            </a:endParaRPr>
          </a:p>
          <a:p>
            <a:pPr marL="228593" lvl="0" indent="-228593">
              <a:buSzPts val="1050"/>
              <a:buFont typeface="Noto Sans Symbols"/>
              <a:buChar char="✔"/>
            </a:pPr>
            <a:r>
              <a:rPr lang="es-ES" b="0" i="0" u="none" strike="noStrike" cap="none" dirty="0" smtClean="0">
                <a:solidFill>
                  <a:schemeClr val="tx1"/>
                </a:solidFill>
                <a:latin typeface="Playfair Display"/>
                <a:ea typeface="Playfair Display"/>
                <a:cs typeface="Playfair Display"/>
                <a:sym typeface="Playfair Display"/>
              </a:rPr>
              <a:t>En el momento de puesta en Producción, los </a:t>
            </a:r>
            <a:r>
              <a:rPr lang="es-ES" b="1" i="0" u="none" strike="noStrike" cap="none" dirty="0" smtClean="0">
                <a:solidFill>
                  <a:schemeClr val="tx1"/>
                </a:solidFill>
                <a:latin typeface="Playfair Display"/>
                <a:ea typeface="Playfair Display"/>
                <a:cs typeface="Playfair Display"/>
                <a:sym typeface="Playfair Display"/>
              </a:rPr>
              <a:t>servicios serán </a:t>
            </a:r>
            <a:r>
              <a:rPr lang="es-ES" b="1" dirty="0" smtClean="0">
                <a:solidFill>
                  <a:schemeClr val="tx1"/>
                </a:solidFill>
                <a:latin typeface="Playfair Display"/>
                <a:ea typeface="Playfair Display"/>
                <a:cs typeface="Playfair Display"/>
                <a:sym typeface="Playfair Display"/>
              </a:rPr>
              <a:t>modulares </a:t>
            </a:r>
            <a:r>
              <a:rPr lang="es-ES" dirty="0" smtClean="0">
                <a:solidFill>
                  <a:schemeClr val="tx1"/>
                </a:solidFill>
                <a:latin typeface="Playfair Display"/>
                <a:ea typeface="Playfair Display"/>
                <a:cs typeface="Playfair Display"/>
                <a:sym typeface="Playfair Display"/>
              </a:rPr>
              <a:t>contratables de forma independiente. El </a:t>
            </a:r>
            <a:r>
              <a:rPr lang="es-ES" b="1" dirty="0" smtClean="0">
                <a:solidFill>
                  <a:schemeClr val="tx1"/>
                </a:solidFill>
                <a:latin typeface="Playfair Display"/>
                <a:ea typeface="Playfair Display"/>
                <a:cs typeface="Playfair Display"/>
                <a:sym typeface="Playfair Display"/>
              </a:rPr>
              <a:t>equipo de soporte se adecuará </a:t>
            </a:r>
            <a:r>
              <a:rPr lang="es-ES" dirty="0" smtClean="0">
                <a:solidFill>
                  <a:schemeClr val="tx1"/>
                </a:solidFill>
                <a:latin typeface="Playfair Display"/>
                <a:ea typeface="Playfair Display"/>
                <a:cs typeface="Playfair Display"/>
                <a:sym typeface="Playfair Display"/>
              </a:rPr>
              <a:t>al servicio que sea requerido; por lo tanto, el importe se ajustará al mismo. Adicionalmente, a </a:t>
            </a:r>
            <a:r>
              <a:rPr lang="es-ES" dirty="0">
                <a:solidFill>
                  <a:schemeClr val="tx1"/>
                </a:solidFill>
                <a:latin typeface="Playfair Display"/>
                <a:ea typeface="Playfair Display"/>
                <a:cs typeface="Playfair Display"/>
                <a:sym typeface="Playfair Display"/>
              </a:rPr>
              <a:t>los 2 meses se realizará una </a:t>
            </a:r>
            <a:r>
              <a:rPr lang="es-ES" b="1" dirty="0">
                <a:solidFill>
                  <a:schemeClr val="tx1"/>
                </a:solidFill>
                <a:latin typeface="Playfair Display"/>
                <a:ea typeface="Playfair Display"/>
                <a:cs typeface="Playfair Display"/>
                <a:sym typeface="Playfair Display"/>
              </a:rPr>
              <a:t>revisión del consumo de </a:t>
            </a:r>
            <a:r>
              <a:rPr lang="es-ES" b="1" dirty="0" smtClean="0">
                <a:solidFill>
                  <a:schemeClr val="tx1"/>
                </a:solidFill>
                <a:latin typeface="Playfair Display"/>
                <a:ea typeface="Playfair Display"/>
                <a:cs typeface="Playfair Display"/>
                <a:sym typeface="Playfair Display"/>
              </a:rPr>
              <a:t>infraestructura </a:t>
            </a:r>
            <a:r>
              <a:rPr lang="es-ES" b="1" i="1" dirty="0" err="1" smtClean="0">
                <a:solidFill>
                  <a:schemeClr val="tx1"/>
                </a:solidFill>
                <a:latin typeface="Playfair Display"/>
                <a:ea typeface="Playfair Display"/>
                <a:cs typeface="Playfair Display"/>
                <a:sym typeface="Playfair Display"/>
              </a:rPr>
              <a:t>cloud</a:t>
            </a:r>
            <a:r>
              <a:rPr lang="es-ES" b="1" dirty="0" smtClean="0">
                <a:solidFill>
                  <a:schemeClr val="tx1"/>
                </a:solidFill>
                <a:latin typeface="Playfair Display"/>
                <a:ea typeface="Playfair Display"/>
                <a:cs typeface="Playfair Display"/>
                <a:sym typeface="Playfair Display"/>
              </a:rPr>
              <a:t> </a:t>
            </a:r>
            <a:r>
              <a:rPr lang="es-ES" dirty="0">
                <a:solidFill>
                  <a:schemeClr val="tx1"/>
                </a:solidFill>
                <a:latin typeface="Playfair Display"/>
                <a:ea typeface="Playfair Display"/>
                <a:cs typeface="Playfair Display"/>
                <a:sym typeface="Playfair Display"/>
              </a:rPr>
              <a:t>para posible redimensionamiento y consiguiente revisión de la oferta</a:t>
            </a:r>
          </a:p>
          <a:p>
            <a:pPr marL="228593" marR="0" lvl="0" indent="-161918" algn="l" rtl="0">
              <a:lnSpc>
                <a:spcPct val="100000"/>
              </a:lnSpc>
              <a:spcBef>
                <a:spcPts val="0"/>
              </a:spcBef>
              <a:spcAft>
                <a:spcPts val="0"/>
              </a:spcAft>
              <a:buClr>
                <a:srgbClr val="000000"/>
              </a:buClr>
              <a:buSzPts val="1050"/>
              <a:buFont typeface="Noto Sans Symbols"/>
              <a:buNone/>
            </a:pPr>
            <a:endParaRPr b="0" i="0" u="none" strike="noStrike" cap="none" dirty="0">
              <a:solidFill>
                <a:srgbClr val="FF0000"/>
              </a:solidFill>
              <a:latin typeface="Playfair Display"/>
              <a:ea typeface="Playfair Display"/>
              <a:cs typeface="Playfair Display"/>
              <a:sym typeface="Playfair Display"/>
            </a:endParaRPr>
          </a:p>
          <a:p>
            <a:pPr marL="228593" marR="0" lvl="0" indent="-228593" algn="l" rtl="0">
              <a:lnSpc>
                <a:spcPct val="100000"/>
              </a:lnSpc>
              <a:spcBef>
                <a:spcPts val="0"/>
              </a:spcBef>
              <a:spcAft>
                <a:spcPts val="0"/>
              </a:spcAft>
              <a:buClr>
                <a:srgbClr val="000000"/>
              </a:buClr>
              <a:buSzPts val="1050"/>
              <a:buFont typeface="Noto Sans Symbols"/>
              <a:buChar char="✔"/>
            </a:pPr>
            <a:r>
              <a:rPr lang="es-ES" b="0" i="0" u="none" strike="noStrike" cap="none" dirty="0" smtClean="0">
                <a:solidFill>
                  <a:schemeClr val="tx1"/>
                </a:solidFill>
                <a:latin typeface="Playfair Display"/>
                <a:ea typeface="Playfair Display"/>
                <a:cs typeface="Playfair Display"/>
                <a:sym typeface="Playfair Display"/>
              </a:rPr>
              <a:t>Tras el análisis de la solución alemana de referencia, Corona </a:t>
            </a:r>
            <a:r>
              <a:rPr lang="es-ES" b="0" i="0" u="none" strike="noStrike" cap="none" dirty="0" err="1" smtClean="0">
                <a:solidFill>
                  <a:schemeClr val="tx1"/>
                </a:solidFill>
                <a:latin typeface="Playfair Display"/>
                <a:ea typeface="Playfair Display"/>
                <a:cs typeface="Playfair Display"/>
                <a:sym typeface="Playfair Display"/>
              </a:rPr>
              <a:t>Warn</a:t>
            </a:r>
            <a:r>
              <a:rPr lang="es-ES" b="0" i="0" u="none" strike="noStrike" cap="none" dirty="0" smtClean="0">
                <a:solidFill>
                  <a:schemeClr val="tx1"/>
                </a:solidFill>
                <a:latin typeface="Playfair Display"/>
                <a:ea typeface="Playfair Display"/>
                <a:cs typeface="Playfair Display"/>
                <a:sym typeface="Playfair Display"/>
              </a:rPr>
              <a:t> App, se valorarán las posibles variaciones en </a:t>
            </a:r>
            <a:r>
              <a:rPr lang="es-ES" b="1" i="0" u="none" strike="noStrike" cap="none" dirty="0" smtClean="0">
                <a:solidFill>
                  <a:schemeClr val="tx1"/>
                </a:solidFill>
                <a:latin typeface="Playfair Display"/>
                <a:ea typeface="Playfair Display"/>
                <a:cs typeface="Playfair Display"/>
                <a:sym typeface="Playfair Display"/>
              </a:rPr>
              <a:t>costes y plazos </a:t>
            </a:r>
            <a:r>
              <a:rPr lang="es-ES" b="0" i="0" u="none" strike="noStrike" cap="none" dirty="0" smtClean="0">
                <a:solidFill>
                  <a:schemeClr val="tx1"/>
                </a:solidFill>
                <a:latin typeface="Playfair Display"/>
                <a:ea typeface="Playfair Display"/>
                <a:cs typeface="Playfair Display"/>
                <a:sym typeface="Playfair Display"/>
              </a:rPr>
              <a:t>que </a:t>
            </a:r>
            <a:r>
              <a:rPr lang="es-ES" b="0" i="0" u="none" strike="noStrike" cap="none" dirty="0">
                <a:solidFill>
                  <a:schemeClr val="tx1"/>
                </a:solidFill>
                <a:latin typeface="Playfair Display"/>
                <a:ea typeface="Playfair Display"/>
                <a:cs typeface="Playfair Display"/>
                <a:sym typeface="Playfair Display"/>
              </a:rPr>
              <a:t>puedan derivarse </a:t>
            </a:r>
            <a:r>
              <a:rPr lang="es-ES" b="0" i="0" u="none" strike="noStrike" cap="none" dirty="0" smtClean="0">
                <a:solidFill>
                  <a:schemeClr val="tx1"/>
                </a:solidFill>
                <a:latin typeface="Playfair Display"/>
                <a:ea typeface="Playfair Display"/>
                <a:cs typeface="Playfair Display"/>
                <a:sym typeface="Playfair Display"/>
              </a:rPr>
              <a:t>de desarrollos necesarios para adaptarse a este estándar; dichas variaciones deberán ser aprobadas y asumidas por ambas partes como evolutivo del MVP</a:t>
            </a:r>
            <a:endParaRPr dirty="0">
              <a:solidFill>
                <a:schemeClr val="tx1"/>
              </a:solidFill>
            </a:endParaRPr>
          </a:p>
          <a:p>
            <a:pPr marL="228593" marR="0" lvl="0" indent="-161918" algn="l" rtl="0">
              <a:lnSpc>
                <a:spcPct val="100000"/>
              </a:lnSpc>
              <a:spcBef>
                <a:spcPts val="0"/>
              </a:spcBef>
              <a:spcAft>
                <a:spcPts val="0"/>
              </a:spcAft>
              <a:buClr>
                <a:srgbClr val="000000"/>
              </a:buClr>
              <a:buSzPts val="1050"/>
              <a:buFont typeface="Noto Sans Symbols"/>
              <a:buNone/>
            </a:pPr>
            <a:endParaRPr b="0" i="0" u="none" strike="noStrike" cap="none" dirty="0">
              <a:solidFill>
                <a:srgbClr val="FF0000"/>
              </a:solidFill>
              <a:latin typeface="Playfair Display"/>
              <a:ea typeface="Playfair Display"/>
              <a:cs typeface="Playfair Display"/>
              <a:sym typeface="Playfair Display"/>
            </a:endParaRPr>
          </a:p>
          <a:p>
            <a:pPr marL="228593" marR="0" lvl="0" indent="-228593" algn="l" rtl="0">
              <a:lnSpc>
                <a:spcPct val="100000"/>
              </a:lnSpc>
              <a:spcBef>
                <a:spcPts val="0"/>
              </a:spcBef>
              <a:spcAft>
                <a:spcPts val="0"/>
              </a:spcAft>
              <a:buClr>
                <a:srgbClr val="000000"/>
              </a:buClr>
              <a:buSzPts val="1050"/>
              <a:buFont typeface="Noto Sans Symbols"/>
              <a:buChar char="✔"/>
            </a:pPr>
            <a:r>
              <a:rPr lang="es-ES" b="0" i="0" u="none" strike="noStrike" cap="none" dirty="0">
                <a:solidFill>
                  <a:schemeClr val="tx1"/>
                </a:solidFill>
                <a:latin typeface="Playfair Display"/>
                <a:ea typeface="Playfair Display"/>
                <a:cs typeface="Playfair Display"/>
                <a:sym typeface="Playfair Display"/>
              </a:rPr>
              <a:t>La puesta en producción e inicio del </a:t>
            </a:r>
            <a:r>
              <a:rPr lang="es-ES" b="1" i="0" u="none" strike="noStrike" cap="none" dirty="0">
                <a:solidFill>
                  <a:schemeClr val="tx1"/>
                </a:solidFill>
                <a:latin typeface="Playfair Display"/>
                <a:ea typeface="Playfair Display"/>
                <a:cs typeface="Playfair Display"/>
                <a:sym typeface="Playfair Display"/>
              </a:rPr>
              <a:t>piloto estará supeditada </a:t>
            </a:r>
            <a:r>
              <a:rPr lang="es-ES" b="1" i="0" u="none" strike="noStrike" cap="none" dirty="0" smtClean="0">
                <a:solidFill>
                  <a:schemeClr val="tx1"/>
                </a:solidFill>
                <a:latin typeface="Playfair Display"/>
                <a:ea typeface="Playfair Display"/>
                <a:cs typeface="Playfair Display"/>
                <a:sym typeface="Playfair Display"/>
              </a:rPr>
              <a:t>a:</a:t>
            </a:r>
          </a:p>
          <a:p>
            <a:pPr marL="447675" lvl="2" indent="-227013">
              <a:buSzPts val="1050"/>
              <a:buFont typeface="Arial" panose="020B0604020202020204" pitchFamily="34" charset="0"/>
              <a:buChar char="•"/>
            </a:pPr>
            <a:r>
              <a:rPr lang="es-ES" i="0" u="none" strike="noStrike" cap="none" dirty="0" smtClean="0">
                <a:solidFill>
                  <a:schemeClr val="tx1"/>
                </a:solidFill>
                <a:latin typeface="Playfair Display"/>
                <a:ea typeface="Playfair Display"/>
                <a:cs typeface="Playfair Display"/>
                <a:sym typeface="Playfair Display"/>
              </a:rPr>
              <a:t>Resultado del </a:t>
            </a:r>
            <a:r>
              <a:rPr lang="es-ES" b="1" i="0" u="none" strike="noStrike" cap="none" dirty="0" smtClean="0">
                <a:solidFill>
                  <a:schemeClr val="tx1"/>
                </a:solidFill>
                <a:latin typeface="Playfair Display"/>
                <a:ea typeface="Playfair Display"/>
                <a:cs typeface="Playfair Display"/>
                <a:sym typeface="Playfair Display"/>
              </a:rPr>
              <a:t>testeo </a:t>
            </a:r>
          </a:p>
          <a:p>
            <a:pPr marL="447675" lvl="2" indent="-227013">
              <a:buSzPts val="1050"/>
              <a:buFont typeface="Arial" panose="020B0604020202020204" pitchFamily="34" charset="0"/>
              <a:buChar char="•"/>
            </a:pPr>
            <a:r>
              <a:rPr lang="es-ES" i="0" u="none" strike="noStrike" cap="none" dirty="0" smtClean="0">
                <a:solidFill>
                  <a:schemeClr val="tx1"/>
                </a:solidFill>
                <a:latin typeface="Playfair Display"/>
                <a:ea typeface="Playfair Display"/>
                <a:cs typeface="Playfair Display"/>
                <a:sym typeface="Playfair Display"/>
              </a:rPr>
              <a:t>Resultado de </a:t>
            </a:r>
            <a:r>
              <a:rPr lang="es-ES" i="0" u="none" strike="noStrike" cap="none" dirty="0">
                <a:solidFill>
                  <a:schemeClr val="tx1"/>
                </a:solidFill>
                <a:latin typeface="Playfair Display"/>
                <a:ea typeface="Playfair Display"/>
                <a:cs typeface="Playfair Display"/>
                <a:sym typeface="Playfair Display"/>
              </a:rPr>
              <a:t>la </a:t>
            </a:r>
            <a:r>
              <a:rPr lang="es-ES" b="1" i="0" u="none" strike="noStrike" cap="none" dirty="0">
                <a:solidFill>
                  <a:schemeClr val="tx1"/>
                </a:solidFill>
                <a:latin typeface="Playfair Display"/>
                <a:ea typeface="Playfair Display"/>
                <a:cs typeface="Playfair Display"/>
                <a:sym typeface="Playfair Display"/>
              </a:rPr>
              <a:t>auditoría de seguridad </a:t>
            </a:r>
            <a:r>
              <a:rPr lang="es-ES" b="0" i="0" u="none" strike="noStrike" cap="none" dirty="0">
                <a:solidFill>
                  <a:schemeClr val="tx1"/>
                </a:solidFill>
                <a:latin typeface="Playfair Display"/>
                <a:ea typeface="Playfair Display"/>
                <a:cs typeface="Playfair Display"/>
                <a:sym typeface="Playfair Display"/>
              </a:rPr>
              <a:t>y seguimiento de sus recomendaciones</a:t>
            </a:r>
            <a:r>
              <a:rPr lang="es-ES" b="0" i="0" u="none" strike="noStrike" cap="none" dirty="0" smtClean="0">
                <a:solidFill>
                  <a:schemeClr val="tx1"/>
                </a:solidFill>
                <a:latin typeface="Playfair Display"/>
                <a:ea typeface="Playfair Display"/>
                <a:cs typeface="Playfair Display"/>
                <a:sym typeface="Playfair Display"/>
              </a:rPr>
              <a:t>.</a:t>
            </a:r>
            <a:endParaRPr b="0" i="0" u="none" strike="noStrike" cap="none" dirty="0">
              <a:solidFill>
                <a:srgbClr val="FF0000"/>
              </a:solidFill>
              <a:latin typeface="Playfair Display"/>
              <a:ea typeface="Playfair Display"/>
              <a:cs typeface="Playfair Display"/>
              <a:sym typeface="Playfair Display"/>
            </a:endParaRPr>
          </a:p>
        </p:txBody>
      </p:sp>
      <p:sp>
        <p:nvSpPr>
          <p:cNvPr id="644" name="Google Shape;644;g8055afce9b_0_885"/>
          <p:cNvSpPr txBox="1"/>
          <p:nvPr/>
        </p:nvSpPr>
        <p:spPr>
          <a:xfrm>
            <a:off x="263352" y="1124744"/>
            <a:ext cx="4752600" cy="584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s-ES" sz="1600" b="0" i="0" u="none" strike="noStrike" cap="none">
                <a:solidFill>
                  <a:srgbClr val="000000"/>
                </a:solidFill>
                <a:latin typeface="Playfair Display"/>
                <a:ea typeface="Playfair Display"/>
                <a:cs typeface="Playfair Display"/>
                <a:sym typeface="Playfair Display"/>
              </a:rPr>
              <a:t>Requisitos por parte de Gobierno de España para la puesta en marcha y prestación del servicio:</a:t>
            </a:r>
            <a:endParaRPr/>
          </a:p>
        </p:txBody>
      </p:sp>
      <p:sp>
        <p:nvSpPr>
          <p:cNvPr id="645" name="Google Shape;645;g8055afce9b_0_885"/>
          <p:cNvSpPr txBox="1">
            <a:spLocks noGrp="1"/>
          </p:cNvSpPr>
          <p:nvPr>
            <p:ph type="title"/>
          </p:nvPr>
        </p:nvSpPr>
        <p:spPr>
          <a:xfrm>
            <a:off x="336001" y="649096"/>
            <a:ext cx="4810500" cy="472500"/>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None/>
            </a:pPr>
            <a:r>
              <a:rPr lang="es-ES"/>
              <a:t>Premisas</a:t>
            </a:r>
            <a:endParaRPr/>
          </a:p>
        </p:txBody>
      </p:sp>
      <p:sp>
        <p:nvSpPr>
          <p:cNvPr id="646" name="Google Shape;646;g8055afce9b_0_885"/>
          <p:cNvSpPr txBox="1">
            <a:spLocks noGrp="1"/>
          </p:cNvSpPr>
          <p:nvPr>
            <p:ph type="body" idx="1"/>
          </p:nvPr>
        </p:nvSpPr>
        <p:spPr>
          <a:xfrm>
            <a:off x="336000" y="356999"/>
            <a:ext cx="4957800" cy="280800"/>
          </a:xfrm>
          <a:prstGeom prst="rect">
            <a:avLst/>
          </a:prstGeom>
          <a:noFill/>
          <a:ln>
            <a:noFill/>
          </a:ln>
        </p:spPr>
        <p:txBody>
          <a:bodyPr spcFirstLastPara="1" wrap="square" lIns="0" tIns="45700" rIns="91425" bIns="45700" anchor="t" anchorCtr="0">
            <a:noAutofit/>
          </a:bodyPr>
          <a:lstStyle/>
          <a:p>
            <a:pPr marL="0" lvl="0" indent="0" algn="l" rtl="0">
              <a:lnSpc>
                <a:spcPct val="100000"/>
              </a:lnSpc>
              <a:spcBef>
                <a:spcPts val="0"/>
              </a:spcBef>
              <a:spcAft>
                <a:spcPts val="0"/>
              </a:spcAft>
              <a:buSzPts val="1400"/>
              <a:buNone/>
            </a:pPr>
            <a:r>
              <a:rPr lang="es-ES" sz="1400">
                <a:solidFill>
                  <a:schemeClr val="dk1"/>
                </a:solidFill>
                <a:latin typeface="Arial"/>
                <a:ea typeface="Arial"/>
                <a:cs typeface="Arial"/>
                <a:sym typeface="Arial"/>
              </a:rPr>
              <a:t>5. Propuesta económica</a:t>
            </a:r>
            <a:endParaRPr sz="1400">
              <a:solidFill>
                <a:schemeClr val="dk1"/>
              </a:solidFill>
              <a:latin typeface="Arial"/>
              <a:ea typeface="Arial"/>
              <a:cs typeface="Arial"/>
              <a:sym typeface="Aria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689"/>
        <p:cNvGrpSpPr/>
        <p:nvPr/>
      </p:nvGrpSpPr>
      <p:grpSpPr>
        <a:xfrm>
          <a:off x="0" y="0"/>
          <a:ext cx="0" cy="0"/>
          <a:chOff x="0" y="0"/>
          <a:chExt cx="0" cy="0"/>
        </a:xfrm>
      </p:grpSpPr>
      <p:sp>
        <p:nvSpPr>
          <p:cNvPr id="690" name="Google Shape;690;g7826bb8c5e_0_1837"/>
          <p:cNvSpPr/>
          <p:nvPr/>
        </p:nvSpPr>
        <p:spPr>
          <a:xfrm>
            <a:off x="-95575" y="-71675"/>
            <a:ext cx="12664500" cy="6929700"/>
          </a:xfrm>
          <a:prstGeom prst="rect">
            <a:avLst/>
          </a:prstGeom>
          <a:solidFill>
            <a:srgbClr val="79C5B3"/>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1" name="Google Shape;691;g7826bb8c5e_0_1837"/>
          <p:cNvSpPr txBox="1"/>
          <p:nvPr/>
        </p:nvSpPr>
        <p:spPr>
          <a:xfrm>
            <a:off x="527373" y="2244475"/>
            <a:ext cx="4944600" cy="202170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FFFFFF"/>
              </a:buClr>
              <a:buSzPts val="10666"/>
              <a:buFont typeface="Arial"/>
              <a:buNone/>
            </a:pPr>
            <a:r>
              <a:rPr lang="es-ES" sz="10666">
                <a:solidFill>
                  <a:srgbClr val="FFFFFF"/>
                </a:solidFill>
                <a:latin typeface="Playfair Display"/>
                <a:ea typeface="Playfair Display"/>
                <a:cs typeface="Playfair Display"/>
                <a:sym typeface="Playfair Display"/>
              </a:rPr>
              <a:t>Anexo</a:t>
            </a:r>
            <a:endParaRPr sz="1400" b="0" i="0" u="none" strike="noStrike" cap="none">
              <a:solidFill>
                <a:srgbClr val="000000"/>
              </a:solidFill>
              <a:latin typeface="Arial"/>
              <a:ea typeface="Arial"/>
              <a:cs typeface="Arial"/>
              <a:sym typeface="Arial"/>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696"/>
        <p:cNvGrpSpPr/>
        <p:nvPr/>
      </p:nvGrpSpPr>
      <p:grpSpPr>
        <a:xfrm>
          <a:off x="0" y="0"/>
          <a:ext cx="0" cy="0"/>
          <a:chOff x="0" y="0"/>
          <a:chExt cx="0" cy="0"/>
        </a:xfrm>
      </p:grpSpPr>
      <p:pic>
        <p:nvPicPr>
          <p:cNvPr id="697" name="Google Shape;697;g8055afce9b_0_222"/>
          <p:cNvPicPr preferRelativeResize="0"/>
          <p:nvPr/>
        </p:nvPicPr>
        <p:blipFill rotWithShape="1">
          <a:blip r:embed="rId3">
            <a:alphaModFix/>
          </a:blip>
          <a:srcRect/>
          <a:stretch/>
        </p:blipFill>
        <p:spPr>
          <a:xfrm>
            <a:off x="0" y="0"/>
            <a:ext cx="12192000" cy="6857999"/>
          </a:xfrm>
          <a:prstGeom prst="rect">
            <a:avLst/>
          </a:prstGeom>
          <a:noFill/>
          <a:ln>
            <a:noFill/>
          </a:ln>
        </p:spPr>
      </p:pic>
      <p:sp>
        <p:nvSpPr>
          <p:cNvPr id="698" name="Google Shape;698;g8055afce9b_0_222"/>
          <p:cNvSpPr/>
          <p:nvPr/>
        </p:nvSpPr>
        <p:spPr>
          <a:xfrm flipH="1">
            <a:off x="7340520" y="3014134"/>
            <a:ext cx="5042573" cy="6889623"/>
          </a:xfrm>
          <a:custGeom>
            <a:avLst/>
            <a:gdLst/>
            <a:ahLst/>
            <a:cxnLst/>
            <a:rect l="l" t="t" r="r" b="b"/>
            <a:pathLst>
              <a:path w="3589020" h="5151120" extrusionOk="0">
                <a:moveTo>
                  <a:pt x="15240" y="5090160"/>
                </a:moveTo>
                <a:lnTo>
                  <a:pt x="15240" y="1021080"/>
                </a:lnTo>
                <a:lnTo>
                  <a:pt x="3589020" y="0"/>
                </a:lnTo>
                <a:lnTo>
                  <a:pt x="3589020" y="5151120"/>
                </a:lnTo>
                <a:lnTo>
                  <a:pt x="0" y="5151120"/>
                </a:lnTo>
                <a:lnTo>
                  <a:pt x="15240" y="5090160"/>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Arial"/>
              <a:ea typeface="Arial"/>
              <a:cs typeface="Arial"/>
              <a:sym typeface="Arial"/>
            </a:endParaRPr>
          </a:p>
        </p:txBody>
      </p:sp>
      <p:sp>
        <p:nvSpPr>
          <p:cNvPr id="699" name="Google Shape;699;g8055afce9b_0_222"/>
          <p:cNvSpPr/>
          <p:nvPr/>
        </p:nvSpPr>
        <p:spPr>
          <a:xfrm flipH="1">
            <a:off x="-115904" y="1576735"/>
            <a:ext cx="11926904" cy="8063624"/>
          </a:xfrm>
          <a:custGeom>
            <a:avLst/>
            <a:gdLst/>
            <a:ahLst/>
            <a:cxnLst/>
            <a:rect l="l" t="t" r="r" b="b"/>
            <a:pathLst>
              <a:path w="11069052" h="7483642" extrusionOk="0">
                <a:moveTo>
                  <a:pt x="0" y="3176337"/>
                </a:moveTo>
                <a:lnTo>
                  <a:pt x="11069052" y="0"/>
                </a:lnTo>
                <a:lnTo>
                  <a:pt x="11069052" y="7483642"/>
                </a:lnTo>
                <a:lnTo>
                  <a:pt x="10804358" y="7483642"/>
                </a:lnTo>
                <a:lnTo>
                  <a:pt x="0" y="7483642"/>
                </a:lnTo>
                <a:lnTo>
                  <a:pt x="0" y="3176337"/>
                </a:lnTo>
                <a:close/>
              </a:path>
            </a:pathLst>
          </a:cu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Arial"/>
              <a:ea typeface="Arial"/>
              <a:cs typeface="Arial"/>
              <a:sym typeface="Arial"/>
            </a:endParaRPr>
          </a:p>
        </p:txBody>
      </p:sp>
      <p:sp>
        <p:nvSpPr>
          <p:cNvPr id="700" name="Google Shape;700;g8055afce9b_0_222"/>
          <p:cNvSpPr txBox="1"/>
          <p:nvPr/>
        </p:nvSpPr>
        <p:spPr>
          <a:xfrm>
            <a:off x="613126" y="3834300"/>
            <a:ext cx="5482800" cy="485700"/>
          </a:xfrm>
          <a:prstGeom prst="rect">
            <a:avLst/>
          </a:prstGeom>
          <a:noFill/>
          <a:ln>
            <a:noFill/>
          </a:ln>
        </p:spPr>
        <p:txBody>
          <a:bodyPr spcFirstLastPara="1" wrap="square" lIns="121900" tIns="60950" rIns="121900" bIns="60950" anchor="t" anchorCtr="0">
            <a:noAutofit/>
          </a:bodyPr>
          <a:lstStyle/>
          <a:p>
            <a:pPr marL="0" marR="0" lvl="0" indent="0" algn="l" rtl="0">
              <a:lnSpc>
                <a:spcPct val="80000"/>
              </a:lnSpc>
              <a:spcBef>
                <a:spcPts val="0"/>
              </a:spcBef>
              <a:spcAft>
                <a:spcPts val="0"/>
              </a:spcAft>
              <a:buClr>
                <a:srgbClr val="000000"/>
              </a:buClr>
              <a:buSzPts val="3733"/>
              <a:buFont typeface="Arial"/>
              <a:buNone/>
            </a:pPr>
            <a:r>
              <a:rPr lang="es-ES" sz="3733" b="0" i="0" u="none" strike="noStrike" cap="none">
                <a:solidFill>
                  <a:srgbClr val="FFFFFF"/>
                </a:solidFill>
                <a:latin typeface="Playfair Display"/>
                <a:ea typeface="Playfair Display"/>
                <a:cs typeface="Playfair Display"/>
                <a:sym typeface="Playfair Display"/>
              </a:rPr>
              <a:t>Alcance y enfoque del trabajo propuesto</a:t>
            </a:r>
            <a:endParaRPr sz="1400" b="0" i="0" u="none" strike="noStrike" cap="none">
              <a:solidFill>
                <a:srgbClr val="000000"/>
              </a:solidFill>
              <a:latin typeface="Arial"/>
              <a:ea typeface="Arial"/>
              <a:cs typeface="Arial"/>
              <a:sym typeface="Arial"/>
            </a:endParaRPr>
          </a:p>
        </p:txBody>
      </p:sp>
      <p:sp>
        <p:nvSpPr>
          <p:cNvPr id="701" name="Google Shape;701;g8055afce9b_0_222"/>
          <p:cNvSpPr/>
          <p:nvPr/>
        </p:nvSpPr>
        <p:spPr>
          <a:xfrm>
            <a:off x="636125" y="4536315"/>
            <a:ext cx="5587800" cy="412500"/>
          </a:xfrm>
          <a:prstGeom prst="rect">
            <a:avLst/>
          </a:prstGeom>
          <a:noFill/>
          <a:ln>
            <a:noFill/>
          </a:ln>
        </p:spPr>
        <p:txBody>
          <a:bodyPr spcFirstLastPara="1" wrap="square" lIns="91425" tIns="45700" rIns="91425" bIns="45700" anchor="t" anchorCtr="0">
            <a:noAutofit/>
          </a:bodyPr>
          <a:lstStyle/>
          <a:p>
            <a:pPr marL="0" marR="0" lvl="0" indent="0" algn="l" rtl="0">
              <a:lnSpc>
                <a:spcPct val="130000"/>
              </a:lnSpc>
              <a:spcBef>
                <a:spcPts val="0"/>
              </a:spcBef>
              <a:spcAft>
                <a:spcPts val="0"/>
              </a:spcAft>
              <a:buClr>
                <a:srgbClr val="000000"/>
              </a:buClr>
              <a:buSzPts val="1600"/>
              <a:buFont typeface="Arial"/>
              <a:buNone/>
            </a:pPr>
            <a:r>
              <a:rPr lang="es-ES" sz="1600" b="0" i="0" u="none" strike="noStrike" cap="none">
                <a:solidFill>
                  <a:srgbClr val="FFFFFF"/>
                </a:solidFill>
                <a:latin typeface="Arial"/>
                <a:ea typeface="Arial"/>
                <a:cs typeface="Arial"/>
                <a:sym typeface="Arial"/>
              </a:rPr>
              <a:t>___</a:t>
            </a:r>
            <a:endParaRPr sz="1400" b="0" i="0" u="none" strike="noStrike" cap="none">
              <a:solidFill>
                <a:srgbClr val="000000"/>
              </a:solidFill>
              <a:latin typeface="Arial"/>
              <a:ea typeface="Arial"/>
              <a:cs typeface="Arial"/>
              <a:sym typeface="Arial"/>
            </a:endParaRPr>
          </a:p>
        </p:txBody>
      </p:sp>
      <p:sp>
        <p:nvSpPr>
          <p:cNvPr id="702" name="Google Shape;702;g8055afce9b_0_222"/>
          <p:cNvSpPr txBox="1"/>
          <p:nvPr/>
        </p:nvSpPr>
        <p:spPr>
          <a:xfrm>
            <a:off x="527382" y="2244463"/>
            <a:ext cx="3734700" cy="202170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FFFFFF"/>
              </a:buClr>
              <a:buSzPts val="10666"/>
              <a:buFont typeface="Arial"/>
              <a:buNone/>
            </a:pPr>
            <a:r>
              <a:rPr lang="es-ES" sz="10666">
                <a:solidFill>
                  <a:srgbClr val="FFFFFF"/>
                </a:solidFill>
                <a:latin typeface="Playfair Display"/>
                <a:ea typeface="Playfair Display"/>
                <a:cs typeface="Playfair Display"/>
                <a:sym typeface="Playfair Display"/>
              </a:rPr>
              <a:t>a</a:t>
            </a:r>
            <a:endParaRPr sz="1400" b="0" i="0" u="none" strike="noStrike" cap="none">
              <a:solidFill>
                <a:srgbClr val="000000"/>
              </a:solidFill>
              <a:latin typeface="Arial"/>
              <a:ea typeface="Arial"/>
              <a:cs typeface="Arial"/>
              <a:sym typeface="Arial"/>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706"/>
        <p:cNvGrpSpPr/>
        <p:nvPr/>
      </p:nvGrpSpPr>
      <p:grpSpPr>
        <a:xfrm>
          <a:off x="0" y="0"/>
          <a:ext cx="0" cy="0"/>
          <a:chOff x="0" y="0"/>
          <a:chExt cx="0" cy="0"/>
        </a:xfrm>
      </p:grpSpPr>
      <p:sp>
        <p:nvSpPr>
          <p:cNvPr id="2" name="Marcador de texto 1"/>
          <p:cNvSpPr>
            <a:spLocks noGrp="1"/>
          </p:cNvSpPr>
          <p:nvPr>
            <p:ph type="body" idx="1"/>
          </p:nvPr>
        </p:nvSpPr>
        <p:spPr/>
        <p:txBody>
          <a:bodyPr/>
          <a:lstStyle/>
          <a:p>
            <a:endParaRPr lang="es-ES"/>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742"/>
        <p:cNvGrpSpPr/>
        <p:nvPr/>
      </p:nvGrpSpPr>
      <p:grpSpPr>
        <a:xfrm>
          <a:off x="0" y="0"/>
          <a:ext cx="0" cy="0"/>
          <a:chOff x="0" y="0"/>
          <a:chExt cx="0" cy="0"/>
        </a:xfrm>
      </p:grpSpPr>
      <p:sp>
        <p:nvSpPr>
          <p:cNvPr id="2" name="Marcador de texto 1"/>
          <p:cNvSpPr>
            <a:spLocks noGrp="1"/>
          </p:cNvSpPr>
          <p:nvPr>
            <p:ph type="body" idx="1"/>
          </p:nvPr>
        </p:nvSpPr>
        <p:spPr/>
        <p:txBody>
          <a:bodyPr/>
          <a:lstStyle/>
          <a:p>
            <a:endParaRPr lang="es-ES"/>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382"/>
        <p:cNvGrpSpPr/>
        <p:nvPr/>
      </p:nvGrpSpPr>
      <p:grpSpPr>
        <a:xfrm>
          <a:off x="0" y="0"/>
          <a:ext cx="0" cy="0"/>
          <a:chOff x="0" y="0"/>
          <a:chExt cx="0" cy="0"/>
        </a:xfrm>
      </p:grpSpPr>
      <p:sp>
        <p:nvSpPr>
          <p:cNvPr id="383" name="Google Shape;383;g8055afce9b_0_345"/>
          <p:cNvSpPr txBox="1"/>
          <p:nvPr/>
        </p:nvSpPr>
        <p:spPr>
          <a:xfrm>
            <a:off x="335998" y="649092"/>
            <a:ext cx="11232600" cy="7221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2400"/>
              <a:buFont typeface="Playfair Display"/>
              <a:buNone/>
            </a:pPr>
            <a:endParaRPr sz="2400" b="0" i="0" u="none" strike="noStrike" cap="none">
              <a:solidFill>
                <a:schemeClr val="dk1"/>
              </a:solidFill>
              <a:latin typeface="Playfair Display"/>
              <a:ea typeface="Playfair Display"/>
              <a:cs typeface="Playfair Display"/>
              <a:sym typeface="Playfair Display"/>
            </a:endParaRPr>
          </a:p>
        </p:txBody>
      </p:sp>
      <p:sp>
        <p:nvSpPr>
          <p:cNvPr id="384" name="Google Shape;384;g8055afce9b_0_345"/>
          <p:cNvSpPr txBox="1">
            <a:spLocks noGrp="1"/>
          </p:cNvSpPr>
          <p:nvPr>
            <p:ph type="body" idx="1"/>
          </p:nvPr>
        </p:nvSpPr>
        <p:spPr>
          <a:xfrm>
            <a:off x="336000" y="357000"/>
            <a:ext cx="11519400" cy="251400"/>
          </a:xfrm>
          <a:prstGeom prst="rect">
            <a:avLst/>
          </a:prstGeom>
          <a:noFill/>
          <a:ln>
            <a:noFill/>
          </a:ln>
        </p:spPr>
        <p:txBody>
          <a:bodyPr spcFirstLastPara="1" wrap="square" lIns="0" tIns="45700" rIns="91425" bIns="45700" anchor="t" anchorCtr="0">
            <a:noAutofit/>
          </a:bodyPr>
          <a:lstStyle/>
          <a:p>
            <a:pPr marL="0" lvl="0" indent="0" algn="l" rtl="0">
              <a:lnSpc>
                <a:spcPct val="90000"/>
              </a:lnSpc>
              <a:spcBef>
                <a:spcPts val="0"/>
              </a:spcBef>
              <a:spcAft>
                <a:spcPts val="0"/>
              </a:spcAft>
              <a:buClr>
                <a:srgbClr val="1A3B47"/>
              </a:buClr>
              <a:buSzPts val="1400"/>
              <a:buNone/>
            </a:pPr>
            <a:r>
              <a:rPr lang="en-US" sz="1400" dirty="0" smtClean="0">
                <a:latin typeface="Playfair Display"/>
                <a:ea typeface="Playfair Display"/>
                <a:cs typeface="Playfair Display"/>
                <a:sym typeface="Playfair Display"/>
              </a:rPr>
              <a:t>Covid-19 app - </a:t>
            </a:r>
            <a:r>
              <a:rPr lang="en-US" sz="1400" dirty="0" err="1" smtClean="0">
                <a:latin typeface="Playfair Display"/>
                <a:ea typeface="Playfair Display"/>
                <a:cs typeface="Playfair Display"/>
                <a:sym typeface="Playfair Display"/>
              </a:rPr>
              <a:t>Piloto</a:t>
            </a:r>
            <a:r>
              <a:rPr lang="en-US" sz="1400" dirty="0" smtClean="0">
                <a:latin typeface="Playfair Display"/>
                <a:ea typeface="Playfair Display"/>
                <a:cs typeface="Playfair Display"/>
                <a:sym typeface="Playfair Display"/>
              </a:rPr>
              <a:t> App Contact Tracing Covid-19 </a:t>
            </a:r>
            <a:endParaRPr dirty="0"/>
          </a:p>
        </p:txBody>
      </p:sp>
      <p:sp>
        <p:nvSpPr>
          <p:cNvPr id="385" name="Google Shape;385;g8055afce9b_0_345"/>
          <p:cNvSpPr txBox="1"/>
          <p:nvPr/>
        </p:nvSpPr>
        <p:spPr>
          <a:xfrm>
            <a:off x="467950" y="1786000"/>
            <a:ext cx="10827600" cy="3719400"/>
          </a:xfrm>
          <a:prstGeom prst="rect">
            <a:avLst/>
          </a:prstGeom>
          <a:noFill/>
          <a:ln>
            <a:noFill/>
          </a:ln>
        </p:spPr>
        <p:txBody>
          <a:bodyPr spcFirstLastPara="1" wrap="square" lIns="91425" tIns="91425" rIns="91425" bIns="91425" anchor="t" anchorCtr="0">
            <a:noAutofit/>
          </a:bodyPr>
          <a:lstStyle/>
          <a:p>
            <a:pPr marL="457200" marR="0" lvl="0" indent="-336550" algn="l" rtl="0">
              <a:lnSpc>
                <a:spcPct val="115000"/>
              </a:lnSpc>
              <a:spcBef>
                <a:spcPts val="1200"/>
              </a:spcBef>
              <a:spcAft>
                <a:spcPts val="0"/>
              </a:spcAft>
              <a:buClr>
                <a:srgbClr val="000000"/>
              </a:buClr>
              <a:buSzPts val="1700"/>
              <a:buFont typeface="Arial"/>
              <a:buChar char="●"/>
            </a:pPr>
            <a:r>
              <a:rPr lang="es-ES" sz="1700" b="0" i="0" u="none" strike="noStrike" cap="none">
                <a:solidFill>
                  <a:srgbClr val="000000"/>
                </a:solidFill>
                <a:latin typeface="Arial"/>
                <a:ea typeface="Arial"/>
                <a:cs typeface="Arial"/>
                <a:sym typeface="Arial"/>
              </a:rPr>
              <a:t>Presentar un posible </a:t>
            </a:r>
            <a:r>
              <a:rPr lang="es-ES" sz="1700" b="1" i="0" u="none" strike="noStrike" cap="none">
                <a:solidFill>
                  <a:srgbClr val="000000"/>
                </a:solidFill>
                <a:latin typeface="Arial"/>
                <a:ea typeface="Arial"/>
                <a:cs typeface="Arial"/>
                <a:sym typeface="Arial"/>
              </a:rPr>
              <a:t>enfoque de colaboración </a:t>
            </a:r>
            <a:r>
              <a:rPr lang="es-ES" sz="1700" b="0" i="0" u="none" strike="noStrike" cap="none">
                <a:solidFill>
                  <a:srgbClr val="000000"/>
                </a:solidFill>
                <a:latin typeface="Arial"/>
                <a:ea typeface="Arial"/>
                <a:cs typeface="Arial"/>
                <a:sym typeface="Arial"/>
              </a:rPr>
              <a:t>con la Administración para gestionar la crisis sanitaria causada por el Covid-19 mediante una aplicación de </a:t>
            </a:r>
            <a:r>
              <a:rPr lang="es-ES" sz="1700" b="0" i="1" u="none" strike="noStrike" cap="none">
                <a:solidFill>
                  <a:srgbClr val="000000"/>
                </a:solidFill>
                <a:latin typeface="Arial"/>
                <a:ea typeface="Arial"/>
                <a:cs typeface="Arial"/>
                <a:sym typeface="Arial"/>
              </a:rPr>
              <a:t>contact tracing</a:t>
            </a:r>
            <a:r>
              <a:rPr lang="es-ES" sz="1700" b="0" i="0" u="none" strike="noStrike" cap="none">
                <a:solidFill>
                  <a:srgbClr val="000000"/>
                </a:solidFill>
                <a:latin typeface="Arial"/>
                <a:ea typeface="Arial"/>
                <a:cs typeface="Arial"/>
                <a:sym typeface="Arial"/>
              </a:rPr>
              <a:t> que:</a:t>
            </a:r>
            <a:endParaRPr sz="1700" b="0" i="0" u="none" strike="noStrike" cap="none">
              <a:solidFill>
                <a:srgbClr val="000000"/>
              </a:solidFill>
              <a:latin typeface="Arial"/>
              <a:ea typeface="Arial"/>
              <a:cs typeface="Arial"/>
              <a:sym typeface="Arial"/>
            </a:endParaRPr>
          </a:p>
          <a:p>
            <a:pPr marL="914400" marR="0" lvl="1" indent="-336550" algn="l" rtl="0">
              <a:lnSpc>
                <a:spcPct val="115000"/>
              </a:lnSpc>
              <a:spcBef>
                <a:spcPts val="1200"/>
              </a:spcBef>
              <a:spcAft>
                <a:spcPts val="0"/>
              </a:spcAft>
              <a:buClr>
                <a:srgbClr val="000000"/>
              </a:buClr>
              <a:buSzPts val="1700"/>
              <a:buFont typeface="Arial"/>
              <a:buChar char="○"/>
            </a:pPr>
            <a:r>
              <a:rPr lang="es-ES" sz="1700" b="0" i="0" u="none" strike="noStrike" cap="none">
                <a:solidFill>
                  <a:srgbClr val="000000"/>
                </a:solidFill>
                <a:latin typeface="Arial"/>
                <a:ea typeface="Arial"/>
                <a:cs typeface="Arial"/>
                <a:sym typeface="Arial"/>
              </a:rPr>
              <a:t>Rastree las cadenas de contagio al tiempo que cuida la privacidad de los ciudadanos</a:t>
            </a:r>
            <a:endParaRPr sz="1700" b="0" i="0" u="none" strike="noStrike" cap="none">
              <a:solidFill>
                <a:srgbClr val="000000"/>
              </a:solidFill>
              <a:latin typeface="Arial"/>
              <a:ea typeface="Arial"/>
              <a:cs typeface="Arial"/>
              <a:sym typeface="Arial"/>
            </a:endParaRPr>
          </a:p>
          <a:p>
            <a:pPr marL="914400" marR="0" lvl="1" indent="-336550" algn="l" rtl="0">
              <a:lnSpc>
                <a:spcPct val="115000"/>
              </a:lnSpc>
              <a:spcBef>
                <a:spcPts val="1200"/>
              </a:spcBef>
              <a:spcAft>
                <a:spcPts val="0"/>
              </a:spcAft>
              <a:buClr>
                <a:srgbClr val="000000"/>
              </a:buClr>
              <a:buSzPts val="1700"/>
              <a:buFont typeface="Arial"/>
              <a:buChar char="○"/>
            </a:pPr>
            <a:r>
              <a:rPr lang="es-ES" sz="1700" b="0" i="0" u="none" strike="noStrike" cap="none">
                <a:solidFill>
                  <a:srgbClr val="000000"/>
                </a:solidFill>
                <a:latin typeface="Arial"/>
                <a:ea typeface="Arial"/>
                <a:cs typeface="Arial"/>
                <a:sym typeface="Arial"/>
              </a:rPr>
              <a:t>Permita el reporte de casos positivos </a:t>
            </a:r>
            <a:endParaRPr sz="1700" b="0" i="0" u="none" strike="noStrike" cap="none">
              <a:solidFill>
                <a:srgbClr val="000000"/>
              </a:solidFill>
              <a:latin typeface="Arial"/>
              <a:ea typeface="Arial"/>
              <a:cs typeface="Arial"/>
              <a:sym typeface="Arial"/>
            </a:endParaRPr>
          </a:p>
          <a:p>
            <a:pPr marL="914400" marR="0" lvl="1" indent="-336550" algn="l" rtl="0">
              <a:lnSpc>
                <a:spcPct val="115000"/>
              </a:lnSpc>
              <a:spcBef>
                <a:spcPts val="1200"/>
              </a:spcBef>
              <a:spcAft>
                <a:spcPts val="0"/>
              </a:spcAft>
              <a:buClr>
                <a:srgbClr val="000000"/>
              </a:buClr>
              <a:buSzPts val="1700"/>
              <a:buFont typeface="Arial"/>
              <a:buChar char="○"/>
            </a:pPr>
            <a:r>
              <a:rPr lang="es-ES" sz="1700" b="0" i="0" u="none" strike="noStrike" cap="none">
                <a:solidFill>
                  <a:srgbClr val="000000"/>
                </a:solidFill>
                <a:latin typeface="Arial"/>
                <a:ea typeface="Arial"/>
                <a:cs typeface="Arial"/>
                <a:sym typeface="Arial"/>
              </a:rPr>
              <a:t>Optimice el aprendizaje sobre los datos generados para una gestión efectiva</a:t>
            </a:r>
            <a:endParaRPr sz="1700" b="0" i="0" u="none" strike="noStrike" cap="none">
              <a:solidFill>
                <a:srgbClr val="000000"/>
              </a:solidFill>
              <a:latin typeface="Arial"/>
              <a:ea typeface="Arial"/>
              <a:cs typeface="Arial"/>
              <a:sym typeface="Arial"/>
            </a:endParaRPr>
          </a:p>
          <a:p>
            <a:pPr marL="457200" marR="0" lvl="0" indent="-336550" algn="l" rtl="0">
              <a:lnSpc>
                <a:spcPct val="115000"/>
              </a:lnSpc>
              <a:spcBef>
                <a:spcPts val="1200"/>
              </a:spcBef>
              <a:spcAft>
                <a:spcPts val="0"/>
              </a:spcAft>
              <a:buClr>
                <a:srgbClr val="000000"/>
              </a:buClr>
              <a:buSzPts val="1700"/>
              <a:buFont typeface="Arial"/>
              <a:buChar char="●"/>
            </a:pPr>
            <a:r>
              <a:rPr lang="es-ES" sz="1700" b="0" i="0" u="none" strike="noStrike" cap="none">
                <a:solidFill>
                  <a:srgbClr val="000000"/>
                </a:solidFill>
                <a:latin typeface="Arial"/>
                <a:ea typeface="Arial"/>
                <a:cs typeface="Arial"/>
                <a:sym typeface="Arial"/>
              </a:rPr>
              <a:t>Compartir </a:t>
            </a:r>
            <a:r>
              <a:rPr lang="es-ES" sz="1700" b="1" i="0" u="none" strike="noStrike" cap="none">
                <a:solidFill>
                  <a:srgbClr val="000000"/>
                </a:solidFill>
                <a:latin typeface="Arial"/>
                <a:ea typeface="Arial"/>
                <a:cs typeface="Arial"/>
                <a:sym typeface="Arial"/>
              </a:rPr>
              <a:t>capacidades y activos </a:t>
            </a:r>
            <a:r>
              <a:rPr lang="es-ES" sz="1700" b="0" i="0" u="none" strike="noStrike" cap="none">
                <a:solidFill>
                  <a:srgbClr val="000000"/>
                </a:solidFill>
                <a:latin typeface="Arial"/>
                <a:ea typeface="Arial"/>
                <a:cs typeface="Arial"/>
                <a:sym typeface="Arial"/>
              </a:rPr>
              <a:t>de valor añadido de Minsait que la Administración podría utilizar como aceleradores en la gestión de dicha crisis</a:t>
            </a:r>
            <a:endParaRPr sz="1700" b="0" i="0" u="none" strike="noStrike" cap="none">
              <a:solidFill>
                <a:srgbClr val="000000"/>
              </a:solidFill>
              <a:latin typeface="Arial"/>
              <a:ea typeface="Arial"/>
              <a:cs typeface="Arial"/>
              <a:sym typeface="Arial"/>
            </a:endParaRPr>
          </a:p>
          <a:p>
            <a:pPr marL="457200" marR="0" lvl="0" indent="-336550" algn="l" rtl="0">
              <a:lnSpc>
                <a:spcPct val="115000"/>
              </a:lnSpc>
              <a:spcBef>
                <a:spcPts val="1200"/>
              </a:spcBef>
              <a:spcAft>
                <a:spcPts val="1000"/>
              </a:spcAft>
              <a:buClr>
                <a:srgbClr val="000000"/>
              </a:buClr>
              <a:buSzPts val="1700"/>
              <a:buFont typeface="Arial"/>
              <a:buChar char="●"/>
            </a:pPr>
            <a:r>
              <a:rPr lang="es-ES" sz="1700" b="0" i="0" u="none" strike="noStrike" cap="none">
                <a:solidFill>
                  <a:srgbClr val="000000"/>
                </a:solidFill>
                <a:latin typeface="Arial"/>
                <a:ea typeface="Arial"/>
                <a:cs typeface="Arial"/>
                <a:sym typeface="Arial"/>
              </a:rPr>
              <a:t>Acordar </a:t>
            </a:r>
            <a:r>
              <a:rPr lang="es-ES" sz="1700" b="1" i="0" u="none" strike="noStrike" cap="none">
                <a:solidFill>
                  <a:srgbClr val="000000"/>
                </a:solidFill>
                <a:latin typeface="Arial"/>
                <a:ea typeface="Arial"/>
                <a:cs typeface="Arial"/>
                <a:sym typeface="Arial"/>
              </a:rPr>
              <a:t>próximos pasos</a:t>
            </a:r>
            <a:endParaRPr sz="1700" b="1" i="0" u="none" strike="noStrike" cap="none">
              <a:solidFill>
                <a:srgbClr val="000000"/>
              </a:solidFill>
              <a:latin typeface="Arial"/>
              <a:ea typeface="Arial"/>
              <a:cs typeface="Arial"/>
              <a:sym typeface="Arial"/>
            </a:endParaRPr>
          </a:p>
        </p:txBody>
      </p:sp>
      <p:sp>
        <p:nvSpPr>
          <p:cNvPr id="386" name="Google Shape;386;g8055afce9b_0_345"/>
          <p:cNvSpPr txBox="1">
            <a:spLocks noGrp="1"/>
          </p:cNvSpPr>
          <p:nvPr>
            <p:ph type="title"/>
          </p:nvPr>
        </p:nvSpPr>
        <p:spPr>
          <a:xfrm>
            <a:off x="336000" y="649095"/>
            <a:ext cx="11519400" cy="919200"/>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1"/>
              </a:buClr>
              <a:buSzPts val="2600"/>
              <a:buFont typeface="Playfair Display"/>
              <a:buNone/>
            </a:pPr>
            <a:r>
              <a:rPr lang="es-ES"/>
              <a:t>Objetivos</a:t>
            </a:r>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779"/>
        <p:cNvGrpSpPr/>
        <p:nvPr/>
      </p:nvGrpSpPr>
      <p:grpSpPr>
        <a:xfrm>
          <a:off x="0" y="0"/>
          <a:ext cx="0" cy="0"/>
          <a:chOff x="0" y="0"/>
          <a:chExt cx="0" cy="0"/>
        </a:xfrm>
      </p:grpSpPr>
      <p:sp>
        <p:nvSpPr>
          <p:cNvPr id="2" name="Marcador de texto 1"/>
          <p:cNvSpPr>
            <a:spLocks noGrp="1"/>
          </p:cNvSpPr>
          <p:nvPr>
            <p:ph type="body" idx="1"/>
          </p:nvPr>
        </p:nvSpPr>
        <p:spPr/>
        <p:txBody>
          <a:bodyPr/>
          <a:lstStyle/>
          <a:p>
            <a:endParaRPr lang="es-ES"/>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811"/>
        <p:cNvGrpSpPr/>
        <p:nvPr/>
      </p:nvGrpSpPr>
      <p:grpSpPr>
        <a:xfrm>
          <a:off x="0" y="0"/>
          <a:ext cx="0" cy="0"/>
          <a:chOff x="0" y="0"/>
          <a:chExt cx="0" cy="0"/>
        </a:xfrm>
      </p:grpSpPr>
      <p:sp>
        <p:nvSpPr>
          <p:cNvPr id="812" name="Google Shape;812;g7826bb8c5e_0_2554"/>
          <p:cNvSpPr txBox="1"/>
          <p:nvPr/>
        </p:nvSpPr>
        <p:spPr>
          <a:xfrm>
            <a:off x="335998" y="649092"/>
            <a:ext cx="11232600" cy="7221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2400"/>
              <a:buFont typeface="Playfair Display"/>
              <a:buNone/>
            </a:pPr>
            <a:r>
              <a:rPr lang="es-ES" sz="2400" b="1" i="0" u="none" strike="noStrike" cap="none">
                <a:solidFill>
                  <a:schemeClr val="dk1"/>
                </a:solidFill>
                <a:latin typeface="Playfair Display"/>
                <a:ea typeface="Playfair Display"/>
                <a:cs typeface="Playfair Display"/>
                <a:sym typeface="Playfair Display"/>
              </a:rPr>
              <a:t>Pre-piloto: Funcional</a:t>
            </a:r>
            <a:r>
              <a:rPr lang="es-ES" sz="2400" b="0" i="0" u="none" strike="noStrike" cap="none">
                <a:solidFill>
                  <a:schemeClr val="dk1"/>
                </a:solidFill>
                <a:latin typeface="Playfair Display"/>
                <a:ea typeface="Playfair Display"/>
                <a:cs typeface="Playfair Display"/>
                <a:sym typeface="Playfair Display"/>
              </a:rPr>
              <a:t>. El MVP tendrá contact tracing como funcionalidad principal para trazar cadenas de contagios sobre positivos confirmados</a:t>
            </a:r>
            <a:endParaRPr sz="2400" b="0" i="0" u="none" strike="noStrike" cap="none">
              <a:solidFill>
                <a:schemeClr val="dk1"/>
              </a:solidFill>
              <a:latin typeface="Playfair Display"/>
              <a:ea typeface="Playfair Display"/>
              <a:cs typeface="Playfair Display"/>
              <a:sym typeface="Playfair Display"/>
            </a:endParaRPr>
          </a:p>
        </p:txBody>
      </p:sp>
      <p:grpSp>
        <p:nvGrpSpPr>
          <p:cNvPr id="813" name="Google Shape;813;g7826bb8c5e_0_2554"/>
          <p:cNvGrpSpPr/>
          <p:nvPr/>
        </p:nvGrpSpPr>
        <p:grpSpPr>
          <a:xfrm>
            <a:off x="716734" y="1778547"/>
            <a:ext cx="10862407" cy="4768422"/>
            <a:chOff x="292285" y="1189805"/>
            <a:chExt cx="8977195" cy="3940845"/>
          </a:xfrm>
        </p:grpSpPr>
        <p:sp>
          <p:nvSpPr>
            <p:cNvPr id="814" name="Google Shape;814;g7826bb8c5e_0_2554"/>
            <p:cNvSpPr/>
            <p:nvPr/>
          </p:nvSpPr>
          <p:spPr>
            <a:xfrm rot="5400000">
              <a:off x="3417696" y="1869371"/>
              <a:ext cx="3325004" cy="2367173"/>
            </a:xfrm>
            <a:custGeom>
              <a:avLst/>
              <a:gdLst/>
              <a:ahLst/>
              <a:cxnLst/>
              <a:rect l="l" t="t" r="r" b="b"/>
              <a:pathLst>
                <a:path w="822" h="667" extrusionOk="0">
                  <a:moveTo>
                    <a:pt x="35" y="332"/>
                  </a:moveTo>
                  <a:lnTo>
                    <a:pt x="39" y="329"/>
                  </a:lnTo>
                  <a:lnTo>
                    <a:pt x="44" y="327"/>
                  </a:lnTo>
                  <a:lnTo>
                    <a:pt x="48" y="326"/>
                  </a:lnTo>
                  <a:lnTo>
                    <a:pt x="53" y="325"/>
                  </a:lnTo>
                  <a:lnTo>
                    <a:pt x="57" y="325"/>
                  </a:lnTo>
                  <a:lnTo>
                    <a:pt x="61" y="325"/>
                  </a:lnTo>
                  <a:lnTo>
                    <a:pt x="66" y="326"/>
                  </a:lnTo>
                  <a:lnTo>
                    <a:pt x="70" y="327"/>
                  </a:lnTo>
                  <a:lnTo>
                    <a:pt x="77" y="331"/>
                  </a:lnTo>
                  <a:lnTo>
                    <a:pt x="85" y="335"/>
                  </a:lnTo>
                  <a:lnTo>
                    <a:pt x="92" y="340"/>
                  </a:lnTo>
                  <a:lnTo>
                    <a:pt x="99" y="345"/>
                  </a:lnTo>
                  <a:lnTo>
                    <a:pt x="107" y="349"/>
                  </a:lnTo>
                  <a:lnTo>
                    <a:pt x="113" y="353"/>
                  </a:lnTo>
                  <a:lnTo>
                    <a:pt x="119" y="356"/>
                  </a:lnTo>
                  <a:lnTo>
                    <a:pt x="121" y="357"/>
                  </a:lnTo>
                  <a:lnTo>
                    <a:pt x="124" y="357"/>
                  </a:lnTo>
                  <a:lnTo>
                    <a:pt x="129" y="356"/>
                  </a:lnTo>
                  <a:lnTo>
                    <a:pt x="132" y="355"/>
                  </a:lnTo>
                  <a:lnTo>
                    <a:pt x="134" y="353"/>
                  </a:lnTo>
                  <a:lnTo>
                    <a:pt x="136" y="350"/>
                  </a:lnTo>
                  <a:lnTo>
                    <a:pt x="138" y="347"/>
                  </a:lnTo>
                  <a:lnTo>
                    <a:pt x="140" y="343"/>
                  </a:lnTo>
                  <a:lnTo>
                    <a:pt x="142" y="338"/>
                  </a:lnTo>
                  <a:lnTo>
                    <a:pt x="142" y="142"/>
                  </a:lnTo>
                  <a:lnTo>
                    <a:pt x="414" y="142"/>
                  </a:lnTo>
                  <a:lnTo>
                    <a:pt x="421" y="139"/>
                  </a:lnTo>
                  <a:lnTo>
                    <a:pt x="426" y="137"/>
                  </a:lnTo>
                  <a:lnTo>
                    <a:pt x="430" y="134"/>
                  </a:lnTo>
                  <a:lnTo>
                    <a:pt x="432" y="130"/>
                  </a:lnTo>
                  <a:lnTo>
                    <a:pt x="434" y="127"/>
                  </a:lnTo>
                  <a:lnTo>
                    <a:pt x="435" y="123"/>
                  </a:lnTo>
                  <a:lnTo>
                    <a:pt x="434" y="120"/>
                  </a:lnTo>
                  <a:lnTo>
                    <a:pt x="433" y="116"/>
                  </a:lnTo>
                  <a:lnTo>
                    <a:pt x="429" y="108"/>
                  </a:lnTo>
                  <a:lnTo>
                    <a:pt x="424" y="100"/>
                  </a:lnTo>
                  <a:lnTo>
                    <a:pt x="418" y="92"/>
                  </a:lnTo>
                  <a:lnTo>
                    <a:pt x="413" y="84"/>
                  </a:lnTo>
                  <a:lnTo>
                    <a:pt x="409" y="77"/>
                  </a:lnTo>
                  <a:lnTo>
                    <a:pt x="406" y="71"/>
                  </a:lnTo>
                  <a:lnTo>
                    <a:pt x="405" y="67"/>
                  </a:lnTo>
                  <a:lnTo>
                    <a:pt x="404" y="64"/>
                  </a:lnTo>
                  <a:lnTo>
                    <a:pt x="403" y="58"/>
                  </a:lnTo>
                  <a:lnTo>
                    <a:pt x="403" y="52"/>
                  </a:lnTo>
                  <a:lnTo>
                    <a:pt x="404" y="46"/>
                  </a:lnTo>
                  <a:lnTo>
                    <a:pt x="406" y="39"/>
                  </a:lnTo>
                  <a:lnTo>
                    <a:pt x="408" y="34"/>
                  </a:lnTo>
                  <a:lnTo>
                    <a:pt x="411" y="29"/>
                  </a:lnTo>
                  <a:lnTo>
                    <a:pt x="415" y="25"/>
                  </a:lnTo>
                  <a:lnTo>
                    <a:pt x="419" y="21"/>
                  </a:lnTo>
                  <a:lnTo>
                    <a:pt x="424" y="17"/>
                  </a:lnTo>
                  <a:lnTo>
                    <a:pt x="430" y="13"/>
                  </a:lnTo>
                  <a:lnTo>
                    <a:pt x="435" y="10"/>
                  </a:lnTo>
                  <a:lnTo>
                    <a:pt x="443" y="7"/>
                  </a:lnTo>
                  <a:lnTo>
                    <a:pt x="449" y="5"/>
                  </a:lnTo>
                  <a:lnTo>
                    <a:pt x="456" y="3"/>
                  </a:lnTo>
                  <a:lnTo>
                    <a:pt x="463" y="1"/>
                  </a:lnTo>
                  <a:lnTo>
                    <a:pt x="470" y="0"/>
                  </a:lnTo>
                  <a:lnTo>
                    <a:pt x="477" y="0"/>
                  </a:lnTo>
                  <a:lnTo>
                    <a:pt x="485" y="0"/>
                  </a:lnTo>
                  <a:lnTo>
                    <a:pt x="492" y="0"/>
                  </a:lnTo>
                  <a:lnTo>
                    <a:pt x="499" y="1"/>
                  </a:lnTo>
                  <a:lnTo>
                    <a:pt x="506" y="2"/>
                  </a:lnTo>
                  <a:lnTo>
                    <a:pt x="513" y="4"/>
                  </a:lnTo>
                  <a:lnTo>
                    <a:pt x="520" y="6"/>
                  </a:lnTo>
                  <a:lnTo>
                    <a:pt x="525" y="8"/>
                  </a:lnTo>
                  <a:lnTo>
                    <a:pt x="528" y="9"/>
                  </a:lnTo>
                  <a:lnTo>
                    <a:pt x="534" y="13"/>
                  </a:lnTo>
                  <a:lnTo>
                    <a:pt x="540" y="17"/>
                  </a:lnTo>
                  <a:lnTo>
                    <a:pt x="545" y="21"/>
                  </a:lnTo>
                  <a:lnTo>
                    <a:pt x="548" y="24"/>
                  </a:lnTo>
                  <a:lnTo>
                    <a:pt x="550" y="26"/>
                  </a:lnTo>
                  <a:lnTo>
                    <a:pt x="555" y="32"/>
                  </a:lnTo>
                  <a:lnTo>
                    <a:pt x="558" y="37"/>
                  </a:lnTo>
                  <a:lnTo>
                    <a:pt x="560" y="42"/>
                  </a:lnTo>
                  <a:lnTo>
                    <a:pt x="561" y="48"/>
                  </a:lnTo>
                  <a:lnTo>
                    <a:pt x="561" y="55"/>
                  </a:lnTo>
                  <a:lnTo>
                    <a:pt x="560" y="61"/>
                  </a:lnTo>
                  <a:lnTo>
                    <a:pt x="559" y="64"/>
                  </a:lnTo>
                  <a:lnTo>
                    <a:pt x="558" y="68"/>
                  </a:lnTo>
                  <a:lnTo>
                    <a:pt x="554" y="75"/>
                  </a:lnTo>
                  <a:lnTo>
                    <a:pt x="552" y="79"/>
                  </a:lnTo>
                  <a:lnTo>
                    <a:pt x="550" y="83"/>
                  </a:lnTo>
                  <a:lnTo>
                    <a:pt x="540" y="96"/>
                  </a:lnTo>
                  <a:lnTo>
                    <a:pt x="534" y="106"/>
                  </a:lnTo>
                  <a:lnTo>
                    <a:pt x="531" y="111"/>
                  </a:lnTo>
                  <a:lnTo>
                    <a:pt x="529" y="115"/>
                  </a:lnTo>
                  <a:lnTo>
                    <a:pt x="527" y="119"/>
                  </a:lnTo>
                  <a:lnTo>
                    <a:pt x="527" y="123"/>
                  </a:lnTo>
                  <a:lnTo>
                    <a:pt x="527" y="127"/>
                  </a:lnTo>
                  <a:lnTo>
                    <a:pt x="527" y="129"/>
                  </a:lnTo>
                  <a:lnTo>
                    <a:pt x="528" y="130"/>
                  </a:lnTo>
                  <a:lnTo>
                    <a:pt x="530" y="132"/>
                  </a:lnTo>
                  <a:lnTo>
                    <a:pt x="531" y="134"/>
                  </a:lnTo>
                  <a:lnTo>
                    <a:pt x="535" y="137"/>
                  </a:lnTo>
                  <a:lnTo>
                    <a:pt x="538" y="138"/>
                  </a:lnTo>
                  <a:lnTo>
                    <a:pt x="541" y="140"/>
                  </a:lnTo>
                  <a:lnTo>
                    <a:pt x="548" y="142"/>
                  </a:lnTo>
                  <a:lnTo>
                    <a:pt x="822" y="142"/>
                  </a:lnTo>
                  <a:lnTo>
                    <a:pt x="822" y="667"/>
                  </a:lnTo>
                  <a:lnTo>
                    <a:pt x="142" y="667"/>
                  </a:lnTo>
                  <a:lnTo>
                    <a:pt x="142" y="470"/>
                  </a:lnTo>
                  <a:lnTo>
                    <a:pt x="138" y="460"/>
                  </a:lnTo>
                  <a:lnTo>
                    <a:pt x="136" y="456"/>
                  </a:lnTo>
                  <a:lnTo>
                    <a:pt x="134" y="454"/>
                  </a:lnTo>
                  <a:lnTo>
                    <a:pt x="132" y="451"/>
                  </a:lnTo>
                  <a:lnTo>
                    <a:pt x="129" y="450"/>
                  </a:lnTo>
                  <a:lnTo>
                    <a:pt x="127" y="449"/>
                  </a:lnTo>
                  <a:lnTo>
                    <a:pt x="124" y="449"/>
                  </a:lnTo>
                  <a:lnTo>
                    <a:pt x="121" y="450"/>
                  </a:lnTo>
                  <a:lnTo>
                    <a:pt x="118" y="451"/>
                  </a:lnTo>
                  <a:lnTo>
                    <a:pt x="112" y="454"/>
                  </a:lnTo>
                  <a:lnTo>
                    <a:pt x="106" y="458"/>
                  </a:lnTo>
                  <a:lnTo>
                    <a:pt x="98" y="463"/>
                  </a:lnTo>
                  <a:lnTo>
                    <a:pt x="83" y="473"/>
                  </a:lnTo>
                  <a:lnTo>
                    <a:pt x="75" y="478"/>
                  </a:lnTo>
                  <a:lnTo>
                    <a:pt x="72" y="480"/>
                  </a:lnTo>
                  <a:lnTo>
                    <a:pt x="68" y="481"/>
                  </a:lnTo>
                  <a:lnTo>
                    <a:pt x="59" y="484"/>
                  </a:lnTo>
                  <a:lnTo>
                    <a:pt x="55" y="484"/>
                  </a:lnTo>
                  <a:lnTo>
                    <a:pt x="51" y="484"/>
                  </a:lnTo>
                  <a:lnTo>
                    <a:pt x="47" y="483"/>
                  </a:lnTo>
                  <a:lnTo>
                    <a:pt x="42" y="482"/>
                  </a:lnTo>
                  <a:lnTo>
                    <a:pt x="38" y="480"/>
                  </a:lnTo>
                  <a:lnTo>
                    <a:pt x="34" y="478"/>
                  </a:lnTo>
                  <a:lnTo>
                    <a:pt x="26" y="471"/>
                  </a:lnTo>
                  <a:lnTo>
                    <a:pt x="22" y="467"/>
                  </a:lnTo>
                  <a:lnTo>
                    <a:pt x="19" y="463"/>
                  </a:lnTo>
                  <a:lnTo>
                    <a:pt x="12" y="455"/>
                  </a:lnTo>
                  <a:lnTo>
                    <a:pt x="10" y="450"/>
                  </a:lnTo>
                  <a:lnTo>
                    <a:pt x="8" y="446"/>
                  </a:lnTo>
                  <a:lnTo>
                    <a:pt x="4" y="435"/>
                  </a:lnTo>
                  <a:lnTo>
                    <a:pt x="3" y="429"/>
                  </a:lnTo>
                  <a:lnTo>
                    <a:pt x="2" y="424"/>
                  </a:lnTo>
                  <a:lnTo>
                    <a:pt x="1" y="414"/>
                  </a:lnTo>
                  <a:lnTo>
                    <a:pt x="0" y="403"/>
                  </a:lnTo>
                  <a:lnTo>
                    <a:pt x="1" y="392"/>
                  </a:lnTo>
                  <a:lnTo>
                    <a:pt x="3" y="382"/>
                  </a:lnTo>
                  <a:lnTo>
                    <a:pt x="6" y="371"/>
                  </a:lnTo>
                  <a:lnTo>
                    <a:pt x="7" y="366"/>
                  </a:lnTo>
                  <a:lnTo>
                    <a:pt x="9" y="361"/>
                  </a:lnTo>
                  <a:lnTo>
                    <a:pt x="14" y="352"/>
                  </a:lnTo>
                  <a:lnTo>
                    <a:pt x="18" y="348"/>
                  </a:lnTo>
                  <a:lnTo>
                    <a:pt x="21" y="344"/>
                  </a:lnTo>
                  <a:lnTo>
                    <a:pt x="27" y="337"/>
                  </a:lnTo>
                  <a:lnTo>
                    <a:pt x="31" y="334"/>
                  </a:lnTo>
                  <a:lnTo>
                    <a:pt x="35" y="332"/>
                  </a:lnTo>
                  <a:close/>
                </a:path>
              </a:pathLst>
            </a:custGeom>
            <a:solidFill>
              <a:schemeClr val="accent4"/>
            </a:solidFill>
            <a:ln w="9525" cap="flat" cmpd="sng">
              <a:solidFill>
                <a:srgbClr val="0097A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00"/>
                <a:buFont typeface="Arial"/>
                <a:buNone/>
              </a:pPr>
              <a:endParaRPr sz="1300" b="0" i="0" u="none" strike="noStrike" cap="none">
                <a:solidFill>
                  <a:srgbClr val="000000"/>
                </a:solidFill>
                <a:latin typeface="Arial"/>
                <a:ea typeface="Arial"/>
                <a:cs typeface="Arial"/>
                <a:sym typeface="Arial"/>
              </a:endParaRPr>
            </a:p>
          </p:txBody>
        </p:sp>
        <p:grpSp>
          <p:nvGrpSpPr>
            <p:cNvPr id="815" name="Google Shape;815;g7826bb8c5e_0_2554"/>
            <p:cNvGrpSpPr/>
            <p:nvPr/>
          </p:nvGrpSpPr>
          <p:grpSpPr>
            <a:xfrm>
              <a:off x="292285" y="1189805"/>
              <a:ext cx="5479714" cy="3727486"/>
              <a:chOff x="1465913" y="2571750"/>
              <a:chExt cx="1928187" cy="1841370"/>
            </a:xfrm>
          </p:grpSpPr>
          <p:sp>
            <p:nvSpPr>
              <p:cNvPr id="816" name="Google Shape;816;g7826bb8c5e_0_2554"/>
              <p:cNvSpPr/>
              <p:nvPr/>
            </p:nvSpPr>
            <p:spPr>
              <a:xfrm>
                <a:off x="2223482" y="2571750"/>
                <a:ext cx="1170618" cy="920750"/>
              </a:xfrm>
              <a:custGeom>
                <a:avLst/>
                <a:gdLst/>
                <a:ahLst/>
                <a:cxnLst/>
                <a:rect l="l" t="t" r="r" b="b"/>
                <a:pathLst>
                  <a:path w="822" h="525" extrusionOk="0">
                    <a:moveTo>
                      <a:pt x="822" y="525"/>
                    </a:moveTo>
                    <a:lnTo>
                      <a:pt x="549" y="525"/>
                    </a:lnTo>
                    <a:lnTo>
                      <a:pt x="542" y="522"/>
                    </a:lnTo>
                    <a:lnTo>
                      <a:pt x="536" y="520"/>
                    </a:lnTo>
                    <a:lnTo>
                      <a:pt x="532" y="516"/>
                    </a:lnTo>
                    <a:lnTo>
                      <a:pt x="530" y="515"/>
                    </a:lnTo>
                    <a:lnTo>
                      <a:pt x="529" y="513"/>
                    </a:lnTo>
                    <a:lnTo>
                      <a:pt x="528" y="510"/>
                    </a:lnTo>
                    <a:lnTo>
                      <a:pt x="527" y="506"/>
                    </a:lnTo>
                    <a:lnTo>
                      <a:pt x="528" y="502"/>
                    </a:lnTo>
                    <a:lnTo>
                      <a:pt x="529" y="498"/>
                    </a:lnTo>
                    <a:lnTo>
                      <a:pt x="534" y="489"/>
                    </a:lnTo>
                    <a:lnTo>
                      <a:pt x="540" y="479"/>
                    </a:lnTo>
                    <a:lnTo>
                      <a:pt x="550" y="466"/>
                    </a:lnTo>
                    <a:lnTo>
                      <a:pt x="555" y="458"/>
                    </a:lnTo>
                    <a:lnTo>
                      <a:pt x="558" y="451"/>
                    </a:lnTo>
                    <a:lnTo>
                      <a:pt x="560" y="445"/>
                    </a:lnTo>
                    <a:lnTo>
                      <a:pt x="561" y="442"/>
                    </a:lnTo>
                    <a:lnTo>
                      <a:pt x="561" y="438"/>
                    </a:lnTo>
                    <a:lnTo>
                      <a:pt x="561" y="432"/>
                    </a:lnTo>
                    <a:lnTo>
                      <a:pt x="560" y="425"/>
                    </a:lnTo>
                    <a:lnTo>
                      <a:pt x="559" y="422"/>
                    </a:lnTo>
                    <a:lnTo>
                      <a:pt x="558" y="420"/>
                    </a:lnTo>
                    <a:lnTo>
                      <a:pt x="556" y="416"/>
                    </a:lnTo>
                    <a:lnTo>
                      <a:pt x="554" y="412"/>
                    </a:lnTo>
                    <a:lnTo>
                      <a:pt x="551" y="408"/>
                    </a:lnTo>
                    <a:lnTo>
                      <a:pt x="548" y="405"/>
                    </a:lnTo>
                    <a:lnTo>
                      <a:pt x="544" y="402"/>
                    </a:lnTo>
                    <a:lnTo>
                      <a:pt x="536" y="396"/>
                    </a:lnTo>
                    <a:lnTo>
                      <a:pt x="531" y="393"/>
                    </a:lnTo>
                    <a:lnTo>
                      <a:pt x="527" y="391"/>
                    </a:lnTo>
                    <a:lnTo>
                      <a:pt x="520" y="389"/>
                    </a:lnTo>
                    <a:lnTo>
                      <a:pt x="515" y="387"/>
                    </a:lnTo>
                    <a:lnTo>
                      <a:pt x="504" y="384"/>
                    </a:lnTo>
                    <a:lnTo>
                      <a:pt x="498" y="383"/>
                    </a:lnTo>
                    <a:lnTo>
                      <a:pt x="492" y="383"/>
                    </a:lnTo>
                    <a:lnTo>
                      <a:pt x="480" y="382"/>
                    </a:lnTo>
                    <a:lnTo>
                      <a:pt x="468" y="383"/>
                    </a:lnTo>
                    <a:lnTo>
                      <a:pt x="457" y="385"/>
                    </a:lnTo>
                    <a:lnTo>
                      <a:pt x="445" y="388"/>
                    </a:lnTo>
                    <a:lnTo>
                      <a:pt x="439" y="391"/>
                    </a:lnTo>
                    <a:lnTo>
                      <a:pt x="434" y="393"/>
                    </a:lnTo>
                    <a:lnTo>
                      <a:pt x="429" y="396"/>
                    </a:lnTo>
                    <a:lnTo>
                      <a:pt x="424" y="399"/>
                    </a:lnTo>
                    <a:lnTo>
                      <a:pt x="420" y="403"/>
                    </a:lnTo>
                    <a:lnTo>
                      <a:pt x="416" y="407"/>
                    </a:lnTo>
                    <a:lnTo>
                      <a:pt x="412" y="411"/>
                    </a:lnTo>
                    <a:lnTo>
                      <a:pt x="409" y="416"/>
                    </a:lnTo>
                    <a:lnTo>
                      <a:pt x="406" y="420"/>
                    </a:lnTo>
                    <a:lnTo>
                      <a:pt x="404" y="425"/>
                    </a:lnTo>
                    <a:lnTo>
                      <a:pt x="403" y="431"/>
                    </a:lnTo>
                    <a:lnTo>
                      <a:pt x="402" y="435"/>
                    </a:lnTo>
                    <a:lnTo>
                      <a:pt x="402" y="439"/>
                    </a:lnTo>
                    <a:lnTo>
                      <a:pt x="403" y="444"/>
                    </a:lnTo>
                    <a:lnTo>
                      <a:pt x="404" y="448"/>
                    </a:lnTo>
                    <a:lnTo>
                      <a:pt x="405" y="452"/>
                    </a:lnTo>
                    <a:lnTo>
                      <a:pt x="408" y="460"/>
                    </a:lnTo>
                    <a:lnTo>
                      <a:pt x="412" y="468"/>
                    </a:lnTo>
                    <a:lnTo>
                      <a:pt x="417" y="475"/>
                    </a:lnTo>
                    <a:lnTo>
                      <a:pt x="422" y="482"/>
                    </a:lnTo>
                    <a:lnTo>
                      <a:pt x="427" y="488"/>
                    </a:lnTo>
                    <a:lnTo>
                      <a:pt x="431" y="495"/>
                    </a:lnTo>
                    <a:lnTo>
                      <a:pt x="433" y="501"/>
                    </a:lnTo>
                    <a:lnTo>
                      <a:pt x="434" y="504"/>
                    </a:lnTo>
                    <a:lnTo>
                      <a:pt x="434" y="507"/>
                    </a:lnTo>
                    <a:lnTo>
                      <a:pt x="434" y="509"/>
                    </a:lnTo>
                    <a:lnTo>
                      <a:pt x="433" y="512"/>
                    </a:lnTo>
                    <a:lnTo>
                      <a:pt x="432" y="514"/>
                    </a:lnTo>
                    <a:lnTo>
                      <a:pt x="430" y="517"/>
                    </a:lnTo>
                    <a:lnTo>
                      <a:pt x="427" y="519"/>
                    </a:lnTo>
                    <a:lnTo>
                      <a:pt x="423" y="521"/>
                    </a:lnTo>
                    <a:lnTo>
                      <a:pt x="419" y="523"/>
                    </a:lnTo>
                    <a:lnTo>
                      <a:pt x="413" y="525"/>
                    </a:lnTo>
                    <a:lnTo>
                      <a:pt x="142" y="525"/>
                    </a:lnTo>
                    <a:lnTo>
                      <a:pt x="142" y="327"/>
                    </a:lnTo>
                    <a:lnTo>
                      <a:pt x="138" y="317"/>
                    </a:lnTo>
                    <a:lnTo>
                      <a:pt x="134" y="311"/>
                    </a:lnTo>
                    <a:lnTo>
                      <a:pt x="132" y="309"/>
                    </a:lnTo>
                    <a:lnTo>
                      <a:pt x="129" y="308"/>
                    </a:lnTo>
                    <a:lnTo>
                      <a:pt x="127" y="307"/>
                    </a:lnTo>
                    <a:lnTo>
                      <a:pt x="124" y="307"/>
                    </a:lnTo>
                    <a:lnTo>
                      <a:pt x="121" y="308"/>
                    </a:lnTo>
                    <a:lnTo>
                      <a:pt x="118" y="309"/>
                    </a:lnTo>
                    <a:lnTo>
                      <a:pt x="112" y="312"/>
                    </a:lnTo>
                    <a:lnTo>
                      <a:pt x="106" y="316"/>
                    </a:lnTo>
                    <a:lnTo>
                      <a:pt x="98" y="321"/>
                    </a:lnTo>
                    <a:lnTo>
                      <a:pt x="83" y="331"/>
                    </a:lnTo>
                    <a:lnTo>
                      <a:pt x="79" y="333"/>
                    </a:lnTo>
                    <a:lnTo>
                      <a:pt x="76" y="336"/>
                    </a:lnTo>
                    <a:lnTo>
                      <a:pt x="72" y="338"/>
                    </a:lnTo>
                    <a:lnTo>
                      <a:pt x="68" y="339"/>
                    </a:lnTo>
                    <a:lnTo>
                      <a:pt x="59" y="342"/>
                    </a:lnTo>
                    <a:lnTo>
                      <a:pt x="55" y="342"/>
                    </a:lnTo>
                    <a:lnTo>
                      <a:pt x="51" y="342"/>
                    </a:lnTo>
                    <a:lnTo>
                      <a:pt x="47" y="341"/>
                    </a:lnTo>
                    <a:lnTo>
                      <a:pt x="43" y="340"/>
                    </a:lnTo>
                    <a:lnTo>
                      <a:pt x="38" y="338"/>
                    </a:lnTo>
                    <a:lnTo>
                      <a:pt x="34" y="336"/>
                    </a:lnTo>
                    <a:lnTo>
                      <a:pt x="26" y="329"/>
                    </a:lnTo>
                    <a:lnTo>
                      <a:pt x="22" y="325"/>
                    </a:lnTo>
                    <a:lnTo>
                      <a:pt x="19" y="321"/>
                    </a:lnTo>
                    <a:lnTo>
                      <a:pt x="12" y="313"/>
                    </a:lnTo>
                    <a:lnTo>
                      <a:pt x="10" y="308"/>
                    </a:lnTo>
                    <a:lnTo>
                      <a:pt x="8" y="304"/>
                    </a:lnTo>
                    <a:lnTo>
                      <a:pt x="4" y="293"/>
                    </a:lnTo>
                    <a:lnTo>
                      <a:pt x="3" y="287"/>
                    </a:lnTo>
                    <a:lnTo>
                      <a:pt x="2" y="282"/>
                    </a:lnTo>
                    <a:lnTo>
                      <a:pt x="1" y="272"/>
                    </a:lnTo>
                    <a:lnTo>
                      <a:pt x="0" y="261"/>
                    </a:lnTo>
                    <a:lnTo>
                      <a:pt x="1" y="250"/>
                    </a:lnTo>
                    <a:lnTo>
                      <a:pt x="3" y="240"/>
                    </a:lnTo>
                    <a:lnTo>
                      <a:pt x="6" y="229"/>
                    </a:lnTo>
                    <a:lnTo>
                      <a:pt x="8" y="224"/>
                    </a:lnTo>
                    <a:lnTo>
                      <a:pt x="10" y="219"/>
                    </a:lnTo>
                    <a:lnTo>
                      <a:pt x="14" y="210"/>
                    </a:lnTo>
                    <a:lnTo>
                      <a:pt x="18" y="206"/>
                    </a:lnTo>
                    <a:lnTo>
                      <a:pt x="21" y="202"/>
                    </a:lnTo>
                    <a:lnTo>
                      <a:pt x="27" y="195"/>
                    </a:lnTo>
                    <a:lnTo>
                      <a:pt x="31" y="192"/>
                    </a:lnTo>
                    <a:lnTo>
                      <a:pt x="35" y="190"/>
                    </a:lnTo>
                    <a:lnTo>
                      <a:pt x="40" y="187"/>
                    </a:lnTo>
                    <a:lnTo>
                      <a:pt x="44" y="185"/>
                    </a:lnTo>
                    <a:lnTo>
                      <a:pt x="49" y="184"/>
                    </a:lnTo>
                    <a:lnTo>
                      <a:pt x="53" y="183"/>
                    </a:lnTo>
                    <a:lnTo>
                      <a:pt x="57" y="183"/>
                    </a:lnTo>
                    <a:lnTo>
                      <a:pt x="61" y="183"/>
                    </a:lnTo>
                    <a:lnTo>
                      <a:pt x="66" y="184"/>
                    </a:lnTo>
                    <a:lnTo>
                      <a:pt x="70" y="185"/>
                    </a:lnTo>
                    <a:lnTo>
                      <a:pt x="78" y="189"/>
                    </a:lnTo>
                    <a:lnTo>
                      <a:pt x="85" y="193"/>
                    </a:lnTo>
                    <a:lnTo>
                      <a:pt x="92" y="198"/>
                    </a:lnTo>
                    <a:lnTo>
                      <a:pt x="99" y="203"/>
                    </a:lnTo>
                    <a:lnTo>
                      <a:pt x="107" y="207"/>
                    </a:lnTo>
                    <a:lnTo>
                      <a:pt x="113" y="211"/>
                    </a:lnTo>
                    <a:lnTo>
                      <a:pt x="119" y="214"/>
                    </a:lnTo>
                    <a:lnTo>
                      <a:pt x="121" y="215"/>
                    </a:lnTo>
                    <a:lnTo>
                      <a:pt x="124" y="215"/>
                    </a:lnTo>
                    <a:lnTo>
                      <a:pt x="127" y="215"/>
                    </a:lnTo>
                    <a:lnTo>
                      <a:pt x="129" y="214"/>
                    </a:lnTo>
                    <a:lnTo>
                      <a:pt x="132" y="213"/>
                    </a:lnTo>
                    <a:lnTo>
                      <a:pt x="134" y="211"/>
                    </a:lnTo>
                    <a:lnTo>
                      <a:pt x="138" y="205"/>
                    </a:lnTo>
                    <a:lnTo>
                      <a:pt x="140" y="201"/>
                    </a:lnTo>
                    <a:lnTo>
                      <a:pt x="142" y="196"/>
                    </a:lnTo>
                    <a:lnTo>
                      <a:pt x="142" y="0"/>
                    </a:lnTo>
                    <a:lnTo>
                      <a:pt x="822" y="0"/>
                    </a:lnTo>
                    <a:lnTo>
                      <a:pt x="822" y="525"/>
                    </a:lnTo>
                    <a:close/>
                  </a:path>
                </a:pathLst>
              </a:custGeom>
              <a:solidFill>
                <a:srgbClr val="FFFFFF"/>
              </a:solidFill>
              <a:ln w="9525" cap="flat" cmpd="sng">
                <a:solidFill>
                  <a:srgbClr val="0097A7"/>
                </a:solidFill>
                <a:prstDash val="solid"/>
                <a:round/>
                <a:headEnd type="none" w="sm" len="sm"/>
                <a:tailEnd type="none" w="sm" len="sm"/>
              </a:ln>
            </p:spPr>
            <p:txBody>
              <a:bodyPr spcFirstLastPara="1" wrap="square" lIns="91425" tIns="45700" rIns="91425" bIns="45700" anchor="t" anchorCtr="0">
                <a:noAutofit/>
              </a:bodyPr>
              <a:lstStyle/>
              <a:p>
                <a:pPr marL="714375" marR="0" lvl="0" indent="0" algn="l" rtl="0">
                  <a:lnSpc>
                    <a:spcPct val="100000"/>
                  </a:lnSpc>
                  <a:spcBef>
                    <a:spcPts val="600"/>
                  </a:spcBef>
                  <a:spcAft>
                    <a:spcPts val="0"/>
                  </a:spcAft>
                  <a:buClr>
                    <a:srgbClr val="000000"/>
                  </a:buClr>
                  <a:buSzPts val="1800"/>
                  <a:buFont typeface="Arial"/>
                  <a:buNone/>
                </a:pPr>
                <a:r>
                  <a:rPr lang="es-ES" sz="1800" b="0" i="0" u="none" strike="noStrike" cap="none">
                    <a:solidFill>
                      <a:schemeClr val="dk1"/>
                    </a:solidFill>
                    <a:latin typeface="Playfair Display"/>
                    <a:ea typeface="Playfair Display"/>
                    <a:cs typeface="Playfair Display"/>
                    <a:sym typeface="Playfair Display"/>
                  </a:rPr>
                  <a:t>Funcionalidad</a:t>
                </a:r>
                <a:endParaRPr sz="1300" b="0" i="0" u="none" strike="noStrike" cap="none">
                  <a:solidFill>
                    <a:schemeClr val="dk1"/>
                  </a:solidFill>
                  <a:latin typeface="Playfair Display"/>
                  <a:ea typeface="Playfair Display"/>
                  <a:cs typeface="Playfair Display"/>
                  <a:sym typeface="Playfair Display"/>
                </a:endParaRPr>
              </a:p>
              <a:p>
                <a:pPr marL="898525" marR="0" lvl="0" indent="-171450" algn="l" rtl="0">
                  <a:lnSpc>
                    <a:spcPct val="100000"/>
                  </a:lnSpc>
                  <a:spcBef>
                    <a:spcPts val="600"/>
                  </a:spcBef>
                  <a:spcAft>
                    <a:spcPts val="0"/>
                  </a:spcAft>
                  <a:buClr>
                    <a:srgbClr val="000000"/>
                  </a:buClr>
                  <a:buSzPts val="1200"/>
                  <a:buFont typeface="Arial"/>
                  <a:buChar char="●"/>
                </a:pPr>
                <a:r>
                  <a:rPr lang="es-ES" sz="1400" b="0" i="0" u="none" strike="noStrike" cap="none">
                    <a:solidFill>
                      <a:srgbClr val="000000"/>
                    </a:solidFill>
                    <a:latin typeface="Arial"/>
                    <a:ea typeface="Arial"/>
                    <a:cs typeface="Arial"/>
                    <a:sym typeface="Arial"/>
                  </a:rPr>
                  <a:t>Contact tracing Bluetooth con almacenado anónimo de dispositivos próximos</a:t>
                </a:r>
                <a:endParaRPr sz="1400" b="0" i="0" u="none" strike="noStrike" cap="none">
                  <a:solidFill>
                    <a:srgbClr val="000000"/>
                  </a:solidFill>
                  <a:latin typeface="Arial"/>
                  <a:ea typeface="Arial"/>
                  <a:cs typeface="Arial"/>
                  <a:sym typeface="Arial"/>
                </a:endParaRPr>
              </a:p>
              <a:p>
                <a:pPr marL="898525" marR="0" lvl="0" indent="-171450" algn="l" rtl="0">
                  <a:lnSpc>
                    <a:spcPct val="100000"/>
                  </a:lnSpc>
                  <a:spcBef>
                    <a:spcPts val="600"/>
                  </a:spcBef>
                  <a:spcAft>
                    <a:spcPts val="0"/>
                  </a:spcAft>
                  <a:buClr>
                    <a:srgbClr val="000000"/>
                  </a:buClr>
                  <a:buSzPts val="1200"/>
                  <a:buFont typeface="Arial"/>
                  <a:buChar char="●"/>
                </a:pPr>
                <a:r>
                  <a:rPr lang="es-ES" sz="1400" b="0" i="0" u="none" strike="noStrike" cap="none">
                    <a:solidFill>
                      <a:srgbClr val="000000"/>
                    </a:solidFill>
                    <a:latin typeface="Arial"/>
                    <a:ea typeface="Arial"/>
                    <a:cs typeface="Arial"/>
                    <a:sym typeface="Arial"/>
                  </a:rPr>
                  <a:t>Reporte de positivos (QR o código*)</a:t>
                </a:r>
                <a:endParaRPr sz="1400" b="0" i="0" u="none" strike="noStrike" cap="none">
                  <a:solidFill>
                    <a:srgbClr val="000000"/>
                  </a:solidFill>
                  <a:latin typeface="Arial"/>
                  <a:ea typeface="Arial"/>
                  <a:cs typeface="Arial"/>
                  <a:sym typeface="Arial"/>
                </a:endParaRPr>
              </a:p>
              <a:p>
                <a:pPr marL="898525" marR="0" lvl="0" indent="-171450" algn="l" rtl="0">
                  <a:lnSpc>
                    <a:spcPct val="100000"/>
                  </a:lnSpc>
                  <a:spcBef>
                    <a:spcPts val="600"/>
                  </a:spcBef>
                  <a:spcAft>
                    <a:spcPts val="0"/>
                  </a:spcAft>
                  <a:buClr>
                    <a:srgbClr val="000000"/>
                  </a:buClr>
                  <a:buSzPts val="1200"/>
                  <a:buFont typeface="Arial"/>
                  <a:buChar char="●"/>
                </a:pPr>
                <a:r>
                  <a:rPr lang="es-ES" sz="1400" b="0" i="0" u="none" strike="noStrike" cap="none">
                    <a:solidFill>
                      <a:srgbClr val="000000"/>
                    </a:solidFill>
                    <a:latin typeface="Arial"/>
                    <a:ea typeface="Arial"/>
                    <a:cs typeface="Arial"/>
                    <a:sym typeface="Arial"/>
                  </a:rPr>
                  <a:t>Cuestionario voluntario para casos positivos</a:t>
                </a:r>
                <a:endParaRPr sz="1400" b="0" i="0" u="none" strike="noStrike" cap="none">
                  <a:solidFill>
                    <a:srgbClr val="000000"/>
                  </a:solidFill>
                  <a:latin typeface="Arial"/>
                  <a:ea typeface="Arial"/>
                  <a:cs typeface="Arial"/>
                  <a:sym typeface="Arial"/>
                </a:endParaRPr>
              </a:p>
            </p:txBody>
          </p:sp>
          <p:grpSp>
            <p:nvGrpSpPr>
              <p:cNvPr id="817" name="Google Shape;817;g7826bb8c5e_0_2554"/>
              <p:cNvGrpSpPr/>
              <p:nvPr/>
            </p:nvGrpSpPr>
            <p:grpSpPr>
              <a:xfrm>
                <a:off x="1465913" y="2571750"/>
                <a:ext cx="1927562" cy="1841370"/>
                <a:chOff x="3383" y="1856"/>
                <a:chExt cx="1389" cy="1417"/>
              </a:xfrm>
            </p:grpSpPr>
            <p:sp>
              <p:nvSpPr>
                <p:cNvPr id="818" name="Google Shape;818;g7826bb8c5e_0_2554"/>
                <p:cNvSpPr/>
                <p:nvPr/>
              </p:nvSpPr>
              <p:spPr>
                <a:xfrm>
                  <a:off x="3929" y="2373"/>
                  <a:ext cx="843" cy="900"/>
                </a:xfrm>
                <a:custGeom>
                  <a:avLst/>
                  <a:gdLst/>
                  <a:ahLst/>
                  <a:cxnLst/>
                  <a:rect l="l" t="t" r="r" b="b"/>
                  <a:pathLst>
                    <a:path w="822" h="667" extrusionOk="0">
                      <a:moveTo>
                        <a:pt x="35" y="332"/>
                      </a:moveTo>
                      <a:lnTo>
                        <a:pt x="39" y="329"/>
                      </a:lnTo>
                      <a:lnTo>
                        <a:pt x="44" y="327"/>
                      </a:lnTo>
                      <a:lnTo>
                        <a:pt x="48" y="326"/>
                      </a:lnTo>
                      <a:lnTo>
                        <a:pt x="53" y="325"/>
                      </a:lnTo>
                      <a:lnTo>
                        <a:pt x="57" y="325"/>
                      </a:lnTo>
                      <a:lnTo>
                        <a:pt x="61" y="325"/>
                      </a:lnTo>
                      <a:lnTo>
                        <a:pt x="66" y="326"/>
                      </a:lnTo>
                      <a:lnTo>
                        <a:pt x="70" y="327"/>
                      </a:lnTo>
                      <a:lnTo>
                        <a:pt x="77" y="331"/>
                      </a:lnTo>
                      <a:lnTo>
                        <a:pt x="85" y="335"/>
                      </a:lnTo>
                      <a:lnTo>
                        <a:pt x="92" y="340"/>
                      </a:lnTo>
                      <a:lnTo>
                        <a:pt x="99" y="345"/>
                      </a:lnTo>
                      <a:lnTo>
                        <a:pt x="107" y="349"/>
                      </a:lnTo>
                      <a:lnTo>
                        <a:pt x="113" y="353"/>
                      </a:lnTo>
                      <a:lnTo>
                        <a:pt x="119" y="356"/>
                      </a:lnTo>
                      <a:lnTo>
                        <a:pt x="121" y="357"/>
                      </a:lnTo>
                      <a:lnTo>
                        <a:pt x="124" y="357"/>
                      </a:lnTo>
                      <a:lnTo>
                        <a:pt x="129" y="356"/>
                      </a:lnTo>
                      <a:lnTo>
                        <a:pt x="132" y="355"/>
                      </a:lnTo>
                      <a:lnTo>
                        <a:pt x="134" y="353"/>
                      </a:lnTo>
                      <a:lnTo>
                        <a:pt x="136" y="350"/>
                      </a:lnTo>
                      <a:lnTo>
                        <a:pt x="138" y="347"/>
                      </a:lnTo>
                      <a:lnTo>
                        <a:pt x="140" y="343"/>
                      </a:lnTo>
                      <a:lnTo>
                        <a:pt x="142" y="338"/>
                      </a:lnTo>
                      <a:lnTo>
                        <a:pt x="142" y="142"/>
                      </a:lnTo>
                      <a:lnTo>
                        <a:pt x="414" y="142"/>
                      </a:lnTo>
                      <a:lnTo>
                        <a:pt x="421" y="139"/>
                      </a:lnTo>
                      <a:lnTo>
                        <a:pt x="426" y="137"/>
                      </a:lnTo>
                      <a:lnTo>
                        <a:pt x="430" y="134"/>
                      </a:lnTo>
                      <a:lnTo>
                        <a:pt x="432" y="130"/>
                      </a:lnTo>
                      <a:lnTo>
                        <a:pt x="434" y="127"/>
                      </a:lnTo>
                      <a:lnTo>
                        <a:pt x="435" y="123"/>
                      </a:lnTo>
                      <a:lnTo>
                        <a:pt x="434" y="120"/>
                      </a:lnTo>
                      <a:lnTo>
                        <a:pt x="433" y="116"/>
                      </a:lnTo>
                      <a:lnTo>
                        <a:pt x="429" y="108"/>
                      </a:lnTo>
                      <a:lnTo>
                        <a:pt x="424" y="100"/>
                      </a:lnTo>
                      <a:lnTo>
                        <a:pt x="418" y="92"/>
                      </a:lnTo>
                      <a:lnTo>
                        <a:pt x="413" y="84"/>
                      </a:lnTo>
                      <a:lnTo>
                        <a:pt x="409" y="77"/>
                      </a:lnTo>
                      <a:lnTo>
                        <a:pt x="406" y="71"/>
                      </a:lnTo>
                      <a:lnTo>
                        <a:pt x="405" y="67"/>
                      </a:lnTo>
                      <a:lnTo>
                        <a:pt x="404" y="64"/>
                      </a:lnTo>
                      <a:lnTo>
                        <a:pt x="403" y="58"/>
                      </a:lnTo>
                      <a:lnTo>
                        <a:pt x="403" y="52"/>
                      </a:lnTo>
                      <a:lnTo>
                        <a:pt x="404" y="46"/>
                      </a:lnTo>
                      <a:lnTo>
                        <a:pt x="406" y="39"/>
                      </a:lnTo>
                      <a:lnTo>
                        <a:pt x="408" y="34"/>
                      </a:lnTo>
                      <a:lnTo>
                        <a:pt x="411" y="29"/>
                      </a:lnTo>
                      <a:lnTo>
                        <a:pt x="415" y="25"/>
                      </a:lnTo>
                      <a:lnTo>
                        <a:pt x="419" y="21"/>
                      </a:lnTo>
                      <a:lnTo>
                        <a:pt x="424" y="17"/>
                      </a:lnTo>
                      <a:lnTo>
                        <a:pt x="430" y="13"/>
                      </a:lnTo>
                      <a:lnTo>
                        <a:pt x="435" y="10"/>
                      </a:lnTo>
                      <a:lnTo>
                        <a:pt x="443" y="7"/>
                      </a:lnTo>
                      <a:lnTo>
                        <a:pt x="449" y="5"/>
                      </a:lnTo>
                      <a:lnTo>
                        <a:pt x="456" y="3"/>
                      </a:lnTo>
                      <a:lnTo>
                        <a:pt x="463" y="1"/>
                      </a:lnTo>
                      <a:lnTo>
                        <a:pt x="470" y="0"/>
                      </a:lnTo>
                      <a:lnTo>
                        <a:pt x="477" y="0"/>
                      </a:lnTo>
                      <a:lnTo>
                        <a:pt x="485" y="0"/>
                      </a:lnTo>
                      <a:lnTo>
                        <a:pt x="492" y="0"/>
                      </a:lnTo>
                      <a:lnTo>
                        <a:pt x="499" y="1"/>
                      </a:lnTo>
                      <a:lnTo>
                        <a:pt x="506" y="2"/>
                      </a:lnTo>
                      <a:lnTo>
                        <a:pt x="513" y="4"/>
                      </a:lnTo>
                      <a:lnTo>
                        <a:pt x="520" y="6"/>
                      </a:lnTo>
                      <a:lnTo>
                        <a:pt x="525" y="8"/>
                      </a:lnTo>
                      <a:lnTo>
                        <a:pt x="528" y="9"/>
                      </a:lnTo>
                      <a:lnTo>
                        <a:pt x="534" y="13"/>
                      </a:lnTo>
                      <a:lnTo>
                        <a:pt x="540" y="17"/>
                      </a:lnTo>
                      <a:lnTo>
                        <a:pt x="545" y="21"/>
                      </a:lnTo>
                      <a:lnTo>
                        <a:pt x="548" y="24"/>
                      </a:lnTo>
                      <a:lnTo>
                        <a:pt x="550" y="26"/>
                      </a:lnTo>
                      <a:lnTo>
                        <a:pt x="555" y="32"/>
                      </a:lnTo>
                      <a:lnTo>
                        <a:pt x="558" y="37"/>
                      </a:lnTo>
                      <a:lnTo>
                        <a:pt x="560" y="42"/>
                      </a:lnTo>
                      <a:lnTo>
                        <a:pt x="561" y="48"/>
                      </a:lnTo>
                      <a:lnTo>
                        <a:pt x="561" y="55"/>
                      </a:lnTo>
                      <a:lnTo>
                        <a:pt x="560" y="61"/>
                      </a:lnTo>
                      <a:lnTo>
                        <a:pt x="559" y="64"/>
                      </a:lnTo>
                      <a:lnTo>
                        <a:pt x="558" y="68"/>
                      </a:lnTo>
                      <a:lnTo>
                        <a:pt x="554" y="75"/>
                      </a:lnTo>
                      <a:lnTo>
                        <a:pt x="552" y="79"/>
                      </a:lnTo>
                      <a:lnTo>
                        <a:pt x="550" y="83"/>
                      </a:lnTo>
                      <a:lnTo>
                        <a:pt x="540" y="96"/>
                      </a:lnTo>
                      <a:lnTo>
                        <a:pt x="534" y="106"/>
                      </a:lnTo>
                      <a:lnTo>
                        <a:pt x="531" y="111"/>
                      </a:lnTo>
                      <a:lnTo>
                        <a:pt x="529" y="115"/>
                      </a:lnTo>
                      <a:lnTo>
                        <a:pt x="527" y="119"/>
                      </a:lnTo>
                      <a:lnTo>
                        <a:pt x="527" y="123"/>
                      </a:lnTo>
                      <a:lnTo>
                        <a:pt x="527" y="127"/>
                      </a:lnTo>
                      <a:lnTo>
                        <a:pt x="527" y="129"/>
                      </a:lnTo>
                      <a:lnTo>
                        <a:pt x="528" y="130"/>
                      </a:lnTo>
                      <a:lnTo>
                        <a:pt x="530" y="132"/>
                      </a:lnTo>
                      <a:lnTo>
                        <a:pt x="531" y="134"/>
                      </a:lnTo>
                      <a:lnTo>
                        <a:pt x="535" y="137"/>
                      </a:lnTo>
                      <a:lnTo>
                        <a:pt x="538" y="138"/>
                      </a:lnTo>
                      <a:lnTo>
                        <a:pt x="541" y="140"/>
                      </a:lnTo>
                      <a:lnTo>
                        <a:pt x="548" y="142"/>
                      </a:lnTo>
                      <a:lnTo>
                        <a:pt x="822" y="142"/>
                      </a:lnTo>
                      <a:lnTo>
                        <a:pt x="822" y="667"/>
                      </a:lnTo>
                      <a:lnTo>
                        <a:pt x="142" y="667"/>
                      </a:lnTo>
                      <a:lnTo>
                        <a:pt x="142" y="470"/>
                      </a:lnTo>
                      <a:lnTo>
                        <a:pt x="138" y="460"/>
                      </a:lnTo>
                      <a:lnTo>
                        <a:pt x="136" y="456"/>
                      </a:lnTo>
                      <a:lnTo>
                        <a:pt x="134" y="454"/>
                      </a:lnTo>
                      <a:lnTo>
                        <a:pt x="132" y="451"/>
                      </a:lnTo>
                      <a:lnTo>
                        <a:pt x="129" y="450"/>
                      </a:lnTo>
                      <a:lnTo>
                        <a:pt x="127" y="449"/>
                      </a:lnTo>
                      <a:lnTo>
                        <a:pt x="124" y="449"/>
                      </a:lnTo>
                      <a:lnTo>
                        <a:pt x="121" y="450"/>
                      </a:lnTo>
                      <a:lnTo>
                        <a:pt x="118" y="451"/>
                      </a:lnTo>
                      <a:lnTo>
                        <a:pt x="112" y="454"/>
                      </a:lnTo>
                      <a:lnTo>
                        <a:pt x="106" y="458"/>
                      </a:lnTo>
                      <a:lnTo>
                        <a:pt x="98" y="463"/>
                      </a:lnTo>
                      <a:lnTo>
                        <a:pt x="83" y="473"/>
                      </a:lnTo>
                      <a:lnTo>
                        <a:pt x="75" y="478"/>
                      </a:lnTo>
                      <a:lnTo>
                        <a:pt x="72" y="480"/>
                      </a:lnTo>
                      <a:lnTo>
                        <a:pt x="68" y="481"/>
                      </a:lnTo>
                      <a:lnTo>
                        <a:pt x="59" y="484"/>
                      </a:lnTo>
                      <a:lnTo>
                        <a:pt x="55" y="484"/>
                      </a:lnTo>
                      <a:lnTo>
                        <a:pt x="51" y="484"/>
                      </a:lnTo>
                      <a:lnTo>
                        <a:pt x="47" y="483"/>
                      </a:lnTo>
                      <a:lnTo>
                        <a:pt x="42" y="482"/>
                      </a:lnTo>
                      <a:lnTo>
                        <a:pt x="38" y="480"/>
                      </a:lnTo>
                      <a:lnTo>
                        <a:pt x="34" y="478"/>
                      </a:lnTo>
                      <a:lnTo>
                        <a:pt x="26" y="471"/>
                      </a:lnTo>
                      <a:lnTo>
                        <a:pt x="22" y="467"/>
                      </a:lnTo>
                      <a:lnTo>
                        <a:pt x="19" y="463"/>
                      </a:lnTo>
                      <a:lnTo>
                        <a:pt x="12" y="455"/>
                      </a:lnTo>
                      <a:lnTo>
                        <a:pt x="10" y="450"/>
                      </a:lnTo>
                      <a:lnTo>
                        <a:pt x="8" y="446"/>
                      </a:lnTo>
                      <a:lnTo>
                        <a:pt x="4" y="435"/>
                      </a:lnTo>
                      <a:lnTo>
                        <a:pt x="3" y="429"/>
                      </a:lnTo>
                      <a:lnTo>
                        <a:pt x="2" y="424"/>
                      </a:lnTo>
                      <a:lnTo>
                        <a:pt x="1" y="414"/>
                      </a:lnTo>
                      <a:lnTo>
                        <a:pt x="0" y="403"/>
                      </a:lnTo>
                      <a:lnTo>
                        <a:pt x="1" y="392"/>
                      </a:lnTo>
                      <a:lnTo>
                        <a:pt x="3" y="382"/>
                      </a:lnTo>
                      <a:lnTo>
                        <a:pt x="6" y="371"/>
                      </a:lnTo>
                      <a:lnTo>
                        <a:pt x="7" y="366"/>
                      </a:lnTo>
                      <a:lnTo>
                        <a:pt x="9" y="361"/>
                      </a:lnTo>
                      <a:lnTo>
                        <a:pt x="14" y="352"/>
                      </a:lnTo>
                      <a:lnTo>
                        <a:pt x="18" y="348"/>
                      </a:lnTo>
                      <a:lnTo>
                        <a:pt x="21" y="344"/>
                      </a:lnTo>
                      <a:lnTo>
                        <a:pt x="27" y="337"/>
                      </a:lnTo>
                      <a:lnTo>
                        <a:pt x="31" y="334"/>
                      </a:lnTo>
                      <a:lnTo>
                        <a:pt x="35" y="332"/>
                      </a:lnTo>
                      <a:close/>
                    </a:path>
                  </a:pathLst>
                </a:custGeom>
                <a:solidFill>
                  <a:schemeClr val="accent4"/>
                </a:solidFill>
                <a:ln w="9525" cap="flat" cmpd="sng">
                  <a:solidFill>
                    <a:srgbClr val="0097A7"/>
                  </a:solidFill>
                  <a:prstDash val="solid"/>
                  <a:round/>
                  <a:headEnd type="none" w="sm" len="sm"/>
                  <a:tailEnd type="none" w="sm" len="sm"/>
                </a:ln>
              </p:spPr>
              <p:txBody>
                <a:bodyPr spcFirstLastPara="1" wrap="square" lIns="91425" tIns="45700" rIns="91425" bIns="45700" anchor="t" anchorCtr="0">
                  <a:noAutofit/>
                </a:bodyPr>
                <a:lstStyle/>
                <a:p>
                  <a:pPr marL="630000" marR="0" lvl="0" indent="0" algn="l" rtl="0">
                    <a:lnSpc>
                      <a:spcPct val="100000"/>
                    </a:lnSpc>
                    <a:spcBef>
                      <a:spcPts val="600"/>
                    </a:spcBef>
                    <a:spcAft>
                      <a:spcPts val="0"/>
                    </a:spcAft>
                    <a:buClr>
                      <a:srgbClr val="000000"/>
                    </a:buClr>
                    <a:buSzPts val="1300"/>
                    <a:buFont typeface="Arial"/>
                    <a:buNone/>
                  </a:pPr>
                  <a:endParaRPr sz="1300" b="0" i="0" u="none" strike="noStrike" cap="none">
                    <a:solidFill>
                      <a:srgbClr val="000000"/>
                    </a:solidFill>
                    <a:latin typeface="Arial"/>
                    <a:ea typeface="Arial"/>
                    <a:cs typeface="Arial"/>
                    <a:sym typeface="Arial"/>
                  </a:endParaRPr>
                </a:p>
                <a:p>
                  <a:pPr marL="630000" marR="0" lvl="0" indent="0" algn="l" rtl="0">
                    <a:lnSpc>
                      <a:spcPct val="100000"/>
                    </a:lnSpc>
                    <a:spcBef>
                      <a:spcPts val="600"/>
                    </a:spcBef>
                    <a:spcAft>
                      <a:spcPts val="0"/>
                    </a:spcAft>
                    <a:buClr>
                      <a:srgbClr val="000000"/>
                    </a:buClr>
                    <a:buSzPts val="1300"/>
                    <a:buFont typeface="Arial"/>
                    <a:buNone/>
                  </a:pPr>
                  <a:endParaRPr sz="1300" b="0" i="0" u="none" strike="noStrike" cap="none">
                    <a:solidFill>
                      <a:srgbClr val="000000"/>
                    </a:solidFill>
                    <a:latin typeface="Arial"/>
                    <a:ea typeface="Arial"/>
                    <a:cs typeface="Arial"/>
                    <a:sym typeface="Arial"/>
                  </a:endParaRPr>
                </a:p>
                <a:p>
                  <a:pPr marL="714375" marR="0" lvl="0" indent="0" algn="l" rtl="0">
                    <a:lnSpc>
                      <a:spcPct val="100000"/>
                    </a:lnSpc>
                    <a:spcBef>
                      <a:spcPts val="600"/>
                    </a:spcBef>
                    <a:spcAft>
                      <a:spcPts val="0"/>
                    </a:spcAft>
                    <a:buClr>
                      <a:srgbClr val="000000"/>
                    </a:buClr>
                    <a:buSzPts val="1800"/>
                    <a:buFont typeface="Arial"/>
                    <a:buNone/>
                  </a:pPr>
                  <a:r>
                    <a:rPr lang="es-ES" sz="1800" b="0" i="0" u="none" strike="noStrike" cap="none">
                      <a:solidFill>
                        <a:schemeClr val="dk1"/>
                      </a:solidFill>
                      <a:latin typeface="Playfair Display"/>
                      <a:ea typeface="Playfair Display"/>
                      <a:cs typeface="Playfair Display"/>
                      <a:sym typeface="Playfair Display"/>
                    </a:rPr>
                    <a:t>Privacidad</a:t>
                  </a:r>
                  <a:endParaRPr sz="1300" b="0" i="0" u="none" strike="noStrike" cap="none">
                    <a:solidFill>
                      <a:schemeClr val="dk1"/>
                    </a:solidFill>
                    <a:latin typeface="Playfair Display"/>
                    <a:ea typeface="Playfair Display"/>
                    <a:cs typeface="Playfair Display"/>
                    <a:sym typeface="Playfair Display"/>
                  </a:endParaRPr>
                </a:p>
                <a:p>
                  <a:pPr marL="898525" marR="0" lvl="0" indent="-158750" algn="l" rtl="0">
                    <a:lnSpc>
                      <a:spcPct val="100000"/>
                    </a:lnSpc>
                    <a:spcBef>
                      <a:spcPts val="600"/>
                    </a:spcBef>
                    <a:spcAft>
                      <a:spcPts val="0"/>
                    </a:spcAft>
                    <a:buClr>
                      <a:srgbClr val="000000"/>
                    </a:buClr>
                    <a:buSzPts val="1000"/>
                    <a:buFont typeface="Arial"/>
                    <a:buChar char="●"/>
                  </a:pPr>
                  <a:r>
                    <a:rPr lang="es-ES" sz="1200" b="0" i="0" u="none" strike="noStrike" cap="none">
                      <a:solidFill>
                        <a:srgbClr val="000000"/>
                      </a:solidFill>
                      <a:latin typeface="Arial"/>
                      <a:ea typeface="Arial"/>
                      <a:cs typeface="Arial"/>
                      <a:sym typeface="Arial"/>
                    </a:rPr>
                    <a:t>Aviso legal</a:t>
                  </a:r>
                  <a:endParaRPr sz="1200" b="0" i="0" u="none" strike="noStrike" cap="none">
                    <a:solidFill>
                      <a:srgbClr val="000000"/>
                    </a:solidFill>
                    <a:latin typeface="Arial"/>
                    <a:ea typeface="Arial"/>
                    <a:cs typeface="Arial"/>
                    <a:sym typeface="Arial"/>
                  </a:endParaRPr>
                </a:p>
                <a:p>
                  <a:pPr marL="898525" marR="0" lvl="0" indent="-158750" algn="l" rtl="0">
                    <a:lnSpc>
                      <a:spcPct val="100000"/>
                    </a:lnSpc>
                    <a:spcBef>
                      <a:spcPts val="600"/>
                    </a:spcBef>
                    <a:spcAft>
                      <a:spcPts val="0"/>
                    </a:spcAft>
                    <a:buClr>
                      <a:srgbClr val="000000"/>
                    </a:buClr>
                    <a:buSzPts val="1000"/>
                    <a:buFont typeface="Arial"/>
                    <a:buChar char="●"/>
                  </a:pPr>
                  <a:r>
                    <a:rPr lang="es-ES" sz="1200" b="0" i="0" u="none" strike="noStrike" cap="none">
                      <a:solidFill>
                        <a:srgbClr val="000000"/>
                      </a:solidFill>
                      <a:latin typeface="Arial"/>
                      <a:ea typeface="Arial"/>
                      <a:cs typeface="Arial"/>
                      <a:sym typeface="Arial"/>
                    </a:rPr>
                    <a:t>Sin login ni datos personales</a:t>
                  </a:r>
                  <a:endParaRPr sz="1200" b="0" i="0" u="none" strike="noStrike" cap="none">
                    <a:solidFill>
                      <a:srgbClr val="000000"/>
                    </a:solidFill>
                    <a:latin typeface="Arial"/>
                    <a:ea typeface="Arial"/>
                    <a:cs typeface="Arial"/>
                    <a:sym typeface="Arial"/>
                  </a:endParaRPr>
                </a:p>
                <a:p>
                  <a:pPr marL="898525" marR="0" lvl="0" indent="-158750" algn="l" rtl="0">
                    <a:lnSpc>
                      <a:spcPct val="100000"/>
                    </a:lnSpc>
                    <a:spcBef>
                      <a:spcPts val="600"/>
                    </a:spcBef>
                    <a:spcAft>
                      <a:spcPts val="0"/>
                    </a:spcAft>
                    <a:buClr>
                      <a:srgbClr val="000000"/>
                    </a:buClr>
                    <a:buSzPts val="1000"/>
                    <a:buFont typeface="Arial"/>
                    <a:buChar char="●"/>
                  </a:pPr>
                  <a:r>
                    <a:rPr lang="es-ES" sz="1200" b="0" i="0" u="none" strike="noStrike" cap="none">
                      <a:solidFill>
                        <a:srgbClr val="000000"/>
                      </a:solidFill>
                      <a:latin typeface="Arial"/>
                      <a:ea typeface="Arial"/>
                      <a:cs typeface="Arial"/>
                      <a:sym typeface="Arial"/>
                    </a:rPr>
                    <a:t>Tracing Bluetooth anonimizado con ID cambiante</a:t>
                  </a:r>
                  <a:endParaRPr sz="1200" b="0" i="0" u="none" strike="noStrike" cap="none">
                    <a:solidFill>
                      <a:srgbClr val="000000"/>
                    </a:solidFill>
                    <a:latin typeface="Arial"/>
                    <a:ea typeface="Arial"/>
                    <a:cs typeface="Arial"/>
                    <a:sym typeface="Arial"/>
                  </a:endParaRPr>
                </a:p>
                <a:p>
                  <a:pPr marL="898525" marR="0" lvl="0" indent="-158750" algn="l" rtl="0">
                    <a:lnSpc>
                      <a:spcPct val="100000"/>
                    </a:lnSpc>
                    <a:spcBef>
                      <a:spcPts val="600"/>
                    </a:spcBef>
                    <a:spcAft>
                      <a:spcPts val="0"/>
                    </a:spcAft>
                    <a:buClr>
                      <a:srgbClr val="000000"/>
                    </a:buClr>
                    <a:buSzPts val="1000"/>
                    <a:buFont typeface="Arial"/>
                    <a:buChar char="●"/>
                  </a:pPr>
                  <a:r>
                    <a:rPr lang="es-ES" sz="1200" b="0" i="0" u="none" strike="noStrike" cap="none">
                      <a:solidFill>
                        <a:srgbClr val="000000"/>
                      </a:solidFill>
                      <a:latin typeface="Arial"/>
                      <a:ea typeface="Arial"/>
                      <a:cs typeface="Arial"/>
                      <a:sym typeface="Arial"/>
                    </a:rPr>
                    <a:t>Apartado “Mis datos”: para qué se usan los datos y posibilidad de borrar y dejar de usar la app</a:t>
                  </a:r>
                  <a:endParaRPr sz="1200" b="0" i="0" u="none" strike="noStrike" cap="none">
                    <a:solidFill>
                      <a:srgbClr val="000000"/>
                    </a:solidFill>
                    <a:latin typeface="Arial"/>
                    <a:ea typeface="Arial"/>
                    <a:cs typeface="Arial"/>
                    <a:sym typeface="Arial"/>
                  </a:endParaRPr>
                </a:p>
                <a:p>
                  <a:pPr marL="727075" marR="0" lvl="0" indent="0" algn="l" rtl="0">
                    <a:lnSpc>
                      <a:spcPct val="100000"/>
                    </a:lnSpc>
                    <a:spcBef>
                      <a:spcPts val="600"/>
                    </a:spcBef>
                    <a:spcAft>
                      <a:spcPts val="0"/>
                    </a:spcAft>
                    <a:buClr>
                      <a:srgbClr val="000000"/>
                    </a:buClr>
                    <a:buSzPts val="1200"/>
                    <a:buFont typeface="Arial"/>
                    <a:buNone/>
                  </a:pPr>
                  <a:r>
                    <a:rPr lang="es-ES" sz="1200" b="0" i="0" u="none" strike="noStrike" cap="none">
                      <a:solidFill>
                        <a:srgbClr val="000000"/>
                      </a:solidFill>
                      <a:latin typeface="Arial"/>
                      <a:ea typeface="Arial"/>
                      <a:cs typeface="Arial"/>
                      <a:sym typeface="Arial"/>
                    </a:rPr>
                    <a:t>(TBD tratamiento de casos positivos)</a:t>
                  </a:r>
                  <a:endParaRPr sz="1200" b="0" i="0" u="none" strike="noStrike" cap="none">
                    <a:solidFill>
                      <a:srgbClr val="000000"/>
                    </a:solidFill>
                    <a:latin typeface="Arial"/>
                    <a:ea typeface="Arial"/>
                    <a:cs typeface="Arial"/>
                    <a:sym typeface="Arial"/>
                  </a:endParaRPr>
                </a:p>
              </p:txBody>
            </p:sp>
            <p:sp>
              <p:nvSpPr>
                <p:cNvPr id="819" name="Google Shape;819;g7826bb8c5e_0_2554"/>
                <p:cNvSpPr/>
                <p:nvPr/>
              </p:nvSpPr>
              <p:spPr>
                <a:xfrm>
                  <a:off x="3383" y="2373"/>
                  <a:ext cx="691" cy="900"/>
                </a:xfrm>
                <a:custGeom>
                  <a:avLst/>
                  <a:gdLst/>
                  <a:ahLst/>
                  <a:cxnLst/>
                  <a:rect l="l" t="t" r="r" b="b"/>
                  <a:pathLst>
                    <a:path w="674" h="667" extrusionOk="0">
                      <a:moveTo>
                        <a:pt x="0" y="142"/>
                      </a:moveTo>
                      <a:lnTo>
                        <a:pt x="270" y="142"/>
                      </a:lnTo>
                      <a:lnTo>
                        <a:pt x="275" y="140"/>
                      </a:lnTo>
                      <a:lnTo>
                        <a:pt x="279" y="138"/>
                      </a:lnTo>
                      <a:lnTo>
                        <a:pt x="283" y="136"/>
                      </a:lnTo>
                      <a:lnTo>
                        <a:pt x="285" y="134"/>
                      </a:lnTo>
                      <a:lnTo>
                        <a:pt x="287" y="131"/>
                      </a:lnTo>
                      <a:lnTo>
                        <a:pt x="289" y="129"/>
                      </a:lnTo>
                      <a:lnTo>
                        <a:pt x="289" y="126"/>
                      </a:lnTo>
                      <a:lnTo>
                        <a:pt x="290" y="124"/>
                      </a:lnTo>
                      <a:lnTo>
                        <a:pt x="289" y="121"/>
                      </a:lnTo>
                      <a:lnTo>
                        <a:pt x="289" y="118"/>
                      </a:lnTo>
                      <a:lnTo>
                        <a:pt x="286" y="113"/>
                      </a:lnTo>
                      <a:lnTo>
                        <a:pt x="282" y="105"/>
                      </a:lnTo>
                      <a:lnTo>
                        <a:pt x="277" y="99"/>
                      </a:lnTo>
                      <a:lnTo>
                        <a:pt x="268" y="85"/>
                      </a:lnTo>
                      <a:lnTo>
                        <a:pt x="263" y="77"/>
                      </a:lnTo>
                      <a:lnTo>
                        <a:pt x="262" y="73"/>
                      </a:lnTo>
                      <a:lnTo>
                        <a:pt x="260" y="69"/>
                      </a:lnTo>
                      <a:lnTo>
                        <a:pt x="259" y="65"/>
                      </a:lnTo>
                      <a:lnTo>
                        <a:pt x="258" y="61"/>
                      </a:lnTo>
                      <a:lnTo>
                        <a:pt x="258" y="57"/>
                      </a:lnTo>
                      <a:lnTo>
                        <a:pt x="258" y="52"/>
                      </a:lnTo>
                      <a:lnTo>
                        <a:pt x="259" y="48"/>
                      </a:lnTo>
                      <a:lnTo>
                        <a:pt x="260" y="43"/>
                      </a:lnTo>
                      <a:lnTo>
                        <a:pt x="262" y="38"/>
                      </a:lnTo>
                      <a:lnTo>
                        <a:pt x="264" y="33"/>
                      </a:lnTo>
                      <a:lnTo>
                        <a:pt x="267" y="29"/>
                      </a:lnTo>
                      <a:lnTo>
                        <a:pt x="270" y="26"/>
                      </a:lnTo>
                      <a:lnTo>
                        <a:pt x="273" y="22"/>
                      </a:lnTo>
                      <a:lnTo>
                        <a:pt x="277" y="19"/>
                      </a:lnTo>
                      <a:lnTo>
                        <a:pt x="285" y="14"/>
                      </a:lnTo>
                      <a:lnTo>
                        <a:pt x="294" y="9"/>
                      </a:lnTo>
                      <a:lnTo>
                        <a:pt x="299" y="7"/>
                      </a:lnTo>
                      <a:lnTo>
                        <a:pt x="304" y="5"/>
                      </a:lnTo>
                      <a:lnTo>
                        <a:pt x="314" y="2"/>
                      </a:lnTo>
                      <a:lnTo>
                        <a:pt x="325" y="1"/>
                      </a:lnTo>
                      <a:lnTo>
                        <a:pt x="335" y="0"/>
                      </a:lnTo>
                      <a:lnTo>
                        <a:pt x="346" y="0"/>
                      </a:lnTo>
                      <a:lnTo>
                        <a:pt x="357" y="1"/>
                      </a:lnTo>
                      <a:lnTo>
                        <a:pt x="367" y="4"/>
                      </a:lnTo>
                      <a:lnTo>
                        <a:pt x="377" y="7"/>
                      </a:lnTo>
                      <a:lnTo>
                        <a:pt x="383" y="9"/>
                      </a:lnTo>
                      <a:lnTo>
                        <a:pt x="388" y="12"/>
                      </a:lnTo>
                      <a:lnTo>
                        <a:pt x="392" y="14"/>
                      </a:lnTo>
                      <a:lnTo>
                        <a:pt x="396" y="17"/>
                      </a:lnTo>
                      <a:lnTo>
                        <a:pt x="400" y="21"/>
                      </a:lnTo>
                      <a:lnTo>
                        <a:pt x="404" y="24"/>
                      </a:lnTo>
                      <a:lnTo>
                        <a:pt x="407" y="28"/>
                      </a:lnTo>
                      <a:lnTo>
                        <a:pt x="410" y="32"/>
                      </a:lnTo>
                      <a:lnTo>
                        <a:pt x="413" y="37"/>
                      </a:lnTo>
                      <a:lnTo>
                        <a:pt x="415" y="41"/>
                      </a:lnTo>
                      <a:lnTo>
                        <a:pt x="416" y="46"/>
                      </a:lnTo>
                      <a:lnTo>
                        <a:pt x="417" y="51"/>
                      </a:lnTo>
                      <a:lnTo>
                        <a:pt x="417" y="55"/>
                      </a:lnTo>
                      <a:lnTo>
                        <a:pt x="416" y="59"/>
                      </a:lnTo>
                      <a:lnTo>
                        <a:pt x="414" y="67"/>
                      </a:lnTo>
                      <a:lnTo>
                        <a:pt x="410" y="75"/>
                      </a:lnTo>
                      <a:lnTo>
                        <a:pt x="406" y="83"/>
                      </a:lnTo>
                      <a:lnTo>
                        <a:pt x="395" y="98"/>
                      </a:lnTo>
                      <a:lnTo>
                        <a:pt x="390" y="104"/>
                      </a:lnTo>
                      <a:lnTo>
                        <a:pt x="386" y="112"/>
                      </a:lnTo>
                      <a:lnTo>
                        <a:pt x="383" y="118"/>
                      </a:lnTo>
                      <a:lnTo>
                        <a:pt x="382" y="121"/>
                      </a:lnTo>
                      <a:lnTo>
                        <a:pt x="382" y="124"/>
                      </a:lnTo>
                      <a:lnTo>
                        <a:pt x="382" y="126"/>
                      </a:lnTo>
                      <a:lnTo>
                        <a:pt x="383" y="129"/>
                      </a:lnTo>
                      <a:lnTo>
                        <a:pt x="384" y="132"/>
                      </a:lnTo>
                      <a:lnTo>
                        <a:pt x="386" y="134"/>
                      </a:lnTo>
                      <a:lnTo>
                        <a:pt x="389" y="136"/>
                      </a:lnTo>
                      <a:lnTo>
                        <a:pt x="393" y="138"/>
                      </a:lnTo>
                      <a:lnTo>
                        <a:pt x="397" y="140"/>
                      </a:lnTo>
                      <a:lnTo>
                        <a:pt x="403" y="142"/>
                      </a:lnTo>
                      <a:lnTo>
                        <a:pt x="674" y="142"/>
                      </a:lnTo>
                      <a:lnTo>
                        <a:pt x="674" y="336"/>
                      </a:lnTo>
                      <a:lnTo>
                        <a:pt x="672" y="342"/>
                      </a:lnTo>
                      <a:lnTo>
                        <a:pt x="670" y="346"/>
                      </a:lnTo>
                      <a:lnTo>
                        <a:pt x="668" y="350"/>
                      </a:lnTo>
                      <a:lnTo>
                        <a:pt x="666" y="352"/>
                      </a:lnTo>
                      <a:lnTo>
                        <a:pt x="664" y="355"/>
                      </a:lnTo>
                      <a:lnTo>
                        <a:pt x="661" y="356"/>
                      </a:lnTo>
                      <a:lnTo>
                        <a:pt x="659" y="357"/>
                      </a:lnTo>
                      <a:lnTo>
                        <a:pt x="656" y="357"/>
                      </a:lnTo>
                      <a:lnTo>
                        <a:pt x="653" y="357"/>
                      </a:lnTo>
                      <a:lnTo>
                        <a:pt x="651" y="356"/>
                      </a:lnTo>
                      <a:lnTo>
                        <a:pt x="645" y="353"/>
                      </a:lnTo>
                      <a:lnTo>
                        <a:pt x="639" y="350"/>
                      </a:lnTo>
                      <a:lnTo>
                        <a:pt x="631" y="345"/>
                      </a:lnTo>
                      <a:lnTo>
                        <a:pt x="624" y="340"/>
                      </a:lnTo>
                      <a:lnTo>
                        <a:pt x="617" y="335"/>
                      </a:lnTo>
                      <a:lnTo>
                        <a:pt x="609" y="331"/>
                      </a:lnTo>
                      <a:lnTo>
                        <a:pt x="601" y="328"/>
                      </a:lnTo>
                      <a:lnTo>
                        <a:pt x="597" y="326"/>
                      </a:lnTo>
                      <a:lnTo>
                        <a:pt x="593" y="325"/>
                      </a:lnTo>
                      <a:lnTo>
                        <a:pt x="589" y="325"/>
                      </a:lnTo>
                      <a:lnTo>
                        <a:pt x="585" y="325"/>
                      </a:lnTo>
                      <a:lnTo>
                        <a:pt x="580" y="326"/>
                      </a:lnTo>
                      <a:lnTo>
                        <a:pt x="576" y="327"/>
                      </a:lnTo>
                      <a:lnTo>
                        <a:pt x="571" y="329"/>
                      </a:lnTo>
                      <a:lnTo>
                        <a:pt x="566" y="332"/>
                      </a:lnTo>
                      <a:lnTo>
                        <a:pt x="562" y="334"/>
                      </a:lnTo>
                      <a:lnTo>
                        <a:pt x="559" y="337"/>
                      </a:lnTo>
                      <a:lnTo>
                        <a:pt x="555" y="341"/>
                      </a:lnTo>
                      <a:lnTo>
                        <a:pt x="552" y="344"/>
                      </a:lnTo>
                      <a:lnTo>
                        <a:pt x="546" y="352"/>
                      </a:lnTo>
                      <a:lnTo>
                        <a:pt x="541" y="361"/>
                      </a:lnTo>
                      <a:lnTo>
                        <a:pt x="539" y="366"/>
                      </a:lnTo>
                      <a:lnTo>
                        <a:pt x="537" y="371"/>
                      </a:lnTo>
                      <a:lnTo>
                        <a:pt x="534" y="382"/>
                      </a:lnTo>
                      <a:lnTo>
                        <a:pt x="533" y="392"/>
                      </a:lnTo>
                      <a:lnTo>
                        <a:pt x="532" y="397"/>
                      </a:lnTo>
                      <a:lnTo>
                        <a:pt x="532" y="403"/>
                      </a:lnTo>
                      <a:lnTo>
                        <a:pt x="532" y="414"/>
                      </a:lnTo>
                      <a:lnTo>
                        <a:pt x="533" y="424"/>
                      </a:lnTo>
                      <a:lnTo>
                        <a:pt x="536" y="435"/>
                      </a:lnTo>
                      <a:lnTo>
                        <a:pt x="539" y="446"/>
                      </a:lnTo>
                      <a:lnTo>
                        <a:pt x="541" y="450"/>
                      </a:lnTo>
                      <a:lnTo>
                        <a:pt x="544" y="455"/>
                      </a:lnTo>
                      <a:lnTo>
                        <a:pt x="546" y="459"/>
                      </a:lnTo>
                      <a:lnTo>
                        <a:pt x="550" y="463"/>
                      </a:lnTo>
                      <a:lnTo>
                        <a:pt x="554" y="467"/>
                      </a:lnTo>
                      <a:lnTo>
                        <a:pt x="557" y="471"/>
                      </a:lnTo>
                      <a:lnTo>
                        <a:pt x="561" y="475"/>
                      </a:lnTo>
                      <a:lnTo>
                        <a:pt x="565" y="478"/>
                      </a:lnTo>
                      <a:lnTo>
                        <a:pt x="570" y="480"/>
                      </a:lnTo>
                      <a:lnTo>
                        <a:pt x="574" y="482"/>
                      </a:lnTo>
                      <a:lnTo>
                        <a:pt x="578" y="483"/>
                      </a:lnTo>
                      <a:lnTo>
                        <a:pt x="583" y="484"/>
                      </a:lnTo>
                      <a:lnTo>
                        <a:pt x="587" y="484"/>
                      </a:lnTo>
                      <a:lnTo>
                        <a:pt x="591" y="484"/>
                      </a:lnTo>
                      <a:lnTo>
                        <a:pt x="599" y="481"/>
                      </a:lnTo>
                      <a:lnTo>
                        <a:pt x="603" y="480"/>
                      </a:lnTo>
                      <a:lnTo>
                        <a:pt x="607" y="477"/>
                      </a:lnTo>
                      <a:lnTo>
                        <a:pt x="615" y="473"/>
                      </a:lnTo>
                      <a:lnTo>
                        <a:pt x="630" y="462"/>
                      </a:lnTo>
                      <a:lnTo>
                        <a:pt x="638" y="457"/>
                      </a:lnTo>
                      <a:lnTo>
                        <a:pt x="644" y="453"/>
                      </a:lnTo>
                      <a:lnTo>
                        <a:pt x="647" y="452"/>
                      </a:lnTo>
                      <a:lnTo>
                        <a:pt x="650" y="450"/>
                      </a:lnTo>
                      <a:lnTo>
                        <a:pt x="653" y="450"/>
                      </a:lnTo>
                      <a:lnTo>
                        <a:pt x="656" y="449"/>
                      </a:lnTo>
                      <a:lnTo>
                        <a:pt x="659" y="450"/>
                      </a:lnTo>
                      <a:lnTo>
                        <a:pt x="661" y="450"/>
                      </a:lnTo>
                      <a:lnTo>
                        <a:pt x="664" y="452"/>
                      </a:lnTo>
                      <a:lnTo>
                        <a:pt x="666" y="454"/>
                      </a:lnTo>
                      <a:lnTo>
                        <a:pt x="668" y="457"/>
                      </a:lnTo>
                      <a:lnTo>
                        <a:pt x="671" y="461"/>
                      </a:lnTo>
                      <a:lnTo>
                        <a:pt x="673" y="465"/>
                      </a:lnTo>
                      <a:lnTo>
                        <a:pt x="674" y="471"/>
                      </a:lnTo>
                      <a:lnTo>
                        <a:pt x="674" y="667"/>
                      </a:lnTo>
                      <a:lnTo>
                        <a:pt x="0" y="667"/>
                      </a:lnTo>
                      <a:lnTo>
                        <a:pt x="0" y="142"/>
                      </a:lnTo>
                      <a:close/>
                    </a:path>
                  </a:pathLst>
                </a:custGeom>
                <a:solidFill>
                  <a:srgbClr val="FFFFFF"/>
                </a:solidFill>
                <a:ln w="9525" cap="flat" cmpd="sng">
                  <a:solidFill>
                    <a:srgbClr val="0097A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600"/>
                    </a:spcBef>
                    <a:spcAft>
                      <a:spcPts val="0"/>
                    </a:spcAft>
                    <a:buClr>
                      <a:srgbClr val="000000"/>
                    </a:buClr>
                    <a:buSzPts val="1300"/>
                    <a:buFont typeface="Arial"/>
                    <a:buNone/>
                  </a:pPr>
                  <a:endParaRPr sz="1300" b="0" i="0" u="none" strike="noStrike" cap="none">
                    <a:solidFill>
                      <a:srgbClr val="000000"/>
                    </a:solidFill>
                    <a:latin typeface="Arial"/>
                    <a:ea typeface="Arial"/>
                    <a:cs typeface="Arial"/>
                    <a:sym typeface="Arial"/>
                  </a:endParaRPr>
                </a:p>
                <a:p>
                  <a:pPr marL="0" marR="0" lvl="0" indent="0" algn="l" rtl="0">
                    <a:lnSpc>
                      <a:spcPct val="100000"/>
                    </a:lnSpc>
                    <a:spcBef>
                      <a:spcPts val="600"/>
                    </a:spcBef>
                    <a:spcAft>
                      <a:spcPts val="0"/>
                    </a:spcAft>
                    <a:buClr>
                      <a:srgbClr val="000000"/>
                    </a:buClr>
                    <a:buSzPts val="1300"/>
                    <a:buFont typeface="Arial"/>
                    <a:buNone/>
                  </a:pPr>
                  <a:endParaRPr sz="1300" b="0" i="0" u="none" strike="noStrike" cap="none">
                    <a:solidFill>
                      <a:srgbClr val="000000"/>
                    </a:solidFill>
                    <a:latin typeface="Arial"/>
                    <a:ea typeface="Arial"/>
                    <a:cs typeface="Arial"/>
                    <a:sym typeface="Arial"/>
                  </a:endParaRPr>
                </a:p>
                <a:p>
                  <a:pPr marL="0" marR="0" lvl="0" indent="0" algn="l" rtl="0">
                    <a:lnSpc>
                      <a:spcPct val="100000"/>
                    </a:lnSpc>
                    <a:spcBef>
                      <a:spcPts val="600"/>
                    </a:spcBef>
                    <a:spcAft>
                      <a:spcPts val="0"/>
                    </a:spcAft>
                    <a:buClr>
                      <a:srgbClr val="000000"/>
                    </a:buClr>
                    <a:buSzPts val="1800"/>
                    <a:buFont typeface="Arial"/>
                    <a:buNone/>
                  </a:pPr>
                  <a:r>
                    <a:rPr lang="es-ES" sz="1800" b="0" i="0" u="none" strike="noStrike" cap="none">
                      <a:solidFill>
                        <a:schemeClr val="dk1"/>
                      </a:solidFill>
                      <a:latin typeface="Playfair Display"/>
                      <a:ea typeface="Playfair Display"/>
                      <a:cs typeface="Playfair Display"/>
                      <a:sym typeface="Playfair Display"/>
                    </a:rPr>
                    <a:t>Ayuda al ciudadano</a:t>
                  </a:r>
                  <a:endParaRPr sz="1400" b="0" i="0" u="none" strike="noStrike" cap="none">
                    <a:solidFill>
                      <a:srgbClr val="000000"/>
                    </a:solidFill>
                    <a:latin typeface="Arial"/>
                    <a:ea typeface="Arial"/>
                    <a:cs typeface="Arial"/>
                    <a:sym typeface="Arial"/>
                  </a:endParaRPr>
                </a:p>
                <a:p>
                  <a:pPr marL="179998" marR="0" lvl="0" indent="-171450" algn="l" rtl="0">
                    <a:lnSpc>
                      <a:spcPct val="100000"/>
                    </a:lnSpc>
                    <a:spcBef>
                      <a:spcPts val="600"/>
                    </a:spcBef>
                    <a:spcAft>
                      <a:spcPts val="0"/>
                    </a:spcAft>
                    <a:buClr>
                      <a:srgbClr val="000000"/>
                    </a:buClr>
                    <a:buSzPts val="1200"/>
                    <a:buFont typeface="Arial"/>
                    <a:buChar char="●"/>
                  </a:pPr>
                  <a:r>
                    <a:rPr lang="es-ES" sz="1400" b="0" i="0" u="none" strike="noStrike" cap="none">
                      <a:solidFill>
                        <a:srgbClr val="000000"/>
                      </a:solidFill>
                      <a:latin typeface="Arial"/>
                      <a:ea typeface="Arial"/>
                      <a:cs typeface="Arial"/>
                      <a:sym typeface="Arial"/>
                    </a:rPr>
                    <a:t>Recomendaciones de higiene genéricas</a:t>
                  </a:r>
                  <a:endParaRPr sz="1400" b="0" i="0" u="none" strike="noStrike" cap="none">
                    <a:solidFill>
                      <a:srgbClr val="000000"/>
                    </a:solidFill>
                    <a:latin typeface="Arial"/>
                    <a:ea typeface="Arial"/>
                    <a:cs typeface="Arial"/>
                    <a:sym typeface="Arial"/>
                  </a:endParaRPr>
                </a:p>
                <a:p>
                  <a:pPr marL="179998" marR="0" lvl="0" indent="-171450" algn="l" rtl="0">
                    <a:lnSpc>
                      <a:spcPct val="100000"/>
                    </a:lnSpc>
                    <a:spcBef>
                      <a:spcPts val="600"/>
                    </a:spcBef>
                    <a:spcAft>
                      <a:spcPts val="0"/>
                    </a:spcAft>
                    <a:buClr>
                      <a:srgbClr val="000000"/>
                    </a:buClr>
                    <a:buSzPts val="1200"/>
                    <a:buFont typeface="Arial"/>
                    <a:buChar char="●"/>
                  </a:pPr>
                  <a:r>
                    <a:rPr lang="es-ES" sz="1400" b="0" i="0" u="none" strike="noStrike" cap="none">
                      <a:solidFill>
                        <a:srgbClr val="000000"/>
                      </a:solidFill>
                      <a:latin typeface="Arial"/>
                      <a:ea typeface="Arial"/>
                      <a:cs typeface="Arial"/>
                      <a:sym typeface="Arial"/>
                    </a:rPr>
                    <a:t>Helpline</a:t>
                  </a:r>
                  <a:endParaRPr sz="1400" b="0" i="0" u="none" strike="noStrike" cap="none">
                    <a:solidFill>
                      <a:srgbClr val="000000"/>
                    </a:solidFill>
                    <a:latin typeface="Arial"/>
                    <a:ea typeface="Arial"/>
                    <a:cs typeface="Arial"/>
                    <a:sym typeface="Arial"/>
                  </a:endParaRPr>
                </a:p>
                <a:p>
                  <a:pPr marL="179998" marR="0" lvl="0" indent="-171450" algn="l" rtl="0">
                    <a:lnSpc>
                      <a:spcPct val="100000"/>
                    </a:lnSpc>
                    <a:spcBef>
                      <a:spcPts val="600"/>
                    </a:spcBef>
                    <a:spcAft>
                      <a:spcPts val="0"/>
                    </a:spcAft>
                    <a:buClr>
                      <a:srgbClr val="000000"/>
                    </a:buClr>
                    <a:buSzPts val="1200"/>
                    <a:buFont typeface="Arial"/>
                    <a:buChar char="●"/>
                  </a:pPr>
                  <a:r>
                    <a:rPr lang="es-ES" sz="1400" b="0" i="0" u="none" strike="noStrike" cap="none">
                      <a:solidFill>
                        <a:srgbClr val="000000"/>
                      </a:solidFill>
                      <a:latin typeface="Arial"/>
                      <a:ea typeface="Arial"/>
                      <a:cs typeface="Arial"/>
                      <a:sym typeface="Arial"/>
                    </a:rPr>
                    <a:t>Recomendaciones de cuidado </a:t>
                  </a:r>
                  <a:endParaRPr sz="1400" b="0" i="0" u="none" strike="noStrike" cap="none">
                    <a:solidFill>
                      <a:srgbClr val="000000"/>
                    </a:solidFill>
                    <a:latin typeface="Arial"/>
                    <a:ea typeface="Arial"/>
                    <a:cs typeface="Arial"/>
                    <a:sym typeface="Arial"/>
                  </a:endParaRPr>
                </a:p>
                <a:p>
                  <a:pPr marL="179999" marR="0" lvl="0" indent="0" algn="l" rtl="0">
                    <a:lnSpc>
                      <a:spcPct val="100000"/>
                    </a:lnSpc>
                    <a:spcBef>
                      <a:spcPts val="600"/>
                    </a:spcBef>
                    <a:spcAft>
                      <a:spcPts val="0"/>
                    </a:spcAft>
                    <a:buClr>
                      <a:srgbClr val="000000"/>
                    </a:buClr>
                    <a:buSzPts val="1400"/>
                    <a:buFont typeface="Arial"/>
                    <a:buNone/>
                  </a:pPr>
                  <a:r>
                    <a:rPr lang="es-ES" sz="1400" b="0" i="0" u="none" strike="noStrike" cap="none">
                      <a:solidFill>
                        <a:srgbClr val="000000"/>
                      </a:solidFill>
                      <a:latin typeface="Arial"/>
                      <a:ea typeface="Arial"/>
                      <a:cs typeface="Arial"/>
                      <a:sym typeface="Arial"/>
                    </a:rPr>
                    <a:t>para contagiados confirmados</a:t>
                  </a:r>
                  <a:endParaRPr sz="1400" b="0" i="0" u="none" strike="noStrike" cap="none">
                    <a:solidFill>
                      <a:srgbClr val="000000"/>
                    </a:solidFill>
                    <a:latin typeface="Arial"/>
                    <a:ea typeface="Arial"/>
                    <a:cs typeface="Arial"/>
                    <a:sym typeface="Arial"/>
                  </a:endParaRPr>
                </a:p>
              </p:txBody>
            </p:sp>
            <p:sp>
              <p:nvSpPr>
                <p:cNvPr id="820" name="Google Shape;820;g7826bb8c5e_0_2554"/>
                <p:cNvSpPr/>
                <p:nvPr/>
              </p:nvSpPr>
              <p:spPr>
                <a:xfrm>
                  <a:off x="3383" y="1856"/>
                  <a:ext cx="691" cy="709"/>
                </a:xfrm>
                <a:custGeom>
                  <a:avLst/>
                  <a:gdLst/>
                  <a:ahLst/>
                  <a:cxnLst/>
                  <a:rect l="l" t="t" r="r" b="b"/>
                  <a:pathLst>
                    <a:path w="674" h="525" extrusionOk="0">
                      <a:moveTo>
                        <a:pt x="0" y="0"/>
                      </a:moveTo>
                      <a:lnTo>
                        <a:pt x="674" y="0"/>
                      </a:lnTo>
                      <a:lnTo>
                        <a:pt x="674" y="196"/>
                      </a:lnTo>
                      <a:lnTo>
                        <a:pt x="672" y="201"/>
                      </a:lnTo>
                      <a:lnTo>
                        <a:pt x="670" y="205"/>
                      </a:lnTo>
                      <a:lnTo>
                        <a:pt x="668" y="208"/>
                      </a:lnTo>
                      <a:lnTo>
                        <a:pt x="666" y="211"/>
                      </a:lnTo>
                      <a:lnTo>
                        <a:pt x="664" y="213"/>
                      </a:lnTo>
                      <a:lnTo>
                        <a:pt x="661" y="214"/>
                      </a:lnTo>
                      <a:lnTo>
                        <a:pt x="659" y="215"/>
                      </a:lnTo>
                      <a:lnTo>
                        <a:pt x="656" y="215"/>
                      </a:lnTo>
                      <a:lnTo>
                        <a:pt x="653" y="215"/>
                      </a:lnTo>
                      <a:lnTo>
                        <a:pt x="651" y="214"/>
                      </a:lnTo>
                      <a:lnTo>
                        <a:pt x="645" y="211"/>
                      </a:lnTo>
                      <a:lnTo>
                        <a:pt x="639" y="207"/>
                      </a:lnTo>
                      <a:lnTo>
                        <a:pt x="631" y="203"/>
                      </a:lnTo>
                      <a:lnTo>
                        <a:pt x="617" y="193"/>
                      </a:lnTo>
                      <a:lnTo>
                        <a:pt x="609" y="189"/>
                      </a:lnTo>
                      <a:lnTo>
                        <a:pt x="606" y="187"/>
                      </a:lnTo>
                      <a:lnTo>
                        <a:pt x="602" y="185"/>
                      </a:lnTo>
                      <a:lnTo>
                        <a:pt x="598" y="184"/>
                      </a:lnTo>
                      <a:lnTo>
                        <a:pt x="593" y="183"/>
                      </a:lnTo>
                      <a:lnTo>
                        <a:pt x="589" y="183"/>
                      </a:lnTo>
                      <a:lnTo>
                        <a:pt x="585" y="183"/>
                      </a:lnTo>
                      <a:lnTo>
                        <a:pt x="580" y="184"/>
                      </a:lnTo>
                      <a:lnTo>
                        <a:pt x="576" y="185"/>
                      </a:lnTo>
                      <a:lnTo>
                        <a:pt x="571" y="187"/>
                      </a:lnTo>
                      <a:lnTo>
                        <a:pt x="567" y="190"/>
                      </a:lnTo>
                      <a:lnTo>
                        <a:pt x="563" y="192"/>
                      </a:lnTo>
                      <a:lnTo>
                        <a:pt x="559" y="195"/>
                      </a:lnTo>
                      <a:lnTo>
                        <a:pt x="556" y="199"/>
                      </a:lnTo>
                      <a:lnTo>
                        <a:pt x="553" y="202"/>
                      </a:lnTo>
                      <a:lnTo>
                        <a:pt x="546" y="210"/>
                      </a:lnTo>
                      <a:lnTo>
                        <a:pt x="541" y="219"/>
                      </a:lnTo>
                      <a:lnTo>
                        <a:pt x="539" y="224"/>
                      </a:lnTo>
                      <a:lnTo>
                        <a:pt x="538" y="229"/>
                      </a:lnTo>
                      <a:lnTo>
                        <a:pt x="535" y="240"/>
                      </a:lnTo>
                      <a:lnTo>
                        <a:pt x="533" y="250"/>
                      </a:lnTo>
                      <a:lnTo>
                        <a:pt x="532" y="255"/>
                      </a:lnTo>
                      <a:lnTo>
                        <a:pt x="532" y="261"/>
                      </a:lnTo>
                      <a:lnTo>
                        <a:pt x="532" y="272"/>
                      </a:lnTo>
                      <a:lnTo>
                        <a:pt x="534" y="282"/>
                      </a:lnTo>
                      <a:lnTo>
                        <a:pt x="536" y="293"/>
                      </a:lnTo>
                      <a:lnTo>
                        <a:pt x="540" y="304"/>
                      </a:lnTo>
                      <a:lnTo>
                        <a:pt x="542" y="308"/>
                      </a:lnTo>
                      <a:lnTo>
                        <a:pt x="544" y="313"/>
                      </a:lnTo>
                      <a:lnTo>
                        <a:pt x="547" y="317"/>
                      </a:lnTo>
                      <a:lnTo>
                        <a:pt x="551" y="321"/>
                      </a:lnTo>
                      <a:lnTo>
                        <a:pt x="554" y="325"/>
                      </a:lnTo>
                      <a:lnTo>
                        <a:pt x="558" y="329"/>
                      </a:lnTo>
                      <a:lnTo>
                        <a:pt x="562" y="332"/>
                      </a:lnTo>
                      <a:lnTo>
                        <a:pt x="566" y="336"/>
                      </a:lnTo>
                      <a:lnTo>
                        <a:pt x="570" y="338"/>
                      </a:lnTo>
                      <a:lnTo>
                        <a:pt x="574" y="340"/>
                      </a:lnTo>
                      <a:lnTo>
                        <a:pt x="579" y="341"/>
                      </a:lnTo>
                      <a:lnTo>
                        <a:pt x="583" y="342"/>
                      </a:lnTo>
                      <a:lnTo>
                        <a:pt x="587" y="342"/>
                      </a:lnTo>
                      <a:lnTo>
                        <a:pt x="591" y="342"/>
                      </a:lnTo>
                      <a:lnTo>
                        <a:pt x="600" y="339"/>
                      </a:lnTo>
                      <a:lnTo>
                        <a:pt x="607" y="336"/>
                      </a:lnTo>
                      <a:lnTo>
                        <a:pt x="615" y="331"/>
                      </a:lnTo>
                      <a:lnTo>
                        <a:pt x="623" y="326"/>
                      </a:lnTo>
                      <a:lnTo>
                        <a:pt x="630" y="320"/>
                      </a:lnTo>
                      <a:lnTo>
                        <a:pt x="638" y="316"/>
                      </a:lnTo>
                      <a:lnTo>
                        <a:pt x="644" y="311"/>
                      </a:lnTo>
                      <a:lnTo>
                        <a:pt x="650" y="309"/>
                      </a:lnTo>
                      <a:lnTo>
                        <a:pt x="653" y="308"/>
                      </a:lnTo>
                      <a:lnTo>
                        <a:pt x="656" y="307"/>
                      </a:lnTo>
                      <a:lnTo>
                        <a:pt x="661" y="308"/>
                      </a:lnTo>
                      <a:lnTo>
                        <a:pt x="664" y="309"/>
                      </a:lnTo>
                      <a:lnTo>
                        <a:pt x="666" y="312"/>
                      </a:lnTo>
                      <a:lnTo>
                        <a:pt x="668" y="314"/>
                      </a:lnTo>
                      <a:lnTo>
                        <a:pt x="670" y="318"/>
                      </a:lnTo>
                      <a:lnTo>
                        <a:pt x="672" y="322"/>
                      </a:lnTo>
                      <a:lnTo>
                        <a:pt x="674" y="328"/>
                      </a:lnTo>
                      <a:lnTo>
                        <a:pt x="674" y="525"/>
                      </a:lnTo>
                      <a:lnTo>
                        <a:pt x="403" y="525"/>
                      </a:lnTo>
                      <a:lnTo>
                        <a:pt x="393" y="521"/>
                      </a:lnTo>
                      <a:lnTo>
                        <a:pt x="390" y="519"/>
                      </a:lnTo>
                      <a:lnTo>
                        <a:pt x="387" y="517"/>
                      </a:lnTo>
                      <a:lnTo>
                        <a:pt x="384" y="515"/>
                      </a:lnTo>
                      <a:lnTo>
                        <a:pt x="383" y="512"/>
                      </a:lnTo>
                      <a:lnTo>
                        <a:pt x="382" y="509"/>
                      </a:lnTo>
                      <a:lnTo>
                        <a:pt x="382" y="507"/>
                      </a:lnTo>
                      <a:lnTo>
                        <a:pt x="382" y="504"/>
                      </a:lnTo>
                      <a:lnTo>
                        <a:pt x="383" y="501"/>
                      </a:lnTo>
                      <a:lnTo>
                        <a:pt x="386" y="495"/>
                      </a:lnTo>
                      <a:lnTo>
                        <a:pt x="390" y="487"/>
                      </a:lnTo>
                      <a:lnTo>
                        <a:pt x="395" y="481"/>
                      </a:lnTo>
                      <a:lnTo>
                        <a:pt x="400" y="473"/>
                      </a:lnTo>
                      <a:lnTo>
                        <a:pt x="405" y="466"/>
                      </a:lnTo>
                      <a:lnTo>
                        <a:pt x="410" y="458"/>
                      </a:lnTo>
                      <a:lnTo>
                        <a:pt x="414" y="450"/>
                      </a:lnTo>
                      <a:lnTo>
                        <a:pt x="416" y="442"/>
                      </a:lnTo>
                      <a:lnTo>
                        <a:pt x="417" y="438"/>
                      </a:lnTo>
                      <a:lnTo>
                        <a:pt x="417" y="433"/>
                      </a:lnTo>
                      <a:lnTo>
                        <a:pt x="416" y="429"/>
                      </a:lnTo>
                      <a:lnTo>
                        <a:pt x="415" y="424"/>
                      </a:lnTo>
                      <a:lnTo>
                        <a:pt x="413" y="419"/>
                      </a:lnTo>
                      <a:lnTo>
                        <a:pt x="410" y="415"/>
                      </a:lnTo>
                      <a:lnTo>
                        <a:pt x="404" y="407"/>
                      </a:lnTo>
                      <a:lnTo>
                        <a:pt x="400" y="404"/>
                      </a:lnTo>
                      <a:lnTo>
                        <a:pt x="396" y="400"/>
                      </a:lnTo>
                      <a:lnTo>
                        <a:pt x="388" y="395"/>
                      </a:lnTo>
                      <a:lnTo>
                        <a:pt x="383" y="392"/>
                      </a:lnTo>
                      <a:lnTo>
                        <a:pt x="377" y="390"/>
                      </a:lnTo>
                      <a:lnTo>
                        <a:pt x="367" y="387"/>
                      </a:lnTo>
                      <a:lnTo>
                        <a:pt x="362" y="385"/>
                      </a:lnTo>
                      <a:lnTo>
                        <a:pt x="357" y="384"/>
                      </a:lnTo>
                      <a:lnTo>
                        <a:pt x="346" y="383"/>
                      </a:lnTo>
                      <a:lnTo>
                        <a:pt x="335" y="383"/>
                      </a:lnTo>
                      <a:lnTo>
                        <a:pt x="325" y="383"/>
                      </a:lnTo>
                      <a:lnTo>
                        <a:pt x="314" y="385"/>
                      </a:lnTo>
                      <a:lnTo>
                        <a:pt x="304" y="388"/>
                      </a:lnTo>
                      <a:lnTo>
                        <a:pt x="299" y="390"/>
                      </a:lnTo>
                      <a:lnTo>
                        <a:pt x="294" y="392"/>
                      </a:lnTo>
                      <a:lnTo>
                        <a:pt x="285" y="396"/>
                      </a:lnTo>
                      <a:lnTo>
                        <a:pt x="281" y="399"/>
                      </a:lnTo>
                      <a:lnTo>
                        <a:pt x="277" y="402"/>
                      </a:lnTo>
                      <a:lnTo>
                        <a:pt x="270" y="409"/>
                      </a:lnTo>
                      <a:lnTo>
                        <a:pt x="267" y="412"/>
                      </a:lnTo>
                      <a:lnTo>
                        <a:pt x="264" y="416"/>
                      </a:lnTo>
                      <a:lnTo>
                        <a:pt x="262" y="421"/>
                      </a:lnTo>
                      <a:lnTo>
                        <a:pt x="260" y="425"/>
                      </a:lnTo>
                      <a:lnTo>
                        <a:pt x="259" y="431"/>
                      </a:lnTo>
                      <a:lnTo>
                        <a:pt x="258" y="435"/>
                      </a:lnTo>
                      <a:lnTo>
                        <a:pt x="258" y="440"/>
                      </a:lnTo>
                      <a:lnTo>
                        <a:pt x="258" y="444"/>
                      </a:lnTo>
                      <a:lnTo>
                        <a:pt x="259" y="448"/>
                      </a:lnTo>
                      <a:lnTo>
                        <a:pt x="260" y="452"/>
                      </a:lnTo>
                      <a:lnTo>
                        <a:pt x="263" y="460"/>
                      </a:lnTo>
                      <a:lnTo>
                        <a:pt x="268" y="467"/>
                      </a:lnTo>
                      <a:lnTo>
                        <a:pt x="273" y="475"/>
                      </a:lnTo>
                      <a:lnTo>
                        <a:pt x="277" y="482"/>
                      </a:lnTo>
                      <a:lnTo>
                        <a:pt x="282" y="488"/>
                      </a:lnTo>
                      <a:lnTo>
                        <a:pt x="286" y="495"/>
                      </a:lnTo>
                      <a:lnTo>
                        <a:pt x="288" y="501"/>
                      </a:lnTo>
                      <a:lnTo>
                        <a:pt x="289" y="504"/>
                      </a:lnTo>
                      <a:lnTo>
                        <a:pt x="289" y="507"/>
                      </a:lnTo>
                      <a:lnTo>
                        <a:pt x="289" y="509"/>
                      </a:lnTo>
                      <a:lnTo>
                        <a:pt x="288" y="512"/>
                      </a:lnTo>
                      <a:lnTo>
                        <a:pt x="287" y="514"/>
                      </a:lnTo>
                      <a:lnTo>
                        <a:pt x="285" y="517"/>
                      </a:lnTo>
                      <a:lnTo>
                        <a:pt x="282" y="519"/>
                      </a:lnTo>
                      <a:lnTo>
                        <a:pt x="279" y="521"/>
                      </a:lnTo>
                      <a:lnTo>
                        <a:pt x="274" y="523"/>
                      </a:lnTo>
                      <a:lnTo>
                        <a:pt x="269" y="525"/>
                      </a:lnTo>
                      <a:lnTo>
                        <a:pt x="0" y="525"/>
                      </a:lnTo>
                      <a:lnTo>
                        <a:pt x="0" y="0"/>
                      </a:lnTo>
                      <a:close/>
                    </a:path>
                  </a:pathLst>
                </a:custGeom>
                <a:solidFill>
                  <a:schemeClr val="accent4"/>
                </a:solidFill>
                <a:ln w="9525" cap="flat" cmpd="sng">
                  <a:solidFill>
                    <a:srgbClr val="0097A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600"/>
                    </a:spcBef>
                    <a:spcAft>
                      <a:spcPts val="0"/>
                    </a:spcAft>
                    <a:buClr>
                      <a:srgbClr val="000000"/>
                    </a:buClr>
                    <a:buSzPts val="1800"/>
                    <a:buFont typeface="Arial"/>
                    <a:buNone/>
                  </a:pPr>
                  <a:r>
                    <a:rPr lang="es-ES" sz="1800" b="0" i="0" u="none" strike="noStrike" cap="none">
                      <a:solidFill>
                        <a:schemeClr val="dk1"/>
                      </a:solidFill>
                      <a:latin typeface="Playfair Display"/>
                      <a:ea typeface="Playfair Display"/>
                      <a:cs typeface="Playfair Display"/>
                      <a:sym typeface="Playfair Display"/>
                    </a:rPr>
                    <a:t>Usabilidad</a:t>
                  </a:r>
                  <a:endParaRPr sz="1300" b="0" i="0" u="none" strike="noStrike" cap="none">
                    <a:solidFill>
                      <a:schemeClr val="dk1"/>
                    </a:solidFill>
                    <a:latin typeface="Playfair Display"/>
                    <a:ea typeface="Playfair Display"/>
                    <a:cs typeface="Playfair Display"/>
                    <a:sym typeface="Playfair Display"/>
                  </a:endParaRPr>
                </a:p>
                <a:p>
                  <a:pPr marL="179998" marR="0" lvl="0" indent="-171450" algn="l" rtl="0">
                    <a:lnSpc>
                      <a:spcPct val="100000"/>
                    </a:lnSpc>
                    <a:spcBef>
                      <a:spcPts val="600"/>
                    </a:spcBef>
                    <a:spcAft>
                      <a:spcPts val="0"/>
                    </a:spcAft>
                    <a:buClr>
                      <a:srgbClr val="000000"/>
                    </a:buClr>
                    <a:buSzPts val="1200"/>
                    <a:buFont typeface="Arial"/>
                    <a:buChar char="●"/>
                  </a:pPr>
                  <a:r>
                    <a:rPr lang="es-ES" sz="1400" b="0" i="0" u="none" strike="noStrike" cap="none">
                      <a:solidFill>
                        <a:srgbClr val="000000"/>
                      </a:solidFill>
                      <a:latin typeface="Arial"/>
                      <a:ea typeface="Arial"/>
                      <a:cs typeface="Arial"/>
                      <a:sym typeface="Arial"/>
                    </a:rPr>
                    <a:t>Compatible con SDKs nativos de Bluetooth de Google, Apple</a:t>
                  </a:r>
                  <a:endParaRPr sz="1400" b="0" i="0" u="none" strike="noStrike" cap="none">
                    <a:solidFill>
                      <a:srgbClr val="000000"/>
                    </a:solidFill>
                    <a:latin typeface="Arial"/>
                    <a:ea typeface="Arial"/>
                    <a:cs typeface="Arial"/>
                    <a:sym typeface="Arial"/>
                  </a:endParaRPr>
                </a:p>
                <a:p>
                  <a:pPr marL="179998" marR="0" lvl="0" indent="-171450" algn="l" rtl="0">
                    <a:lnSpc>
                      <a:spcPct val="100000"/>
                    </a:lnSpc>
                    <a:spcBef>
                      <a:spcPts val="600"/>
                    </a:spcBef>
                    <a:spcAft>
                      <a:spcPts val="0"/>
                    </a:spcAft>
                    <a:buClr>
                      <a:srgbClr val="000000"/>
                    </a:buClr>
                    <a:buSzPts val="1200"/>
                    <a:buFont typeface="Arial"/>
                    <a:buChar char="●"/>
                  </a:pPr>
                  <a:r>
                    <a:rPr lang="es-ES" sz="1400" b="0" i="0" u="none" strike="noStrike" cap="none">
                      <a:solidFill>
                        <a:srgbClr val="000000"/>
                      </a:solidFill>
                      <a:latin typeface="Arial"/>
                      <a:ea typeface="Arial"/>
                      <a:cs typeface="Arial"/>
                      <a:sym typeface="Arial"/>
                    </a:rPr>
                    <a:t>Onboarding explicativo</a:t>
                  </a:r>
                  <a:endParaRPr sz="1400" b="0" i="0" u="none" strike="noStrike" cap="none">
                    <a:solidFill>
                      <a:srgbClr val="FF0000"/>
                    </a:solidFill>
                    <a:latin typeface="Arial"/>
                    <a:ea typeface="Arial"/>
                    <a:cs typeface="Arial"/>
                    <a:sym typeface="Arial"/>
                  </a:endParaRPr>
                </a:p>
              </p:txBody>
            </p:sp>
          </p:grpSp>
        </p:grpSp>
        <p:grpSp>
          <p:nvGrpSpPr>
            <p:cNvPr id="821" name="Google Shape;821;g7826bb8c5e_0_2554"/>
            <p:cNvGrpSpPr/>
            <p:nvPr/>
          </p:nvGrpSpPr>
          <p:grpSpPr>
            <a:xfrm>
              <a:off x="6446876" y="1540600"/>
              <a:ext cx="2440725" cy="3375500"/>
              <a:chOff x="6446876" y="1388200"/>
              <a:chExt cx="2440725" cy="3375500"/>
            </a:xfrm>
          </p:grpSpPr>
          <p:sp>
            <p:nvSpPr>
              <p:cNvPr id="822" name="Google Shape;822;g7826bb8c5e_0_2554"/>
              <p:cNvSpPr/>
              <p:nvPr/>
            </p:nvSpPr>
            <p:spPr>
              <a:xfrm rot="5400000">
                <a:off x="5979488" y="1855587"/>
                <a:ext cx="3375500" cy="2440725"/>
              </a:xfrm>
              <a:custGeom>
                <a:avLst/>
                <a:gdLst/>
                <a:ahLst/>
                <a:cxnLst/>
                <a:rect l="l" t="t" r="r" b="b"/>
                <a:pathLst>
                  <a:path w="674" h="525" extrusionOk="0">
                    <a:moveTo>
                      <a:pt x="0" y="0"/>
                    </a:moveTo>
                    <a:lnTo>
                      <a:pt x="674" y="0"/>
                    </a:lnTo>
                    <a:lnTo>
                      <a:pt x="674" y="196"/>
                    </a:lnTo>
                    <a:lnTo>
                      <a:pt x="672" y="201"/>
                    </a:lnTo>
                    <a:lnTo>
                      <a:pt x="670" y="205"/>
                    </a:lnTo>
                    <a:lnTo>
                      <a:pt x="668" y="208"/>
                    </a:lnTo>
                    <a:lnTo>
                      <a:pt x="666" y="211"/>
                    </a:lnTo>
                    <a:lnTo>
                      <a:pt x="664" y="213"/>
                    </a:lnTo>
                    <a:lnTo>
                      <a:pt x="661" y="214"/>
                    </a:lnTo>
                    <a:lnTo>
                      <a:pt x="659" y="215"/>
                    </a:lnTo>
                    <a:lnTo>
                      <a:pt x="656" y="215"/>
                    </a:lnTo>
                    <a:lnTo>
                      <a:pt x="653" y="215"/>
                    </a:lnTo>
                    <a:lnTo>
                      <a:pt x="651" y="214"/>
                    </a:lnTo>
                    <a:lnTo>
                      <a:pt x="645" y="211"/>
                    </a:lnTo>
                    <a:lnTo>
                      <a:pt x="639" y="207"/>
                    </a:lnTo>
                    <a:lnTo>
                      <a:pt x="631" y="203"/>
                    </a:lnTo>
                    <a:lnTo>
                      <a:pt x="617" y="193"/>
                    </a:lnTo>
                    <a:lnTo>
                      <a:pt x="609" y="189"/>
                    </a:lnTo>
                    <a:lnTo>
                      <a:pt x="606" y="187"/>
                    </a:lnTo>
                    <a:lnTo>
                      <a:pt x="602" y="185"/>
                    </a:lnTo>
                    <a:lnTo>
                      <a:pt x="598" y="184"/>
                    </a:lnTo>
                    <a:lnTo>
                      <a:pt x="593" y="183"/>
                    </a:lnTo>
                    <a:lnTo>
                      <a:pt x="589" y="183"/>
                    </a:lnTo>
                    <a:lnTo>
                      <a:pt x="585" y="183"/>
                    </a:lnTo>
                    <a:lnTo>
                      <a:pt x="580" y="184"/>
                    </a:lnTo>
                    <a:lnTo>
                      <a:pt x="576" y="185"/>
                    </a:lnTo>
                    <a:lnTo>
                      <a:pt x="571" y="187"/>
                    </a:lnTo>
                    <a:lnTo>
                      <a:pt x="567" y="190"/>
                    </a:lnTo>
                    <a:lnTo>
                      <a:pt x="563" y="192"/>
                    </a:lnTo>
                    <a:lnTo>
                      <a:pt x="559" y="195"/>
                    </a:lnTo>
                    <a:lnTo>
                      <a:pt x="556" y="199"/>
                    </a:lnTo>
                    <a:lnTo>
                      <a:pt x="553" y="202"/>
                    </a:lnTo>
                    <a:lnTo>
                      <a:pt x="546" y="210"/>
                    </a:lnTo>
                    <a:lnTo>
                      <a:pt x="541" y="219"/>
                    </a:lnTo>
                    <a:lnTo>
                      <a:pt x="539" y="224"/>
                    </a:lnTo>
                    <a:lnTo>
                      <a:pt x="538" y="229"/>
                    </a:lnTo>
                    <a:lnTo>
                      <a:pt x="535" y="240"/>
                    </a:lnTo>
                    <a:lnTo>
                      <a:pt x="533" y="250"/>
                    </a:lnTo>
                    <a:lnTo>
                      <a:pt x="532" y="255"/>
                    </a:lnTo>
                    <a:lnTo>
                      <a:pt x="532" y="261"/>
                    </a:lnTo>
                    <a:lnTo>
                      <a:pt x="532" y="272"/>
                    </a:lnTo>
                    <a:lnTo>
                      <a:pt x="534" y="282"/>
                    </a:lnTo>
                    <a:lnTo>
                      <a:pt x="536" y="293"/>
                    </a:lnTo>
                    <a:lnTo>
                      <a:pt x="540" y="304"/>
                    </a:lnTo>
                    <a:lnTo>
                      <a:pt x="542" y="308"/>
                    </a:lnTo>
                    <a:lnTo>
                      <a:pt x="544" y="313"/>
                    </a:lnTo>
                    <a:lnTo>
                      <a:pt x="547" y="317"/>
                    </a:lnTo>
                    <a:lnTo>
                      <a:pt x="551" y="321"/>
                    </a:lnTo>
                    <a:lnTo>
                      <a:pt x="554" y="325"/>
                    </a:lnTo>
                    <a:lnTo>
                      <a:pt x="558" y="329"/>
                    </a:lnTo>
                    <a:lnTo>
                      <a:pt x="562" y="332"/>
                    </a:lnTo>
                    <a:lnTo>
                      <a:pt x="566" y="336"/>
                    </a:lnTo>
                    <a:lnTo>
                      <a:pt x="570" y="338"/>
                    </a:lnTo>
                    <a:lnTo>
                      <a:pt x="574" y="340"/>
                    </a:lnTo>
                    <a:lnTo>
                      <a:pt x="579" y="341"/>
                    </a:lnTo>
                    <a:lnTo>
                      <a:pt x="583" y="342"/>
                    </a:lnTo>
                    <a:lnTo>
                      <a:pt x="587" y="342"/>
                    </a:lnTo>
                    <a:lnTo>
                      <a:pt x="591" y="342"/>
                    </a:lnTo>
                    <a:lnTo>
                      <a:pt x="600" y="339"/>
                    </a:lnTo>
                    <a:lnTo>
                      <a:pt x="607" y="336"/>
                    </a:lnTo>
                    <a:lnTo>
                      <a:pt x="615" y="331"/>
                    </a:lnTo>
                    <a:lnTo>
                      <a:pt x="623" y="326"/>
                    </a:lnTo>
                    <a:lnTo>
                      <a:pt x="630" y="320"/>
                    </a:lnTo>
                    <a:lnTo>
                      <a:pt x="638" y="316"/>
                    </a:lnTo>
                    <a:lnTo>
                      <a:pt x="644" y="311"/>
                    </a:lnTo>
                    <a:lnTo>
                      <a:pt x="650" y="309"/>
                    </a:lnTo>
                    <a:lnTo>
                      <a:pt x="653" y="308"/>
                    </a:lnTo>
                    <a:lnTo>
                      <a:pt x="656" y="307"/>
                    </a:lnTo>
                    <a:lnTo>
                      <a:pt x="661" y="308"/>
                    </a:lnTo>
                    <a:lnTo>
                      <a:pt x="664" y="309"/>
                    </a:lnTo>
                    <a:lnTo>
                      <a:pt x="666" y="312"/>
                    </a:lnTo>
                    <a:lnTo>
                      <a:pt x="668" y="314"/>
                    </a:lnTo>
                    <a:lnTo>
                      <a:pt x="670" y="318"/>
                    </a:lnTo>
                    <a:lnTo>
                      <a:pt x="672" y="322"/>
                    </a:lnTo>
                    <a:lnTo>
                      <a:pt x="674" y="328"/>
                    </a:lnTo>
                    <a:lnTo>
                      <a:pt x="674" y="525"/>
                    </a:lnTo>
                    <a:lnTo>
                      <a:pt x="403" y="525"/>
                    </a:lnTo>
                    <a:lnTo>
                      <a:pt x="393" y="521"/>
                    </a:lnTo>
                    <a:lnTo>
                      <a:pt x="390" y="519"/>
                    </a:lnTo>
                    <a:lnTo>
                      <a:pt x="387" y="517"/>
                    </a:lnTo>
                    <a:lnTo>
                      <a:pt x="384" y="515"/>
                    </a:lnTo>
                    <a:lnTo>
                      <a:pt x="383" y="512"/>
                    </a:lnTo>
                    <a:lnTo>
                      <a:pt x="382" y="509"/>
                    </a:lnTo>
                    <a:lnTo>
                      <a:pt x="382" y="507"/>
                    </a:lnTo>
                    <a:lnTo>
                      <a:pt x="382" y="504"/>
                    </a:lnTo>
                    <a:lnTo>
                      <a:pt x="383" y="501"/>
                    </a:lnTo>
                    <a:lnTo>
                      <a:pt x="386" y="495"/>
                    </a:lnTo>
                    <a:lnTo>
                      <a:pt x="390" y="487"/>
                    </a:lnTo>
                    <a:lnTo>
                      <a:pt x="395" y="481"/>
                    </a:lnTo>
                    <a:lnTo>
                      <a:pt x="400" y="473"/>
                    </a:lnTo>
                    <a:lnTo>
                      <a:pt x="405" y="466"/>
                    </a:lnTo>
                    <a:lnTo>
                      <a:pt x="410" y="458"/>
                    </a:lnTo>
                    <a:lnTo>
                      <a:pt x="414" y="450"/>
                    </a:lnTo>
                    <a:lnTo>
                      <a:pt x="416" y="442"/>
                    </a:lnTo>
                    <a:lnTo>
                      <a:pt x="417" y="438"/>
                    </a:lnTo>
                    <a:lnTo>
                      <a:pt x="417" y="433"/>
                    </a:lnTo>
                    <a:lnTo>
                      <a:pt x="416" y="429"/>
                    </a:lnTo>
                    <a:lnTo>
                      <a:pt x="415" y="424"/>
                    </a:lnTo>
                    <a:lnTo>
                      <a:pt x="413" y="419"/>
                    </a:lnTo>
                    <a:lnTo>
                      <a:pt x="410" y="415"/>
                    </a:lnTo>
                    <a:lnTo>
                      <a:pt x="404" y="407"/>
                    </a:lnTo>
                    <a:lnTo>
                      <a:pt x="400" y="404"/>
                    </a:lnTo>
                    <a:lnTo>
                      <a:pt x="396" y="400"/>
                    </a:lnTo>
                    <a:lnTo>
                      <a:pt x="388" y="395"/>
                    </a:lnTo>
                    <a:lnTo>
                      <a:pt x="383" y="392"/>
                    </a:lnTo>
                    <a:lnTo>
                      <a:pt x="377" y="390"/>
                    </a:lnTo>
                    <a:lnTo>
                      <a:pt x="367" y="387"/>
                    </a:lnTo>
                    <a:lnTo>
                      <a:pt x="362" y="385"/>
                    </a:lnTo>
                    <a:lnTo>
                      <a:pt x="357" y="384"/>
                    </a:lnTo>
                    <a:lnTo>
                      <a:pt x="346" y="383"/>
                    </a:lnTo>
                    <a:lnTo>
                      <a:pt x="335" y="383"/>
                    </a:lnTo>
                    <a:lnTo>
                      <a:pt x="325" y="383"/>
                    </a:lnTo>
                    <a:lnTo>
                      <a:pt x="314" y="385"/>
                    </a:lnTo>
                    <a:lnTo>
                      <a:pt x="304" y="388"/>
                    </a:lnTo>
                    <a:lnTo>
                      <a:pt x="299" y="390"/>
                    </a:lnTo>
                    <a:lnTo>
                      <a:pt x="294" y="392"/>
                    </a:lnTo>
                    <a:lnTo>
                      <a:pt x="285" y="396"/>
                    </a:lnTo>
                    <a:lnTo>
                      <a:pt x="281" y="399"/>
                    </a:lnTo>
                    <a:lnTo>
                      <a:pt x="277" y="402"/>
                    </a:lnTo>
                    <a:lnTo>
                      <a:pt x="270" y="409"/>
                    </a:lnTo>
                    <a:lnTo>
                      <a:pt x="267" y="412"/>
                    </a:lnTo>
                    <a:lnTo>
                      <a:pt x="264" y="416"/>
                    </a:lnTo>
                    <a:lnTo>
                      <a:pt x="262" y="421"/>
                    </a:lnTo>
                    <a:lnTo>
                      <a:pt x="260" y="425"/>
                    </a:lnTo>
                    <a:lnTo>
                      <a:pt x="259" y="431"/>
                    </a:lnTo>
                    <a:lnTo>
                      <a:pt x="258" y="435"/>
                    </a:lnTo>
                    <a:lnTo>
                      <a:pt x="258" y="440"/>
                    </a:lnTo>
                    <a:lnTo>
                      <a:pt x="258" y="444"/>
                    </a:lnTo>
                    <a:lnTo>
                      <a:pt x="259" y="448"/>
                    </a:lnTo>
                    <a:lnTo>
                      <a:pt x="260" y="452"/>
                    </a:lnTo>
                    <a:lnTo>
                      <a:pt x="263" y="460"/>
                    </a:lnTo>
                    <a:lnTo>
                      <a:pt x="268" y="467"/>
                    </a:lnTo>
                    <a:lnTo>
                      <a:pt x="273" y="475"/>
                    </a:lnTo>
                    <a:lnTo>
                      <a:pt x="277" y="482"/>
                    </a:lnTo>
                    <a:lnTo>
                      <a:pt x="282" y="488"/>
                    </a:lnTo>
                    <a:lnTo>
                      <a:pt x="286" y="495"/>
                    </a:lnTo>
                    <a:lnTo>
                      <a:pt x="288" y="501"/>
                    </a:lnTo>
                    <a:lnTo>
                      <a:pt x="289" y="504"/>
                    </a:lnTo>
                    <a:lnTo>
                      <a:pt x="289" y="507"/>
                    </a:lnTo>
                    <a:lnTo>
                      <a:pt x="289" y="509"/>
                    </a:lnTo>
                    <a:lnTo>
                      <a:pt x="288" y="512"/>
                    </a:lnTo>
                    <a:lnTo>
                      <a:pt x="287" y="514"/>
                    </a:lnTo>
                    <a:lnTo>
                      <a:pt x="285" y="517"/>
                    </a:lnTo>
                    <a:lnTo>
                      <a:pt x="282" y="519"/>
                    </a:lnTo>
                    <a:lnTo>
                      <a:pt x="279" y="521"/>
                    </a:lnTo>
                    <a:lnTo>
                      <a:pt x="274" y="523"/>
                    </a:lnTo>
                    <a:lnTo>
                      <a:pt x="269" y="525"/>
                    </a:lnTo>
                    <a:lnTo>
                      <a:pt x="0" y="525"/>
                    </a:lnTo>
                    <a:lnTo>
                      <a:pt x="0" y="0"/>
                    </a:lnTo>
                    <a:close/>
                  </a:path>
                </a:pathLst>
              </a:custGeom>
              <a:solidFill>
                <a:srgbClr val="FFFFFF"/>
              </a:solidFill>
              <a:ln w="9525" cap="flat" cmpd="sng">
                <a:solidFill>
                  <a:srgbClr val="0097A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00"/>
                  <a:buFont typeface="Arial"/>
                  <a:buNone/>
                </a:pPr>
                <a:endParaRPr sz="1300" b="0" i="0" u="none" strike="noStrike" cap="none">
                  <a:solidFill>
                    <a:srgbClr val="000000"/>
                  </a:solidFill>
                  <a:latin typeface="Arial"/>
                  <a:ea typeface="Arial"/>
                  <a:cs typeface="Arial"/>
                  <a:sym typeface="Arial"/>
                </a:endParaRPr>
              </a:p>
            </p:txBody>
          </p:sp>
          <p:sp>
            <p:nvSpPr>
              <p:cNvPr id="823" name="Google Shape;823;g7826bb8c5e_0_2554"/>
              <p:cNvSpPr txBox="1"/>
              <p:nvPr/>
            </p:nvSpPr>
            <p:spPr>
              <a:xfrm>
                <a:off x="6692375" y="1534300"/>
                <a:ext cx="2018400" cy="4383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800"/>
                  <a:buFont typeface="Arial"/>
                  <a:buNone/>
                </a:pPr>
                <a:r>
                  <a:rPr lang="es-ES" sz="1800" b="0" i="0" u="none" strike="noStrike" cap="none">
                    <a:solidFill>
                      <a:schemeClr val="dk1"/>
                    </a:solidFill>
                    <a:latin typeface="Playfair Display"/>
                    <a:ea typeface="Playfair Display"/>
                    <a:cs typeface="Playfair Display"/>
                    <a:sym typeface="Playfair Display"/>
                  </a:rPr>
                  <a:t>Análisis centralizado</a:t>
                </a:r>
                <a:endParaRPr sz="1800" b="0" i="0" u="none" strike="noStrike" cap="none">
                  <a:solidFill>
                    <a:schemeClr val="dk1"/>
                  </a:solidFill>
                  <a:latin typeface="Playfair Display"/>
                  <a:ea typeface="Playfair Display"/>
                  <a:cs typeface="Playfair Display"/>
                  <a:sym typeface="Playfair Display"/>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Helvetica Neue"/>
                  <a:ea typeface="Helvetica Neue"/>
                  <a:cs typeface="Helvetica Neue"/>
                  <a:sym typeface="Helvetica Neue"/>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Helvetica Neue"/>
                  <a:ea typeface="Helvetica Neue"/>
                  <a:cs typeface="Helvetica Neue"/>
                  <a:sym typeface="Helvetica Neue"/>
                </a:endParaRPr>
              </a:p>
            </p:txBody>
          </p:sp>
        </p:grpSp>
        <p:sp>
          <p:nvSpPr>
            <p:cNvPr id="824" name="Google Shape;824;g7826bb8c5e_0_2554"/>
            <p:cNvSpPr txBox="1"/>
            <p:nvPr/>
          </p:nvSpPr>
          <p:spPr>
            <a:xfrm>
              <a:off x="7058878" y="2116700"/>
              <a:ext cx="1828500" cy="438300"/>
            </a:xfrm>
            <a:prstGeom prst="rect">
              <a:avLst/>
            </a:prstGeom>
            <a:noFill/>
            <a:ln>
              <a:noFill/>
            </a:ln>
          </p:spPr>
          <p:txBody>
            <a:bodyPr spcFirstLastPara="1" wrap="square" lIns="91425" tIns="91425" rIns="91425" bIns="91425" anchor="t" anchorCtr="0">
              <a:noAutofit/>
            </a:bodyPr>
            <a:lstStyle/>
            <a:p>
              <a:pPr marL="266700" marR="0" lvl="0" indent="-171450" algn="l" rtl="0">
                <a:lnSpc>
                  <a:spcPct val="100000"/>
                </a:lnSpc>
                <a:spcBef>
                  <a:spcPts val="600"/>
                </a:spcBef>
                <a:spcAft>
                  <a:spcPts val="0"/>
                </a:spcAft>
                <a:buClr>
                  <a:srgbClr val="000000"/>
                </a:buClr>
                <a:buSzPts val="1300"/>
                <a:buFont typeface="Arial"/>
                <a:buChar char="●"/>
              </a:pPr>
              <a:r>
                <a:rPr lang="es-ES" sz="1400" b="0" i="0" u="none" strike="noStrike" cap="none" dirty="0" smtClean="0">
                  <a:solidFill>
                    <a:srgbClr val="000000"/>
                  </a:solidFill>
                  <a:latin typeface="Arial"/>
                  <a:ea typeface="Arial"/>
                  <a:cs typeface="Arial"/>
                  <a:sym typeface="Arial"/>
                </a:rPr>
                <a:t>Suministro de datos sobre los </a:t>
              </a:r>
              <a:r>
                <a:rPr lang="es-ES" sz="1400" b="1" i="0" u="none" strike="noStrike" cap="none" dirty="0" smtClean="0">
                  <a:solidFill>
                    <a:srgbClr val="000000"/>
                  </a:solidFill>
                  <a:latin typeface="Arial"/>
                  <a:ea typeface="Arial"/>
                  <a:cs typeface="Arial"/>
                  <a:sym typeface="Arial"/>
                </a:rPr>
                <a:t>casos positivos</a:t>
              </a:r>
              <a:endParaRPr sz="1400" b="1" i="0" u="none" strike="noStrike" cap="none" dirty="0">
                <a:solidFill>
                  <a:srgbClr val="000000"/>
                </a:solidFill>
                <a:latin typeface="Arial"/>
                <a:ea typeface="Arial"/>
                <a:cs typeface="Arial"/>
                <a:sym typeface="Arial"/>
              </a:endParaRPr>
            </a:p>
            <a:p>
              <a:pPr marL="266700" marR="0" lvl="0" indent="-171450" algn="l" rtl="0">
                <a:lnSpc>
                  <a:spcPct val="100000"/>
                </a:lnSpc>
                <a:spcBef>
                  <a:spcPts val="600"/>
                </a:spcBef>
                <a:spcAft>
                  <a:spcPts val="0"/>
                </a:spcAft>
                <a:buClr>
                  <a:srgbClr val="000000"/>
                </a:buClr>
                <a:buSzPts val="1200"/>
                <a:buFont typeface="Arial"/>
                <a:buChar char="●"/>
              </a:pPr>
              <a:r>
                <a:rPr lang="es-ES" sz="1400" b="0" i="0" u="none" strike="noStrike" cap="none" dirty="0" err="1">
                  <a:solidFill>
                    <a:srgbClr val="000000"/>
                  </a:solidFill>
                  <a:latin typeface="Arial"/>
                  <a:ea typeface="Arial"/>
                  <a:cs typeface="Arial"/>
                  <a:sym typeface="Arial"/>
                </a:rPr>
                <a:t>Dashboard</a:t>
              </a:r>
              <a:r>
                <a:rPr lang="es-ES" sz="1400" b="0" i="0" u="none" strike="noStrike" cap="none" dirty="0">
                  <a:solidFill>
                    <a:srgbClr val="000000"/>
                  </a:solidFill>
                  <a:latin typeface="Arial"/>
                  <a:ea typeface="Arial"/>
                  <a:cs typeface="Arial"/>
                  <a:sym typeface="Arial"/>
                </a:rPr>
                <a:t> para análisis epidemiológico centralizado y apoyo a la toma de decisiones</a:t>
              </a:r>
              <a:endParaRPr sz="1400" b="0" i="0" u="none" strike="noStrike" cap="none" dirty="0">
                <a:solidFill>
                  <a:srgbClr val="000000"/>
                </a:solidFill>
                <a:latin typeface="Arial"/>
                <a:ea typeface="Arial"/>
                <a:cs typeface="Arial"/>
                <a:sym typeface="Arial"/>
              </a:endParaRPr>
            </a:p>
          </p:txBody>
        </p:sp>
        <p:sp>
          <p:nvSpPr>
            <p:cNvPr id="825" name="Google Shape;825;g7826bb8c5e_0_2554"/>
            <p:cNvSpPr txBox="1"/>
            <p:nvPr/>
          </p:nvSpPr>
          <p:spPr>
            <a:xfrm>
              <a:off x="355950" y="4845950"/>
              <a:ext cx="5730900" cy="284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s-ES" sz="1200" b="0" i="0" u="none" strike="noStrike" cap="none">
                  <a:solidFill>
                    <a:srgbClr val="FFFFFF"/>
                  </a:solidFill>
                  <a:latin typeface="Helvetica Neue"/>
                  <a:ea typeface="Helvetica Neue"/>
                  <a:cs typeface="Helvetica Neue"/>
                  <a:sym typeface="Helvetica Neue"/>
                </a:rPr>
                <a:t>* Pendiente validar modelo</a:t>
              </a:r>
              <a:endParaRPr sz="1200" b="0" i="0" u="none" strike="noStrike" cap="none">
                <a:solidFill>
                  <a:srgbClr val="FFFFFF"/>
                </a:solidFill>
                <a:latin typeface="Helvetica Neue"/>
                <a:ea typeface="Helvetica Neue"/>
                <a:cs typeface="Helvetica Neue"/>
                <a:sym typeface="Helvetica Neue"/>
              </a:endParaRPr>
            </a:p>
          </p:txBody>
        </p:sp>
        <p:sp>
          <p:nvSpPr>
            <p:cNvPr id="826" name="Google Shape;826;g7826bb8c5e_0_2554"/>
            <p:cNvSpPr/>
            <p:nvPr/>
          </p:nvSpPr>
          <p:spPr>
            <a:xfrm rot="2255143">
              <a:off x="8107249" y="1579061"/>
              <a:ext cx="1162231" cy="203656"/>
            </a:xfrm>
            <a:prstGeom prst="rect">
              <a:avLst/>
            </a:prstGeom>
            <a:solidFill>
              <a:srgbClr val="EEEEEE"/>
            </a:solidFill>
            <a:ln w="9525" cap="flat" cmpd="sng">
              <a:solidFill>
                <a:srgbClr val="D8D8D8"/>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100"/>
                <a:buFont typeface="Arial"/>
                <a:buNone/>
              </a:pPr>
              <a:r>
                <a:rPr lang="es-ES" sz="1100" b="0" i="0" u="none" strike="noStrike" cap="none">
                  <a:solidFill>
                    <a:srgbClr val="666666"/>
                  </a:solidFill>
                  <a:latin typeface="Arial"/>
                  <a:ea typeface="Arial"/>
                  <a:cs typeface="Arial"/>
                  <a:sym typeface="Arial"/>
                </a:rPr>
                <a:t>Opcional</a:t>
              </a:r>
              <a:endParaRPr sz="1100" b="0" i="0" u="none" strike="noStrike" cap="none">
                <a:solidFill>
                  <a:srgbClr val="666666"/>
                </a:solidFill>
                <a:latin typeface="Arial"/>
                <a:ea typeface="Arial"/>
                <a:cs typeface="Arial"/>
                <a:sym typeface="Arial"/>
              </a:endParaRPr>
            </a:p>
          </p:txBody>
        </p:sp>
      </p:grpSp>
      <p:sp>
        <p:nvSpPr>
          <p:cNvPr id="827" name="Google Shape;827;g7826bb8c5e_0_2554"/>
          <p:cNvSpPr txBox="1"/>
          <p:nvPr/>
        </p:nvSpPr>
        <p:spPr>
          <a:xfrm>
            <a:off x="1616289" y="6417911"/>
            <a:ext cx="5730900" cy="284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Helvetica Neue"/>
              <a:buNone/>
            </a:pPr>
            <a:r>
              <a:rPr lang="es-ES" sz="1200" b="0" i="0" u="none" strike="noStrike" cap="none">
                <a:solidFill>
                  <a:srgbClr val="000000"/>
                </a:solidFill>
                <a:latin typeface="Helvetica Neue"/>
                <a:ea typeface="Helvetica Neue"/>
                <a:cs typeface="Helvetica Neue"/>
                <a:sym typeface="Helvetica Neue"/>
              </a:rPr>
              <a:t>* Pendiente validar modelo</a:t>
            </a:r>
            <a:endParaRPr sz="1200" b="0" i="0" u="none" strike="noStrike" cap="none">
              <a:solidFill>
                <a:srgbClr val="000000"/>
              </a:solidFill>
              <a:latin typeface="Helvetica Neue"/>
              <a:ea typeface="Helvetica Neue"/>
              <a:cs typeface="Helvetica Neue"/>
              <a:sym typeface="Helvetica Neue"/>
            </a:endParaRPr>
          </a:p>
        </p:txBody>
      </p:sp>
      <p:sp>
        <p:nvSpPr>
          <p:cNvPr id="828" name="Google Shape;828;g7826bb8c5e_0_2554"/>
          <p:cNvSpPr txBox="1">
            <a:spLocks noGrp="1"/>
          </p:cNvSpPr>
          <p:nvPr>
            <p:ph type="body" idx="1"/>
          </p:nvPr>
        </p:nvSpPr>
        <p:spPr>
          <a:xfrm>
            <a:off x="336000" y="128400"/>
            <a:ext cx="11519400" cy="251400"/>
          </a:xfrm>
          <a:prstGeom prst="rect">
            <a:avLst/>
          </a:prstGeom>
          <a:noFill/>
          <a:ln>
            <a:noFill/>
          </a:ln>
        </p:spPr>
        <p:txBody>
          <a:bodyPr spcFirstLastPara="1" wrap="square" lIns="0" tIns="45700" rIns="91425" bIns="45700" anchor="t" anchorCtr="0">
            <a:noAutofit/>
          </a:bodyPr>
          <a:lstStyle/>
          <a:p>
            <a:pPr marL="0" lvl="0" indent="0" algn="l" rtl="0">
              <a:lnSpc>
                <a:spcPct val="90000"/>
              </a:lnSpc>
              <a:spcBef>
                <a:spcPts val="0"/>
              </a:spcBef>
              <a:spcAft>
                <a:spcPts val="0"/>
              </a:spcAft>
              <a:buClr>
                <a:srgbClr val="1A3B47"/>
              </a:buClr>
              <a:buSzPts val="1400"/>
              <a:buNone/>
            </a:pPr>
            <a:r>
              <a:rPr lang="es-ES" sz="1400">
                <a:latin typeface="Playfair Display"/>
                <a:ea typeface="Playfair Display"/>
                <a:cs typeface="Playfair Display"/>
                <a:sym typeface="Playfair Display"/>
              </a:rPr>
              <a:t>Covid-19 app - Alcance y enfoque del trabajo propuesto</a:t>
            </a:r>
            <a:endParaRPr/>
          </a:p>
        </p:txBody>
      </p:sp>
      <p:grpSp>
        <p:nvGrpSpPr>
          <p:cNvPr id="829" name="Google Shape;829;g7826bb8c5e_0_2554"/>
          <p:cNvGrpSpPr/>
          <p:nvPr/>
        </p:nvGrpSpPr>
        <p:grpSpPr>
          <a:xfrm>
            <a:off x="10992330" y="88959"/>
            <a:ext cx="1104735" cy="536493"/>
            <a:chOff x="508100" y="1640544"/>
            <a:chExt cx="11238400" cy="4620956"/>
          </a:xfrm>
        </p:grpSpPr>
        <p:grpSp>
          <p:nvGrpSpPr>
            <p:cNvPr id="830" name="Google Shape;830;g7826bb8c5e_0_2554"/>
            <p:cNvGrpSpPr/>
            <p:nvPr/>
          </p:nvGrpSpPr>
          <p:grpSpPr>
            <a:xfrm>
              <a:off x="508106" y="1640544"/>
              <a:ext cx="11232175" cy="21551"/>
              <a:chOff x="431923" y="1640499"/>
              <a:chExt cx="9605075" cy="31800"/>
            </a:xfrm>
          </p:grpSpPr>
          <p:cxnSp>
            <p:nvCxnSpPr>
              <p:cNvPr id="831" name="Google Shape;831;g7826bb8c5e_0_2554"/>
              <p:cNvCxnSpPr/>
              <p:nvPr/>
            </p:nvCxnSpPr>
            <p:spPr>
              <a:xfrm>
                <a:off x="431923" y="1640499"/>
                <a:ext cx="4651200" cy="15900"/>
              </a:xfrm>
              <a:prstGeom prst="straightConnector1">
                <a:avLst/>
              </a:prstGeom>
              <a:noFill/>
              <a:ln w="76200" cap="flat" cmpd="sng">
                <a:solidFill>
                  <a:schemeClr val="accent4"/>
                </a:solidFill>
                <a:prstDash val="solid"/>
                <a:round/>
                <a:headEnd type="none" w="sm" len="sm"/>
                <a:tailEnd type="none" w="sm" len="sm"/>
              </a:ln>
            </p:spPr>
          </p:cxnSp>
          <p:cxnSp>
            <p:nvCxnSpPr>
              <p:cNvPr id="832" name="Google Shape;832;g7826bb8c5e_0_2554"/>
              <p:cNvCxnSpPr/>
              <p:nvPr/>
            </p:nvCxnSpPr>
            <p:spPr>
              <a:xfrm>
                <a:off x="5385798" y="1656399"/>
                <a:ext cx="4651200" cy="15900"/>
              </a:xfrm>
              <a:prstGeom prst="straightConnector1">
                <a:avLst/>
              </a:prstGeom>
              <a:noFill/>
              <a:ln w="76200" cap="flat" cmpd="sng">
                <a:solidFill>
                  <a:srgbClr val="CCCCCC"/>
                </a:solidFill>
                <a:prstDash val="solid"/>
                <a:round/>
                <a:headEnd type="none" w="sm" len="sm"/>
                <a:tailEnd type="none" w="sm" len="sm"/>
              </a:ln>
            </p:spPr>
          </p:cxnSp>
        </p:grpSp>
        <p:sp>
          <p:nvSpPr>
            <p:cNvPr id="833" name="Google Shape;833;g7826bb8c5e_0_2554"/>
            <p:cNvSpPr/>
            <p:nvPr/>
          </p:nvSpPr>
          <p:spPr>
            <a:xfrm>
              <a:off x="508100" y="2035875"/>
              <a:ext cx="1390500" cy="4225500"/>
            </a:xfrm>
            <a:prstGeom prst="rect">
              <a:avLst/>
            </a:prstGeom>
            <a:solidFill>
              <a:srgbClr val="E3F3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834" name="Google Shape;834;g7826bb8c5e_0_2554"/>
            <p:cNvSpPr/>
            <p:nvPr/>
          </p:nvSpPr>
          <p:spPr>
            <a:xfrm>
              <a:off x="2132113" y="5255000"/>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835" name="Google Shape;835;g7826bb8c5e_0_2554"/>
            <p:cNvSpPr/>
            <p:nvPr/>
          </p:nvSpPr>
          <p:spPr>
            <a:xfrm>
              <a:off x="2132113" y="3108917"/>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836" name="Google Shape;836;g7826bb8c5e_0_2554"/>
            <p:cNvSpPr/>
            <p:nvPr/>
          </p:nvSpPr>
          <p:spPr>
            <a:xfrm>
              <a:off x="2132113" y="4181958"/>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837" name="Google Shape;837;g7826bb8c5e_0_2554"/>
            <p:cNvSpPr/>
            <p:nvPr/>
          </p:nvSpPr>
          <p:spPr>
            <a:xfrm>
              <a:off x="6343925" y="2035875"/>
              <a:ext cx="5396400" cy="13503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838" name="Google Shape;838;g7826bb8c5e_0_2554"/>
            <p:cNvSpPr/>
            <p:nvPr/>
          </p:nvSpPr>
          <p:spPr>
            <a:xfrm>
              <a:off x="6350100" y="3481700"/>
              <a:ext cx="5396400" cy="13521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839" name="Google Shape;839;g7826bb8c5e_0_2554"/>
            <p:cNvSpPr/>
            <p:nvPr/>
          </p:nvSpPr>
          <p:spPr>
            <a:xfrm>
              <a:off x="6343925" y="4945700"/>
              <a:ext cx="5396400" cy="13158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840" name="Google Shape;840;g7826bb8c5e_0_2554"/>
            <p:cNvSpPr/>
            <p:nvPr/>
          </p:nvSpPr>
          <p:spPr>
            <a:xfrm>
              <a:off x="2132113" y="2035875"/>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gr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844"/>
        <p:cNvGrpSpPr/>
        <p:nvPr/>
      </p:nvGrpSpPr>
      <p:grpSpPr>
        <a:xfrm>
          <a:off x="0" y="0"/>
          <a:ext cx="0" cy="0"/>
          <a:chOff x="0" y="0"/>
          <a:chExt cx="0" cy="0"/>
        </a:xfrm>
      </p:grpSpPr>
      <p:sp>
        <p:nvSpPr>
          <p:cNvPr id="845" name="Google Shape;845;g7826bb8c5e_0_2660"/>
          <p:cNvSpPr/>
          <p:nvPr/>
        </p:nvSpPr>
        <p:spPr>
          <a:xfrm>
            <a:off x="-968200" y="4205725"/>
            <a:ext cx="12847499" cy="2199900"/>
          </a:xfrm>
          <a:prstGeom prst="parallelogram">
            <a:avLst>
              <a:gd name="adj" fmla="val 25000"/>
            </a:avLst>
          </a:prstGeom>
          <a:solidFill>
            <a:srgbClr val="EFEFE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799"/>
              <a:buFont typeface="Arial"/>
              <a:buNone/>
            </a:pPr>
            <a:r>
              <a:rPr lang="es-ES" sz="1799" b="0" i="0" u="none" strike="noStrike" cap="none">
                <a:solidFill>
                  <a:srgbClr val="1A3B47"/>
                </a:solidFill>
                <a:latin typeface="Playfair Display"/>
                <a:ea typeface="Playfair Display"/>
                <a:cs typeface="Playfair Display"/>
                <a:sym typeface="Playfair Display"/>
              </a:rPr>
              <a:t>¿Cómo se soporta técnicamente?</a:t>
            </a:r>
            <a:endParaRPr sz="1400" b="0" i="0" u="none" strike="noStrike" cap="none">
              <a:solidFill>
                <a:srgbClr val="000000"/>
              </a:solidFill>
              <a:latin typeface="Arial"/>
              <a:ea typeface="Arial"/>
              <a:cs typeface="Arial"/>
              <a:sym typeface="Arial"/>
            </a:endParaRPr>
          </a:p>
        </p:txBody>
      </p:sp>
      <p:sp>
        <p:nvSpPr>
          <p:cNvPr id="846" name="Google Shape;846;g7826bb8c5e_0_2660"/>
          <p:cNvSpPr/>
          <p:nvPr/>
        </p:nvSpPr>
        <p:spPr>
          <a:xfrm>
            <a:off x="9896100" y="3239250"/>
            <a:ext cx="2053500" cy="836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r>
              <a:rPr lang="es-ES" sz="1100" b="0" i="0" u="none" strike="noStrike" cap="none">
                <a:solidFill>
                  <a:srgbClr val="1A3B47"/>
                </a:solidFill>
                <a:latin typeface="Helvetica Neue"/>
                <a:ea typeface="Helvetica Neue"/>
                <a:cs typeface="Helvetica Neue"/>
                <a:sym typeface="Helvetica Neue"/>
              </a:rPr>
              <a:t>Beatriz recibe una notificación en su teléfono móvil indicando su riesgo de contagio y cómo actuar</a:t>
            </a:r>
            <a:endParaRPr sz="1100" b="0" i="0" u="none" strike="noStrike" cap="none">
              <a:solidFill>
                <a:srgbClr val="1A3B47"/>
              </a:solidFill>
              <a:latin typeface="Helvetica Neue"/>
              <a:ea typeface="Helvetica Neue"/>
              <a:cs typeface="Helvetica Neue"/>
              <a:sym typeface="Helvetica Neue"/>
            </a:endParaRPr>
          </a:p>
        </p:txBody>
      </p:sp>
      <p:sp>
        <p:nvSpPr>
          <p:cNvPr id="847" name="Google Shape;847;g7826bb8c5e_0_2660"/>
          <p:cNvSpPr/>
          <p:nvPr/>
        </p:nvSpPr>
        <p:spPr>
          <a:xfrm>
            <a:off x="6947425" y="3239250"/>
            <a:ext cx="2053500" cy="836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r>
              <a:rPr lang="es-ES" sz="1100" b="0" i="0" u="none" strike="noStrike" cap="none">
                <a:solidFill>
                  <a:srgbClr val="1A3B47"/>
                </a:solidFill>
                <a:latin typeface="Helvetica Neue"/>
                <a:ea typeface="Helvetica Neue"/>
                <a:cs typeface="Helvetica Neue"/>
                <a:sym typeface="Helvetica Neue"/>
              </a:rPr>
              <a:t>Beatriz continúa su día sin saber que ha estado cerca de una persona contagiada</a:t>
            </a:r>
            <a:endParaRPr sz="1100" b="0" i="0" u="none" strike="noStrike" cap="none">
              <a:solidFill>
                <a:srgbClr val="1A3B47"/>
              </a:solidFill>
              <a:latin typeface="Helvetica Neue"/>
              <a:ea typeface="Helvetica Neue"/>
              <a:cs typeface="Helvetica Neue"/>
              <a:sym typeface="Helvetica Neue"/>
            </a:endParaRPr>
          </a:p>
        </p:txBody>
      </p:sp>
      <p:sp>
        <p:nvSpPr>
          <p:cNvPr id="848" name="Google Shape;848;g7826bb8c5e_0_2660"/>
          <p:cNvSpPr/>
          <p:nvPr/>
        </p:nvSpPr>
        <p:spPr>
          <a:xfrm>
            <a:off x="3984925" y="3239250"/>
            <a:ext cx="2053500" cy="836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r>
              <a:rPr lang="es-ES" sz="1100" b="0" i="0" u="none" strike="noStrike" cap="none">
                <a:solidFill>
                  <a:srgbClr val="1A3B47"/>
                </a:solidFill>
                <a:latin typeface="Helvetica Neue"/>
                <a:ea typeface="Helvetica Neue"/>
                <a:cs typeface="Helvetica Neue"/>
                <a:sym typeface="Helvetica Neue"/>
              </a:rPr>
              <a:t>Carlos recibe su test del Covid-19 con resultado </a:t>
            </a:r>
            <a:r>
              <a:rPr lang="es-ES" sz="1100" b="0" i="0" u="none" strike="noStrike" cap="none">
                <a:solidFill>
                  <a:schemeClr val="dk1"/>
                </a:solidFill>
                <a:latin typeface="Helvetica Neue"/>
                <a:ea typeface="Helvetica Neue"/>
                <a:cs typeface="Helvetica Neue"/>
                <a:sym typeface="Helvetica Neue"/>
              </a:rPr>
              <a:t>positivo</a:t>
            </a:r>
            <a:r>
              <a:rPr lang="es-ES" sz="1100" b="0" i="0" u="none" strike="noStrike" cap="none">
                <a:solidFill>
                  <a:srgbClr val="1A3B47"/>
                </a:solidFill>
                <a:latin typeface="Helvetica Neue"/>
                <a:ea typeface="Helvetica Neue"/>
                <a:cs typeface="Helvetica Neue"/>
                <a:sym typeface="Helvetica Neue"/>
              </a:rPr>
              <a:t>, e introduce el diagnóstico en su app</a:t>
            </a:r>
            <a:endParaRPr sz="1100" b="0" i="0" u="none" strike="noStrike" cap="none">
              <a:solidFill>
                <a:srgbClr val="1A3B47"/>
              </a:solidFill>
              <a:latin typeface="Helvetica Neue"/>
              <a:ea typeface="Helvetica Neue"/>
              <a:cs typeface="Helvetica Neue"/>
              <a:sym typeface="Helvetica Neue"/>
            </a:endParaRPr>
          </a:p>
        </p:txBody>
      </p:sp>
      <p:sp>
        <p:nvSpPr>
          <p:cNvPr id="849" name="Google Shape;849;g7826bb8c5e_0_2660"/>
          <p:cNvSpPr txBox="1"/>
          <p:nvPr/>
        </p:nvSpPr>
        <p:spPr>
          <a:xfrm>
            <a:off x="335998" y="649092"/>
            <a:ext cx="11232600" cy="7221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2400"/>
              <a:buFont typeface="Playfair Display"/>
              <a:buNone/>
            </a:pPr>
            <a:r>
              <a:rPr lang="es-ES" sz="2400" b="1" i="0" u="none" strike="noStrike" cap="none">
                <a:solidFill>
                  <a:schemeClr val="dk1"/>
                </a:solidFill>
                <a:latin typeface="Playfair Display"/>
                <a:ea typeface="Playfair Display"/>
                <a:cs typeface="Playfair Display"/>
                <a:sym typeface="Playfair Display"/>
              </a:rPr>
              <a:t>Pre-piloto: Funcional</a:t>
            </a:r>
            <a:r>
              <a:rPr lang="es-ES" sz="2400" b="0" i="0" u="none" strike="noStrike" cap="none">
                <a:solidFill>
                  <a:schemeClr val="dk1"/>
                </a:solidFill>
                <a:latin typeface="Playfair Display"/>
                <a:ea typeface="Playfair Display"/>
                <a:cs typeface="Playfair Display"/>
                <a:sym typeface="Playfair Display"/>
              </a:rPr>
              <a:t>. Funcionamiento de Covid-19 app: </a:t>
            </a:r>
            <a:r>
              <a:rPr lang="es-ES" sz="2400" b="0" i="1" u="none" strike="noStrike" cap="none">
                <a:solidFill>
                  <a:schemeClr val="dk1"/>
                </a:solidFill>
                <a:latin typeface="Playfair Display"/>
                <a:ea typeface="Playfair Display"/>
                <a:cs typeface="Playfair Display"/>
                <a:sym typeface="Playfair Display"/>
              </a:rPr>
              <a:t>journey </a:t>
            </a:r>
            <a:r>
              <a:rPr lang="es-ES" sz="2400" b="0" i="0" u="none" strike="noStrike" cap="none">
                <a:solidFill>
                  <a:schemeClr val="dk1"/>
                </a:solidFill>
                <a:latin typeface="Playfair Display"/>
                <a:ea typeface="Playfair Display"/>
                <a:cs typeface="Playfair Display"/>
                <a:sym typeface="Playfair Display"/>
              </a:rPr>
              <a:t>general</a:t>
            </a:r>
            <a:endParaRPr sz="2400" b="0" i="0" u="none" strike="noStrike" cap="none">
              <a:solidFill>
                <a:schemeClr val="dk1"/>
              </a:solidFill>
              <a:latin typeface="Playfair Display"/>
              <a:ea typeface="Playfair Display"/>
              <a:cs typeface="Playfair Display"/>
              <a:sym typeface="Playfair Display"/>
            </a:endParaRPr>
          </a:p>
        </p:txBody>
      </p:sp>
      <p:sp>
        <p:nvSpPr>
          <p:cNvPr id="850" name="Google Shape;850;g7826bb8c5e_0_2660"/>
          <p:cNvSpPr txBox="1">
            <a:spLocks noGrp="1"/>
          </p:cNvSpPr>
          <p:nvPr>
            <p:ph type="body" idx="1"/>
          </p:nvPr>
        </p:nvSpPr>
        <p:spPr>
          <a:xfrm>
            <a:off x="336000" y="128400"/>
            <a:ext cx="11519400" cy="251400"/>
          </a:xfrm>
          <a:prstGeom prst="rect">
            <a:avLst/>
          </a:prstGeom>
          <a:noFill/>
          <a:ln>
            <a:noFill/>
          </a:ln>
        </p:spPr>
        <p:txBody>
          <a:bodyPr spcFirstLastPara="1" wrap="square" lIns="0" tIns="45700" rIns="91425" bIns="45700" anchor="t" anchorCtr="0">
            <a:noAutofit/>
          </a:bodyPr>
          <a:lstStyle/>
          <a:p>
            <a:pPr marL="0" lvl="0" indent="0" algn="l" rtl="0">
              <a:lnSpc>
                <a:spcPct val="90000"/>
              </a:lnSpc>
              <a:spcBef>
                <a:spcPts val="0"/>
              </a:spcBef>
              <a:spcAft>
                <a:spcPts val="0"/>
              </a:spcAft>
              <a:buClr>
                <a:srgbClr val="1A3B47"/>
              </a:buClr>
              <a:buSzPts val="1400"/>
              <a:buNone/>
            </a:pPr>
            <a:r>
              <a:rPr lang="es-ES" sz="1400">
                <a:latin typeface="Playfair Display"/>
                <a:ea typeface="Playfair Display"/>
                <a:cs typeface="Playfair Display"/>
                <a:sym typeface="Playfair Display"/>
              </a:rPr>
              <a:t>Covid-19 app - Alcance y enfoque del trabajo propuesto</a:t>
            </a:r>
            <a:endParaRPr/>
          </a:p>
        </p:txBody>
      </p:sp>
      <p:pic>
        <p:nvPicPr>
          <p:cNvPr id="851" name="Google Shape;851;g7826bb8c5e_0_2660"/>
          <p:cNvPicPr preferRelativeResize="0"/>
          <p:nvPr/>
        </p:nvPicPr>
        <p:blipFill rotWithShape="1">
          <a:blip r:embed="rId3">
            <a:alphaModFix/>
          </a:blip>
          <a:srcRect l="5125" t="85420" r="65467" b="2494"/>
          <a:stretch/>
        </p:blipFill>
        <p:spPr>
          <a:xfrm>
            <a:off x="7163450" y="4904000"/>
            <a:ext cx="1605725" cy="722100"/>
          </a:xfrm>
          <a:prstGeom prst="rect">
            <a:avLst/>
          </a:prstGeom>
          <a:noFill/>
          <a:ln>
            <a:noFill/>
          </a:ln>
        </p:spPr>
      </p:pic>
      <p:pic>
        <p:nvPicPr>
          <p:cNvPr id="852" name="Google Shape;852;g7826bb8c5e_0_2660"/>
          <p:cNvPicPr preferRelativeResize="0"/>
          <p:nvPr/>
        </p:nvPicPr>
        <p:blipFill rotWithShape="1">
          <a:blip r:embed="rId4">
            <a:alphaModFix/>
          </a:blip>
          <a:srcRect l="64586"/>
          <a:stretch/>
        </p:blipFill>
        <p:spPr>
          <a:xfrm>
            <a:off x="4637150" y="2116250"/>
            <a:ext cx="466025" cy="1123000"/>
          </a:xfrm>
          <a:prstGeom prst="rect">
            <a:avLst/>
          </a:prstGeom>
          <a:noFill/>
          <a:ln>
            <a:noFill/>
          </a:ln>
        </p:spPr>
      </p:pic>
      <p:pic>
        <p:nvPicPr>
          <p:cNvPr id="853" name="Google Shape;853;g7826bb8c5e_0_2660"/>
          <p:cNvPicPr preferRelativeResize="0"/>
          <p:nvPr/>
        </p:nvPicPr>
        <p:blipFill rotWithShape="1">
          <a:blip r:embed="rId5">
            <a:alphaModFix/>
          </a:blip>
          <a:srcRect/>
          <a:stretch/>
        </p:blipFill>
        <p:spPr>
          <a:xfrm>
            <a:off x="4255750" y="1965465"/>
            <a:ext cx="527125" cy="527125"/>
          </a:xfrm>
          <a:prstGeom prst="rect">
            <a:avLst/>
          </a:prstGeom>
          <a:noFill/>
          <a:ln>
            <a:noFill/>
          </a:ln>
        </p:spPr>
      </p:pic>
      <p:grpSp>
        <p:nvGrpSpPr>
          <p:cNvPr id="854" name="Google Shape;854;g7826bb8c5e_0_2660"/>
          <p:cNvGrpSpPr/>
          <p:nvPr/>
        </p:nvGrpSpPr>
        <p:grpSpPr>
          <a:xfrm>
            <a:off x="1322456" y="2100541"/>
            <a:ext cx="1307070" cy="1263960"/>
            <a:chOff x="1093250" y="1484175"/>
            <a:chExt cx="1605737" cy="1644925"/>
          </a:xfrm>
        </p:grpSpPr>
        <p:pic>
          <p:nvPicPr>
            <p:cNvPr id="855" name="Google Shape;855;g7826bb8c5e_0_2660"/>
            <p:cNvPicPr preferRelativeResize="0"/>
            <p:nvPr/>
          </p:nvPicPr>
          <p:blipFill rotWithShape="1">
            <a:blip r:embed="rId6">
              <a:alphaModFix/>
            </a:blip>
            <a:srcRect r="33603"/>
            <a:stretch/>
          </p:blipFill>
          <p:spPr>
            <a:xfrm>
              <a:off x="1093250" y="1640500"/>
              <a:ext cx="988350" cy="1488600"/>
            </a:xfrm>
            <a:prstGeom prst="rect">
              <a:avLst/>
            </a:prstGeom>
            <a:noFill/>
            <a:ln>
              <a:noFill/>
            </a:ln>
          </p:spPr>
        </p:pic>
        <p:pic>
          <p:nvPicPr>
            <p:cNvPr id="856" name="Google Shape;856;g7826bb8c5e_0_2660"/>
            <p:cNvPicPr preferRelativeResize="0"/>
            <p:nvPr/>
          </p:nvPicPr>
          <p:blipFill rotWithShape="1">
            <a:blip r:embed="rId4">
              <a:alphaModFix/>
            </a:blip>
            <a:srcRect l="64586"/>
            <a:stretch/>
          </p:blipFill>
          <p:spPr>
            <a:xfrm>
              <a:off x="2171850" y="1484175"/>
              <a:ext cx="527137" cy="1488600"/>
            </a:xfrm>
            <a:prstGeom prst="rect">
              <a:avLst/>
            </a:prstGeom>
            <a:noFill/>
            <a:ln>
              <a:noFill/>
            </a:ln>
          </p:spPr>
        </p:pic>
      </p:grpSp>
      <p:sp>
        <p:nvSpPr>
          <p:cNvPr id="857" name="Google Shape;857;g7826bb8c5e_0_2660"/>
          <p:cNvSpPr/>
          <p:nvPr/>
        </p:nvSpPr>
        <p:spPr>
          <a:xfrm>
            <a:off x="1022425" y="3239250"/>
            <a:ext cx="2053500" cy="836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r>
              <a:rPr lang="es-ES" sz="1100" b="0" i="0" u="none" strike="noStrike" cap="none">
                <a:solidFill>
                  <a:srgbClr val="1A3B47"/>
                </a:solidFill>
                <a:latin typeface="Helvetica Neue"/>
                <a:ea typeface="Helvetica Neue"/>
                <a:cs typeface="Helvetica Neue"/>
                <a:sym typeface="Helvetica Neue"/>
              </a:rPr>
              <a:t>Beatriz y Carlos mantienen una conversación a poca distancia </a:t>
            </a:r>
            <a:endParaRPr sz="1100" b="0" i="0" u="none" strike="noStrike" cap="none">
              <a:solidFill>
                <a:srgbClr val="1A3B47"/>
              </a:solidFill>
              <a:latin typeface="Helvetica Neue"/>
              <a:ea typeface="Helvetica Neue"/>
              <a:cs typeface="Helvetica Neue"/>
              <a:sym typeface="Helvetica Neue"/>
            </a:endParaRPr>
          </a:p>
        </p:txBody>
      </p:sp>
      <p:pic>
        <p:nvPicPr>
          <p:cNvPr id="858" name="Google Shape;858;g7826bb8c5e_0_2660"/>
          <p:cNvPicPr preferRelativeResize="0"/>
          <p:nvPr/>
        </p:nvPicPr>
        <p:blipFill rotWithShape="1">
          <a:blip r:embed="rId6">
            <a:alphaModFix/>
          </a:blip>
          <a:srcRect r="64586"/>
          <a:stretch/>
        </p:blipFill>
        <p:spPr>
          <a:xfrm>
            <a:off x="10550300" y="2156551"/>
            <a:ext cx="466020" cy="1122999"/>
          </a:xfrm>
          <a:prstGeom prst="rect">
            <a:avLst/>
          </a:prstGeom>
          <a:noFill/>
          <a:ln>
            <a:noFill/>
          </a:ln>
        </p:spPr>
      </p:pic>
      <p:pic>
        <p:nvPicPr>
          <p:cNvPr id="859" name="Google Shape;859;g7826bb8c5e_0_2660"/>
          <p:cNvPicPr preferRelativeResize="0"/>
          <p:nvPr/>
        </p:nvPicPr>
        <p:blipFill rotWithShape="1">
          <a:blip r:embed="rId7">
            <a:alphaModFix/>
          </a:blip>
          <a:srcRect/>
          <a:stretch/>
        </p:blipFill>
        <p:spPr>
          <a:xfrm>
            <a:off x="10916441" y="2049350"/>
            <a:ext cx="739709" cy="631206"/>
          </a:xfrm>
          <a:prstGeom prst="rect">
            <a:avLst/>
          </a:prstGeom>
          <a:noFill/>
          <a:ln>
            <a:noFill/>
          </a:ln>
        </p:spPr>
      </p:pic>
      <p:pic>
        <p:nvPicPr>
          <p:cNvPr id="860" name="Google Shape;860;g7826bb8c5e_0_2660"/>
          <p:cNvPicPr preferRelativeResize="0"/>
          <p:nvPr/>
        </p:nvPicPr>
        <p:blipFill rotWithShape="1">
          <a:blip r:embed="rId5">
            <a:alphaModFix/>
          </a:blip>
          <a:srcRect/>
          <a:stretch/>
        </p:blipFill>
        <p:spPr>
          <a:xfrm>
            <a:off x="11053286" y="2166115"/>
            <a:ext cx="466020" cy="397663"/>
          </a:xfrm>
          <a:prstGeom prst="rect">
            <a:avLst/>
          </a:prstGeom>
          <a:noFill/>
          <a:ln>
            <a:noFill/>
          </a:ln>
        </p:spPr>
      </p:pic>
      <p:pic>
        <p:nvPicPr>
          <p:cNvPr id="861" name="Google Shape;861;g7826bb8c5e_0_2660"/>
          <p:cNvPicPr preferRelativeResize="0"/>
          <p:nvPr/>
        </p:nvPicPr>
        <p:blipFill rotWithShape="1">
          <a:blip r:embed="rId3">
            <a:alphaModFix/>
          </a:blip>
          <a:srcRect l="8181" t="33469" r="67881" b="52526"/>
          <a:stretch/>
        </p:blipFill>
        <p:spPr>
          <a:xfrm>
            <a:off x="1395650" y="4789397"/>
            <a:ext cx="1307050" cy="836700"/>
          </a:xfrm>
          <a:prstGeom prst="rect">
            <a:avLst/>
          </a:prstGeom>
          <a:noFill/>
          <a:ln>
            <a:noFill/>
          </a:ln>
        </p:spPr>
      </p:pic>
      <p:pic>
        <p:nvPicPr>
          <p:cNvPr id="862" name="Google Shape;862;g7826bb8c5e_0_2660"/>
          <p:cNvPicPr preferRelativeResize="0"/>
          <p:nvPr/>
        </p:nvPicPr>
        <p:blipFill rotWithShape="1">
          <a:blip r:embed="rId3">
            <a:alphaModFix/>
          </a:blip>
          <a:srcRect l="65158" t="33672" r="7651" b="54241"/>
          <a:stretch/>
        </p:blipFill>
        <p:spPr>
          <a:xfrm>
            <a:off x="4204100" y="4822597"/>
            <a:ext cx="1484550" cy="722100"/>
          </a:xfrm>
          <a:prstGeom prst="rect">
            <a:avLst/>
          </a:prstGeom>
          <a:noFill/>
          <a:ln>
            <a:noFill/>
          </a:ln>
        </p:spPr>
      </p:pic>
      <p:pic>
        <p:nvPicPr>
          <p:cNvPr id="863" name="Google Shape;863;g7826bb8c5e_0_2660"/>
          <p:cNvPicPr preferRelativeResize="0"/>
          <p:nvPr/>
        </p:nvPicPr>
        <p:blipFill rotWithShape="1">
          <a:blip r:embed="rId3">
            <a:alphaModFix/>
          </a:blip>
          <a:srcRect l="59408" t="83269" r="30937" b="2727"/>
          <a:stretch/>
        </p:blipFill>
        <p:spPr>
          <a:xfrm>
            <a:off x="10278288" y="4846700"/>
            <a:ext cx="527125" cy="836700"/>
          </a:xfrm>
          <a:prstGeom prst="rect">
            <a:avLst/>
          </a:prstGeom>
          <a:noFill/>
          <a:ln>
            <a:noFill/>
          </a:ln>
        </p:spPr>
      </p:pic>
      <p:sp>
        <p:nvSpPr>
          <p:cNvPr id="864" name="Google Shape;864;g7826bb8c5e_0_2660"/>
          <p:cNvSpPr/>
          <p:nvPr/>
        </p:nvSpPr>
        <p:spPr>
          <a:xfrm rot="5400000">
            <a:off x="2750050" y="2745900"/>
            <a:ext cx="1484550" cy="91463"/>
          </a:xfrm>
          <a:prstGeom prst="flowChartExtract">
            <a:avLst/>
          </a:prstGeom>
          <a:solidFill>
            <a:srgbClr val="E3F3E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65" name="Google Shape;865;g7826bb8c5e_0_2660"/>
          <p:cNvSpPr/>
          <p:nvPr/>
        </p:nvSpPr>
        <p:spPr>
          <a:xfrm rot="5400000">
            <a:off x="5712550" y="2745900"/>
            <a:ext cx="1484550" cy="91463"/>
          </a:xfrm>
          <a:prstGeom prst="flowChartExtract">
            <a:avLst/>
          </a:prstGeom>
          <a:solidFill>
            <a:srgbClr val="E3F3E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66" name="Google Shape;866;g7826bb8c5e_0_2660"/>
          <p:cNvSpPr/>
          <p:nvPr/>
        </p:nvSpPr>
        <p:spPr>
          <a:xfrm rot="5400000">
            <a:off x="8735525" y="2745900"/>
            <a:ext cx="1484550" cy="91463"/>
          </a:xfrm>
          <a:prstGeom prst="flowChartExtract">
            <a:avLst/>
          </a:prstGeom>
          <a:solidFill>
            <a:srgbClr val="E3F3E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67" name="Google Shape;867;g7826bb8c5e_0_2660"/>
          <p:cNvSpPr/>
          <p:nvPr/>
        </p:nvSpPr>
        <p:spPr>
          <a:xfrm>
            <a:off x="-312700" y="1366728"/>
            <a:ext cx="5976600" cy="453900"/>
          </a:xfrm>
          <a:prstGeom prst="parallelogram">
            <a:avLst>
              <a:gd name="adj" fmla="val 25000"/>
            </a:avLst>
          </a:prstGeom>
          <a:solidFill>
            <a:srgbClr val="C8E7E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799"/>
              <a:buFont typeface="Arial"/>
              <a:buNone/>
            </a:pPr>
            <a:r>
              <a:rPr lang="es-ES" sz="1799" b="0" i="0" u="none" strike="noStrike" cap="none">
                <a:solidFill>
                  <a:srgbClr val="1A3B47"/>
                </a:solidFill>
                <a:latin typeface="Playfair Display"/>
                <a:ea typeface="Playfair Display"/>
                <a:cs typeface="Playfair Display"/>
                <a:sym typeface="Playfair Display"/>
              </a:rPr>
              <a:t>¿Qué ocurre para el usuario?</a:t>
            </a:r>
            <a:endParaRPr sz="1400" b="0" i="0" u="none" strike="noStrike" cap="none">
              <a:solidFill>
                <a:srgbClr val="000000"/>
              </a:solidFill>
              <a:latin typeface="Arial"/>
              <a:ea typeface="Arial"/>
              <a:cs typeface="Arial"/>
              <a:sym typeface="Arial"/>
            </a:endParaRPr>
          </a:p>
        </p:txBody>
      </p:sp>
      <p:pic>
        <p:nvPicPr>
          <p:cNvPr id="868" name="Google Shape;868;g7826bb8c5e_0_2660"/>
          <p:cNvPicPr preferRelativeResize="0"/>
          <p:nvPr/>
        </p:nvPicPr>
        <p:blipFill rotWithShape="1">
          <a:blip r:embed="rId6">
            <a:alphaModFix/>
          </a:blip>
          <a:srcRect r="64586"/>
          <a:stretch/>
        </p:blipFill>
        <p:spPr>
          <a:xfrm>
            <a:off x="7733300" y="2156551"/>
            <a:ext cx="466020" cy="1122999"/>
          </a:xfrm>
          <a:prstGeom prst="rect">
            <a:avLst/>
          </a:prstGeom>
          <a:noFill/>
          <a:ln>
            <a:noFill/>
          </a:ln>
        </p:spPr>
      </p:pic>
      <p:sp>
        <p:nvSpPr>
          <p:cNvPr id="869" name="Google Shape;869;g7826bb8c5e_0_2660"/>
          <p:cNvSpPr/>
          <p:nvPr/>
        </p:nvSpPr>
        <p:spPr>
          <a:xfrm>
            <a:off x="1022425" y="5570775"/>
            <a:ext cx="2053500" cy="836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r>
              <a:rPr lang="es-ES" sz="1100" b="0" i="0" u="none" strike="noStrike" cap="none">
                <a:solidFill>
                  <a:srgbClr val="1A3B47"/>
                </a:solidFill>
                <a:latin typeface="Helvetica Neue"/>
                <a:ea typeface="Helvetica Neue"/>
                <a:cs typeface="Helvetica Neue"/>
                <a:sym typeface="Helvetica Neue"/>
              </a:rPr>
              <a:t>Los teléfonos intercambian identificadores Bluetooth aleatorios, que están en constante cambio</a:t>
            </a:r>
            <a:endParaRPr sz="1100" b="0" i="0" u="none" strike="noStrike" cap="none">
              <a:solidFill>
                <a:srgbClr val="1A3B47"/>
              </a:solidFill>
              <a:latin typeface="Helvetica Neue"/>
              <a:ea typeface="Helvetica Neue"/>
              <a:cs typeface="Helvetica Neue"/>
              <a:sym typeface="Helvetica Neue"/>
            </a:endParaRPr>
          </a:p>
        </p:txBody>
      </p:sp>
      <p:sp>
        <p:nvSpPr>
          <p:cNvPr id="870" name="Google Shape;870;g7826bb8c5e_0_2660"/>
          <p:cNvSpPr/>
          <p:nvPr/>
        </p:nvSpPr>
        <p:spPr>
          <a:xfrm>
            <a:off x="9896101" y="5570775"/>
            <a:ext cx="1415700" cy="836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r>
              <a:rPr lang="es-ES" sz="1100" b="0" i="0" u="none" strike="noStrike" cap="none">
                <a:solidFill>
                  <a:srgbClr val="1A3B47"/>
                </a:solidFill>
                <a:latin typeface="Helvetica Neue"/>
                <a:ea typeface="Helvetica Neue"/>
                <a:cs typeface="Helvetica Neue"/>
                <a:sym typeface="Helvetica Neue"/>
              </a:rPr>
              <a:t>El teléfono de Beatriz recibe una notificación informativa</a:t>
            </a:r>
            <a:endParaRPr sz="1100" b="0" i="0" u="none" strike="noStrike" cap="none">
              <a:solidFill>
                <a:srgbClr val="1A3B47"/>
              </a:solidFill>
              <a:latin typeface="Helvetica Neue"/>
              <a:ea typeface="Helvetica Neue"/>
              <a:cs typeface="Helvetica Neue"/>
              <a:sym typeface="Helvetica Neue"/>
            </a:endParaRPr>
          </a:p>
        </p:txBody>
      </p:sp>
      <p:sp>
        <p:nvSpPr>
          <p:cNvPr id="871" name="Google Shape;871;g7826bb8c5e_0_2660"/>
          <p:cNvSpPr/>
          <p:nvPr/>
        </p:nvSpPr>
        <p:spPr>
          <a:xfrm>
            <a:off x="3984926" y="5570775"/>
            <a:ext cx="2292000" cy="836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r>
              <a:rPr lang="es-ES" sz="1100" b="0" i="0" u="none" strike="noStrike" cap="none">
                <a:solidFill>
                  <a:srgbClr val="1A3B47"/>
                </a:solidFill>
                <a:latin typeface="Helvetica Neue"/>
                <a:ea typeface="Helvetica Neue"/>
                <a:cs typeface="Helvetica Neue"/>
                <a:sym typeface="Helvetica Neue"/>
              </a:rPr>
              <a:t>Con el consentimiento de Carlos, su teléfono carga el histórico de los últimos 14 días de claves Bluetooth en el servidor central</a:t>
            </a:r>
            <a:endParaRPr sz="1100" b="0" i="0" u="none" strike="noStrike" cap="none">
              <a:solidFill>
                <a:srgbClr val="1A3B47"/>
              </a:solidFill>
              <a:latin typeface="Helvetica Neue"/>
              <a:ea typeface="Helvetica Neue"/>
              <a:cs typeface="Helvetica Neue"/>
              <a:sym typeface="Helvetica Neue"/>
            </a:endParaRPr>
          </a:p>
        </p:txBody>
      </p:sp>
      <p:sp>
        <p:nvSpPr>
          <p:cNvPr id="872" name="Google Shape;872;g7826bb8c5e_0_2660"/>
          <p:cNvSpPr/>
          <p:nvPr/>
        </p:nvSpPr>
        <p:spPr>
          <a:xfrm>
            <a:off x="6718825" y="5570775"/>
            <a:ext cx="2948700" cy="836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r>
              <a:rPr lang="es-ES" sz="1100" b="0" i="0" u="none" strike="noStrike" cap="none">
                <a:solidFill>
                  <a:srgbClr val="1A3B47"/>
                </a:solidFill>
                <a:latin typeface="Helvetica Neue"/>
                <a:ea typeface="Helvetica Neue"/>
                <a:cs typeface="Helvetica Neue"/>
                <a:sym typeface="Helvetica Neue"/>
              </a:rPr>
              <a:t>El teléfono de Beatriz descarga periódicamente las claves Bluetooth de todas las personas diagnosticadas en su área. Un identificador de Carlos hace </a:t>
            </a:r>
            <a:r>
              <a:rPr lang="es-ES" sz="1100" b="0" i="1" u="none" strike="noStrike" cap="none">
                <a:solidFill>
                  <a:srgbClr val="1A3B47"/>
                </a:solidFill>
                <a:latin typeface="Helvetica Neue"/>
                <a:ea typeface="Helvetica Neue"/>
                <a:cs typeface="Helvetica Neue"/>
                <a:sym typeface="Helvetica Neue"/>
              </a:rPr>
              <a:t>match</a:t>
            </a:r>
            <a:endParaRPr sz="1100" b="0" i="1" u="none" strike="noStrike" cap="none">
              <a:solidFill>
                <a:srgbClr val="1A3B47"/>
              </a:solidFill>
              <a:latin typeface="Helvetica Neue"/>
              <a:ea typeface="Helvetica Neue"/>
              <a:cs typeface="Helvetica Neue"/>
              <a:sym typeface="Helvetica Neue"/>
            </a:endParaRPr>
          </a:p>
        </p:txBody>
      </p:sp>
      <p:grpSp>
        <p:nvGrpSpPr>
          <p:cNvPr id="873" name="Google Shape;873;g7826bb8c5e_0_2660"/>
          <p:cNvGrpSpPr/>
          <p:nvPr/>
        </p:nvGrpSpPr>
        <p:grpSpPr>
          <a:xfrm>
            <a:off x="10992330" y="88959"/>
            <a:ext cx="1104735" cy="536493"/>
            <a:chOff x="508100" y="1640544"/>
            <a:chExt cx="11238400" cy="4620956"/>
          </a:xfrm>
        </p:grpSpPr>
        <p:grpSp>
          <p:nvGrpSpPr>
            <p:cNvPr id="874" name="Google Shape;874;g7826bb8c5e_0_2660"/>
            <p:cNvGrpSpPr/>
            <p:nvPr/>
          </p:nvGrpSpPr>
          <p:grpSpPr>
            <a:xfrm>
              <a:off x="508106" y="1640544"/>
              <a:ext cx="11232175" cy="21551"/>
              <a:chOff x="431923" y="1640499"/>
              <a:chExt cx="9605075" cy="31800"/>
            </a:xfrm>
          </p:grpSpPr>
          <p:cxnSp>
            <p:nvCxnSpPr>
              <p:cNvPr id="875" name="Google Shape;875;g7826bb8c5e_0_2660"/>
              <p:cNvCxnSpPr/>
              <p:nvPr/>
            </p:nvCxnSpPr>
            <p:spPr>
              <a:xfrm>
                <a:off x="431923" y="1640499"/>
                <a:ext cx="4651200" cy="15900"/>
              </a:xfrm>
              <a:prstGeom prst="straightConnector1">
                <a:avLst/>
              </a:prstGeom>
              <a:noFill/>
              <a:ln w="76200" cap="flat" cmpd="sng">
                <a:solidFill>
                  <a:schemeClr val="accent4"/>
                </a:solidFill>
                <a:prstDash val="solid"/>
                <a:round/>
                <a:headEnd type="none" w="sm" len="sm"/>
                <a:tailEnd type="none" w="sm" len="sm"/>
              </a:ln>
            </p:spPr>
          </p:cxnSp>
          <p:cxnSp>
            <p:nvCxnSpPr>
              <p:cNvPr id="876" name="Google Shape;876;g7826bb8c5e_0_2660"/>
              <p:cNvCxnSpPr/>
              <p:nvPr/>
            </p:nvCxnSpPr>
            <p:spPr>
              <a:xfrm>
                <a:off x="5385798" y="1656399"/>
                <a:ext cx="4651200" cy="15900"/>
              </a:xfrm>
              <a:prstGeom prst="straightConnector1">
                <a:avLst/>
              </a:prstGeom>
              <a:noFill/>
              <a:ln w="76200" cap="flat" cmpd="sng">
                <a:solidFill>
                  <a:srgbClr val="CCCCCC"/>
                </a:solidFill>
                <a:prstDash val="solid"/>
                <a:round/>
                <a:headEnd type="none" w="sm" len="sm"/>
                <a:tailEnd type="none" w="sm" len="sm"/>
              </a:ln>
            </p:spPr>
          </p:cxnSp>
        </p:grpSp>
        <p:sp>
          <p:nvSpPr>
            <p:cNvPr id="877" name="Google Shape;877;g7826bb8c5e_0_2660"/>
            <p:cNvSpPr/>
            <p:nvPr/>
          </p:nvSpPr>
          <p:spPr>
            <a:xfrm>
              <a:off x="508100" y="2035875"/>
              <a:ext cx="1390500" cy="4225500"/>
            </a:xfrm>
            <a:prstGeom prst="rect">
              <a:avLst/>
            </a:prstGeom>
            <a:solidFill>
              <a:srgbClr val="E3F3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878" name="Google Shape;878;g7826bb8c5e_0_2660"/>
            <p:cNvSpPr/>
            <p:nvPr/>
          </p:nvSpPr>
          <p:spPr>
            <a:xfrm>
              <a:off x="2132113" y="5255000"/>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879" name="Google Shape;879;g7826bb8c5e_0_2660"/>
            <p:cNvSpPr/>
            <p:nvPr/>
          </p:nvSpPr>
          <p:spPr>
            <a:xfrm>
              <a:off x="2132113" y="3108917"/>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880" name="Google Shape;880;g7826bb8c5e_0_2660"/>
            <p:cNvSpPr/>
            <p:nvPr/>
          </p:nvSpPr>
          <p:spPr>
            <a:xfrm>
              <a:off x="2132113" y="4181958"/>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881" name="Google Shape;881;g7826bb8c5e_0_2660"/>
            <p:cNvSpPr/>
            <p:nvPr/>
          </p:nvSpPr>
          <p:spPr>
            <a:xfrm>
              <a:off x="6343925" y="2035875"/>
              <a:ext cx="5396400" cy="13503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882" name="Google Shape;882;g7826bb8c5e_0_2660"/>
            <p:cNvSpPr/>
            <p:nvPr/>
          </p:nvSpPr>
          <p:spPr>
            <a:xfrm>
              <a:off x="6350100" y="3481700"/>
              <a:ext cx="5396400" cy="13521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883" name="Google Shape;883;g7826bb8c5e_0_2660"/>
            <p:cNvSpPr/>
            <p:nvPr/>
          </p:nvSpPr>
          <p:spPr>
            <a:xfrm>
              <a:off x="6343925" y="4945700"/>
              <a:ext cx="5396400" cy="13158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884" name="Google Shape;884;g7826bb8c5e_0_2660"/>
            <p:cNvSpPr/>
            <p:nvPr/>
          </p:nvSpPr>
          <p:spPr>
            <a:xfrm>
              <a:off x="2132113" y="2035875"/>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gr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888"/>
        <p:cNvGrpSpPr/>
        <p:nvPr/>
      </p:nvGrpSpPr>
      <p:grpSpPr>
        <a:xfrm>
          <a:off x="0" y="0"/>
          <a:ext cx="0" cy="0"/>
          <a:chOff x="0" y="0"/>
          <a:chExt cx="0" cy="0"/>
        </a:xfrm>
      </p:grpSpPr>
      <p:sp>
        <p:nvSpPr>
          <p:cNvPr id="889" name="Google Shape;889;p3"/>
          <p:cNvSpPr/>
          <p:nvPr/>
        </p:nvSpPr>
        <p:spPr>
          <a:xfrm>
            <a:off x="591367" y="3937085"/>
            <a:ext cx="2084233" cy="836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r>
              <a:rPr lang="es-ES" sz="1100" b="0" i="0" u="none" strike="noStrike" cap="none">
                <a:solidFill>
                  <a:srgbClr val="1A3B47"/>
                </a:solidFill>
                <a:latin typeface="Helvetica Neue"/>
                <a:ea typeface="Helvetica Neue"/>
                <a:cs typeface="Helvetica Neue"/>
                <a:sym typeface="Helvetica Neue"/>
              </a:rPr>
              <a:t>El usuario descarga la aplicación en su móvil. Tras aceptar la información legal, puede </a:t>
            </a:r>
            <a:r>
              <a:rPr lang="es-ES" sz="1100" b="1" i="0" u="none" strike="noStrike" cap="none">
                <a:solidFill>
                  <a:srgbClr val="1A3B47"/>
                </a:solidFill>
                <a:latin typeface="Helvetica Neue"/>
                <a:ea typeface="Helvetica Neue"/>
                <a:cs typeface="Helvetica Neue"/>
                <a:sym typeface="Helvetica Neue"/>
              </a:rPr>
              <a:t>activar la aplicación </a:t>
            </a:r>
            <a:r>
              <a:rPr lang="es-ES" sz="1100" b="0" i="0" u="none" strike="noStrike" cap="none">
                <a:solidFill>
                  <a:srgbClr val="1A3B47"/>
                </a:solidFill>
                <a:latin typeface="Helvetica Neue"/>
                <a:ea typeface="Helvetica Neue"/>
                <a:cs typeface="Helvetica Neue"/>
                <a:sym typeface="Helvetica Neue"/>
              </a:rPr>
              <a:t>sin necesidad de hacer </a:t>
            </a:r>
            <a:r>
              <a:rPr lang="es-ES" sz="1100" b="0" i="1" u="none" strike="noStrike" cap="none">
                <a:solidFill>
                  <a:srgbClr val="1A3B47"/>
                </a:solidFill>
                <a:latin typeface="Helvetica Neue"/>
                <a:ea typeface="Helvetica Neue"/>
                <a:cs typeface="Helvetica Neue"/>
                <a:sym typeface="Helvetica Neue"/>
              </a:rPr>
              <a:t>login </a:t>
            </a:r>
            <a:r>
              <a:rPr lang="es-ES" sz="1100" b="0" i="0" u="none" strike="noStrike" cap="none">
                <a:solidFill>
                  <a:srgbClr val="1A3B47"/>
                </a:solidFill>
                <a:latin typeface="Helvetica Neue"/>
                <a:ea typeface="Helvetica Neue"/>
                <a:cs typeface="Helvetica Neue"/>
                <a:sym typeface="Helvetica Neue"/>
              </a:rPr>
              <a:t>y </a:t>
            </a:r>
            <a:r>
              <a:rPr lang="es-ES" sz="1100" b="1" i="0" u="none" strike="noStrike" cap="none">
                <a:solidFill>
                  <a:srgbClr val="1A3B47"/>
                </a:solidFill>
                <a:latin typeface="Helvetica Neue"/>
                <a:ea typeface="Helvetica Neue"/>
                <a:cs typeface="Helvetica Neue"/>
                <a:sym typeface="Helvetica Neue"/>
              </a:rPr>
              <a:t>sin facilitar ningún dato personal</a:t>
            </a:r>
            <a:r>
              <a:rPr lang="es-ES" sz="1100" b="0" i="0" u="none" strike="noStrike" cap="none">
                <a:solidFill>
                  <a:srgbClr val="1A3B47"/>
                </a:solidFill>
                <a:latin typeface="Helvetica Neue"/>
                <a:ea typeface="Helvetica Neue"/>
                <a:cs typeface="Helvetica Neue"/>
                <a:sym typeface="Helvetica Neue"/>
              </a:rPr>
              <a:t>, identificativo o no</a:t>
            </a:r>
            <a:endParaRPr sz="1100" b="0" i="0" u="none" strike="noStrike" cap="none">
              <a:solidFill>
                <a:srgbClr val="1A3B47"/>
              </a:solidFill>
              <a:latin typeface="Helvetica Neue"/>
              <a:ea typeface="Helvetica Neue"/>
              <a:cs typeface="Helvetica Neue"/>
              <a:sym typeface="Helvetica Neue"/>
            </a:endParaRPr>
          </a:p>
        </p:txBody>
      </p:sp>
      <p:sp>
        <p:nvSpPr>
          <p:cNvPr id="890" name="Google Shape;890;p3"/>
          <p:cNvSpPr txBox="1"/>
          <p:nvPr/>
        </p:nvSpPr>
        <p:spPr>
          <a:xfrm>
            <a:off x="335998" y="649092"/>
            <a:ext cx="11232600" cy="7221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2400"/>
              <a:buFont typeface="Playfair Display"/>
              <a:buNone/>
            </a:pPr>
            <a:r>
              <a:rPr lang="es-ES" sz="2400" b="1" i="0" u="none" strike="noStrike" cap="none">
                <a:solidFill>
                  <a:schemeClr val="dk1"/>
                </a:solidFill>
                <a:latin typeface="Playfair Display"/>
                <a:ea typeface="Playfair Display"/>
                <a:cs typeface="Playfair Display"/>
                <a:sym typeface="Playfair Display"/>
              </a:rPr>
              <a:t>Pre-piloto: Funcional</a:t>
            </a:r>
            <a:r>
              <a:rPr lang="es-ES" sz="2400" b="0" i="0" u="none" strike="noStrike" cap="none">
                <a:solidFill>
                  <a:schemeClr val="dk1"/>
                </a:solidFill>
                <a:latin typeface="Playfair Display"/>
                <a:ea typeface="Playfair Display"/>
                <a:cs typeface="Playfair Display"/>
                <a:sym typeface="Playfair Display"/>
              </a:rPr>
              <a:t>. Funcionamiento de Covid-19 app: </a:t>
            </a:r>
            <a:r>
              <a:rPr lang="es-ES" sz="2400" b="0" i="1" u="none" strike="noStrike" cap="none">
                <a:solidFill>
                  <a:schemeClr val="dk1"/>
                </a:solidFill>
                <a:latin typeface="Playfair Display"/>
                <a:ea typeface="Playfair Display"/>
                <a:cs typeface="Playfair Display"/>
                <a:sym typeface="Playfair Display"/>
              </a:rPr>
              <a:t>journey </a:t>
            </a:r>
            <a:r>
              <a:rPr lang="es-ES" sz="2400" b="0" i="0" u="none" strike="noStrike" cap="none">
                <a:solidFill>
                  <a:schemeClr val="dk1"/>
                </a:solidFill>
                <a:latin typeface="Playfair Display"/>
                <a:ea typeface="Playfair Display"/>
                <a:cs typeface="Playfair Display"/>
                <a:sym typeface="Playfair Display"/>
              </a:rPr>
              <a:t>1</a:t>
            </a:r>
            <a:endParaRPr sz="2400" b="0" i="1" u="none" strike="noStrike" cap="none">
              <a:solidFill>
                <a:schemeClr val="dk1"/>
              </a:solidFill>
              <a:latin typeface="Playfair Display"/>
              <a:ea typeface="Playfair Display"/>
              <a:cs typeface="Playfair Display"/>
              <a:sym typeface="Playfair Display"/>
            </a:endParaRPr>
          </a:p>
        </p:txBody>
      </p:sp>
      <p:sp>
        <p:nvSpPr>
          <p:cNvPr id="891" name="Google Shape;891;p3"/>
          <p:cNvSpPr txBox="1">
            <a:spLocks noGrp="1"/>
          </p:cNvSpPr>
          <p:nvPr>
            <p:ph type="body" idx="1"/>
          </p:nvPr>
        </p:nvSpPr>
        <p:spPr>
          <a:xfrm>
            <a:off x="336000" y="128400"/>
            <a:ext cx="11519400" cy="251400"/>
          </a:xfrm>
          <a:prstGeom prst="rect">
            <a:avLst/>
          </a:prstGeom>
          <a:noFill/>
          <a:ln>
            <a:noFill/>
          </a:ln>
        </p:spPr>
        <p:txBody>
          <a:bodyPr spcFirstLastPara="1" wrap="square" lIns="0" tIns="45700" rIns="91425" bIns="45700" anchor="t" anchorCtr="0">
            <a:noAutofit/>
          </a:bodyPr>
          <a:lstStyle/>
          <a:p>
            <a:pPr marL="0" lvl="0" indent="0" algn="l" rtl="0">
              <a:lnSpc>
                <a:spcPct val="90000"/>
              </a:lnSpc>
              <a:spcBef>
                <a:spcPts val="0"/>
              </a:spcBef>
              <a:spcAft>
                <a:spcPts val="0"/>
              </a:spcAft>
              <a:buClr>
                <a:srgbClr val="1A3B47"/>
              </a:buClr>
              <a:buSzPts val="1400"/>
              <a:buNone/>
            </a:pPr>
            <a:r>
              <a:rPr lang="es-ES" sz="1400">
                <a:latin typeface="Playfair Display"/>
                <a:ea typeface="Playfair Display"/>
                <a:cs typeface="Playfair Display"/>
                <a:sym typeface="Playfair Display"/>
              </a:rPr>
              <a:t>Covid-19 app - Alcance y enfoque del trabajo propuesto</a:t>
            </a:r>
            <a:endParaRPr/>
          </a:p>
        </p:txBody>
      </p:sp>
      <p:pic>
        <p:nvPicPr>
          <p:cNvPr id="892" name="Google Shape;892;p3"/>
          <p:cNvPicPr preferRelativeResize="0"/>
          <p:nvPr/>
        </p:nvPicPr>
        <p:blipFill rotWithShape="1">
          <a:blip r:embed="rId3">
            <a:alphaModFix/>
          </a:blip>
          <a:srcRect r="64586"/>
          <a:stretch/>
        </p:blipFill>
        <p:spPr>
          <a:xfrm>
            <a:off x="1262367" y="2706885"/>
            <a:ext cx="466020" cy="1122999"/>
          </a:xfrm>
          <a:prstGeom prst="rect">
            <a:avLst/>
          </a:prstGeom>
          <a:noFill/>
          <a:ln>
            <a:noFill/>
          </a:ln>
        </p:spPr>
      </p:pic>
      <p:pic>
        <p:nvPicPr>
          <p:cNvPr id="893" name="Google Shape;893;p3"/>
          <p:cNvPicPr preferRelativeResize="0"/>
          <p:nvPr/>
        </p:nvPicPr>
        <p:blipFill rotWithShape="1">
          <a:blip r:embed="rId4">
            <a:alphaModFix/>
          </a:blip>
          <a:srcRect/>
          <a:stretch/>
        </p:blipFill>
        <p:spPr>
          <a:xfrm>
            <a:off x="1628508" y="2599684"/>
            <a:ext cx="739709" cy="631206"/>
          </a:xfrm>
          <a:prstGeom prst="rect">
            <a:avLst/>
          </a:prstGeom>
          <a:noFill/>
          <a:ln>
            <a:noFill/>
          </a:ln>
        </p:spPr>
      </p:pic>
      <p:sp>
        <p:nvSpPr>
          <p:cNvPr id="894" name="Google Shape;894;p3"/>
          <p:cNvSpPr/>
          <p:nvPr/>
        </p:nvSpPr>
        <p:spPr>
          <a:xfrm>
            <a:off x="-312700" y="1366728"/>
            <a:ext cx="5976600" cy="453900"/>
          </a:xfrm>
          <a:prstGeom prst="parallelogram">
            <a:avLst>
              <a:gd name="adj" fmla="val 25000"/>
            </a:avLst>
          </a:prstGeom>
          <a:solidFill>
            <a:srgbClr val="C8E7E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799"/>
              <a:buFont typeface="Arial"/>
              <a:buNone/>
            </a:pPr>
            <a:r>
              <a:rPr lang="es-ES" sz="1799" b="0" i="0" u="none" strike="noStrike" cap="none">
                <a:solidFill>
                  <a:srgbClr val="1A3B47"/>
                </a:solidFill>
                <a:latin typeface="Playfair Display"/>
                <a:ea typeface="Playfair Display"/>
                <a:cs typeface="Playfair Display"/>
                <a:sym typeface="Playfair Display"/>
              </a:rPr>
              <a:t>¿Qué ocurre cuando el usuario…?</a:t>
            </a:r>
            <a:endParaRPr sz="1400" b="0" i="0" u="none" strike="noStrike" cap="none">
              <a:solidFill>
                <a:srgbClr val="000000"/>
              </a:solidFill>
              <a:latin typeface="Arial"/>
              <a:ea typeface="Arial"/>
              <a:cs typeface="Arial"/>
              <a:sym typeface="Arial"/>
            </a:endParaRPr>
          </a:p>
        </p:txBody>
      </p:sp>
      <p:grpSp>
        <p:nvGrpSpPr>
          <p:cNvPr id="895" name="Google Shape;895;p3"/>
          <p:cNvGrpSpPr/>
          <p:nvPr/>
        </p:nvGrpSpPr>
        <p:grpSpPr>
          <a:xfrm>
            <a:off x="10992330" y="88959"/>
            <a:ext cx="1104735" cy="536493"/>
            <a:chOff x="508100" y="1640544"/>
            <a:chExt cx="11238400" cy="4620956"/>
          </a:xfrm>
        </p:grpSpPr>
        <p:grpSp>
          <p:nvGrpSpPr>
            <p:cNvPr id="896" name="Google Shape;896;p3"/>
            <p:cNvGrpSpPr/>
            <p:nvPr/>
          </p:nvGrpSpPr>
          <p:grpSpPr>
            <a:xfrm>
              <a:off x="508106" y="1640544"/>
              <a:ext cx="11232175" cy="21551"/>
              <a:chOff x="431923" y="1640499"/>
              <a:chExt cx="9605075" cy="31800"/>
            </a:xfrm>
          </p:grpSpPr>
          <p:cxnSp>
            <p:nvCxnSpPr>
              <p:cNvPr id="897" name="Google Shape;897;p3"/>
              <p:cNvCxnSpPr/>
              <p:nvPr/>
            </p:nvCxnSpPr>
            <p:spPr>
              <a:xfrm>
                <a:off x="431923" y="1640499"/>
                <a:ext cx="4651200" cy="15900"/>
              </a:xfrm>
              <a:prstGeom prst="straightConnector1">
                <a:avLst/>
              </a:prstGeom>
              <a:noFill/>
              <a:ln w="76200" cap="flat" cmpd="sng">
                <a:solidFill>
                  <a:schemeClr val="accent4"/>
                </a:solidFill>
                <a:prstDash val="solid"/>
                <a:round/>
                <a:headEnd type="none" w="sm" len="sm"/>
                <a:tailEnd type="none" w="sm" len="sm"/>
              </a:ln>
            </p:spPr>
          </p:cxnSp>
          <p:cxnSp>
            <p:nvCxnSpPr>
              <p:cNvPr id="898" name="Google Shape;898;p3"/>
              <p:cNvCxnSpPr/>
              <p:nvPr/>
            </p:nvCxnSpPr>
            <p:spPr>
              <a:xfrm>
                <a:off x="5385798" y="1656399"/>
                <a:ext cx="4651200" cy="15900"/>
              </a:xfrm>
              <a:prstGeom prst="straightConnector1">
                <a:avLst/>
              </a:prstGeom>
              <a:noFill/>
              <a:ln w="76200" cap="flat" cmpd="sng">
                <a:solidFill>
                  <a:srgbClr val="CCCCCC"/>
                </a:solidFill>
                <a:prstDash val="solid"/>
                <a:round/>
                <a:headEnd type="none" w="sm" len="sm"/>
                <a:tailEnd type="none" w="sm" len="sm"/>
              </a:ln>
            </p:spPr>
          </p:cxnSp>
        </p:grpSp>
        <p:sp>
          <p:nvSpPr>
            <p:cNvPr id="899" name="Google Shape;899;p3"/>
            <p:cNvSpPr/>
            <p:nvPr/>
          </p:nvSpPr>
          <p:spPr>
            <a:xfrm>
              <a:off x="508100" y="2035875"/>
              <a:ext cx="1390500" cy="4225500"/>
            </a:xfrm>
            <a:prstGeom prst="rect">
              <a:avLst/>
            </a:prstGeom>
            <a:solidFill>
              <a:srgbClr val="E3F3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900" name="Google Shape;900;p3"/>
            <p:cNvSpPr/>
            <p:nvPr/>
          </p:nvSpPr>
          <p:spPr>
            <a:xfrm>
              <a:off x="2132113" y="5255000"/>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901" name="Google Shape;901;p3"/>
            <p:cNvSpPr/>
            <p:nvPr/>
          </p:nvSpPr>
          <p:spPr>
            <a:xfrm>
              <a:off x="2132113" y="3108917"/>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902" name="Google Shape;902;p3"/>
            <p:cNvSpPr/>
            <p:nvPr/>
          </p:nvSpPr>
          <p:spPr>
            <a:xfrm>
              <a:off x="2132113" y="4181958"/>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903" name="Google Shape;903;p3"/>
            <p:cNvSpPr/>
            <p:nvPr/>
          </p:nvSpPr>
          <p:spPr>
            <a:xfrm>
              <a:off x="6343925" y="2035875"/>
              <a:ext cx="5396400" cy="13503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904" name="Google Shape;904;p3"/>
            <p:cNvSpPr/>
            <p:nvPr/>
          </p:nvSpPr>
          <p:spPr>
            <a:xfrm>
              <a:off x="6350100" y="3481700"/>
              <a:ext cx="5396400" cy="13521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905" name="Google Shape;905;p3"/>
            <p:cNvSpPr/>
            <p:nvPr/>
          </p:nvSpPr>
          <p:spPr>
            <a:xfrm>
              <a:off x="6343925" y="4945700"/>
              <a:ext cx="5396400" cy="13158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906" name="Google Shape;906;p3"/>
            <p:cNvSpPr/>
            <p:nvPr/>
          </p:nvSpPr>
          <p:spPr>
            <a:xfrm>
              <a:off x="2132113" y="2035875"/>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grpSp>
      <p:sp>
        <p:nvSpPr>
          <p:cNvPr id="907" name="Google Shape;907;p3"/>
          <p:cNvSpPr/>
          <p:nvPr/>
        </p:nvSpPr>
        <p:spPr>
          <a:xfrm>
            <a:off x="6095699" y="1308814"/>
            <a:ext cx="5334301" cy="610538"/>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r>
              <a:rPr lang="es-ES" sz="2400" b="0" i="0" u="none" strike="noStrike" cap="none">
                <a:solidFill>
                  <a:schemeClr val="accent4"/>
                </a:solidFill>
                <a:latin typeface="Playfair Display"/>
                <a:ea typeface="Playfair Display"/>
                <a:cs typeface="Playfair Display"/>
                <a:sym typeface="Playfair Display"/>
              </a:rPr>
              <a:t>Descarga la app por primera vez</a:t>
            </a:r>
            <a:endParaRPr sz="2400" b="0" i="0" u="none" strike="noStrike" cap="none">
              <a:solidFill>
                <a:schemeClr val="accent4"/>
              </a:solidFill>
              <a:latin typeface="Playfair Display"/>
              <a:ea typeface="Playfair Display"/>
              <a:cs typeface="Playfair Display"/>
              <a:sym typeface="Playfair Display"/>
            </a:endParaRPr>
          </a:p>
        </p:txBody>
      </p:sp>
      <p:grpSp>
        <p:nvGrpSpPr>
          <p:cNvPr id="908" name="Google Shape;908;p3"/>
          <p:cNvGrpSpPr/>
          <p:nvPr/>
        </p:nvGrpSpPr>
        <p:grpSpPr>
          <a:xfrm>
            <a:off x="7616468" y="2499099"/>
            <a:ext cx="3367374" cy="1650151"/>
            <a:chOff x="4236861" y="1644878"/>
            <a:chExt cx="3704111" cy="1815166"/>
          </a:xfrm>
        </p:grpSpPr>
        <p:pic>
          <p:nvPicPr>
            <p:cNvPr id="909" name="Google Shape;909;p3"/>
            <p:cNvPicPr preferRelativeResize="0"/>
            <p:nvPr/>
          </p:nvPicPr>
          <p:blipFill rotWithShape="1">
            <a:blip r:embed="rId5">
              <a:alphaModFix/>
            </a:blip>
            <a:srcRect l="5439" t="2974" r="3574" b="1084"/>
            <a:stretch/>
          </p:blipFill>
          <p:spPr>
            <a:xfrm>
              <a:off x="7013887" y="1661383"/>
              <a:ext cx="927085" cy="1798661"/>
            </a:xfrm>
            <a:prstGeom prst="rect">
              <a:avLst/>
            </a:prstGeom>
            <a:noFill/>
            <a:ln>
              <a:noFill/>
            </a:ln>
          </p:spPr>
        </p:pic>
        <p:sp>
          <p:nvSpPr>
            <p:cNvPr id="910" name="Google Shape;910;p3"/>
            <p:cNvSpPr/>
            <p:nvPr/>
          </p:nvSpPr>
          <p:spPr>
            <a:xfrm>
              <a:off x="4312377" y="1910814"/>
              <a:ext cx="2482872" cy="1523495"/>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50"/>
                <a:buFont typeface="Arial"/>
                <a:buNone/>
              </a:pPr>
              <a:endParaRPr sz="1050" b="0" i="0" u="none" strike="noStrike" cap="none">
                <a:solidFill>
                  <a:schemeClr val="dk1"/>
                </a:solidFill>
                <a:latin typeface="Helvetica Neue"/>
                <a:ea typeface="Helvetica Neue"/>
                <a:cs typeface="Helvetica Neue"/>
                <a:sym typeface="Helvetica Neue"/>
              </a:endParaRPr>
            </a:p>
            <a:p>
              <a:pPr marL="0" marR="0" lvl="0" indent="0" algn="l" rtl="0">
                <a:lnSpc>
                  <a:spcPct val="100000"/>
                </a:lnSpc>
                <a:spcBef>
                  <a:spcPts val="0"/>
                </a:spcBef>
                <a:spcAft>
                  <a:spcPts val="0"/>
                </a:spcAft>
                <a:buClr>
                  <a:srgbClr val="000000"/>
                </a:buClr>
                <a:buSzPts val="1050"/>
                <a:buFont typeface="Arial"/>
                <a:buNone/>
              </a:pPr>
              <a:r>
                <a:rPr lang="es-ES" sz="1050" b="0" i="0" u="none" strike="noStrike" cap="none">
                  <a:solidFill>
                    <a:schemeClr val="dk1"/>
                  </a:solidFill>
                  <a:latin typeface="Helvetica Neue"/>
                  <a:ea typeface="Helvetica Neue"/>
                  <a:cs typeface="Helvetica Neue"/>
                  <a:sym typeface="Helvetica Neue"/>
                </a:rPr>
                <a:t>La sección </a:t>
              </a:r>
              <a:r>
                <a:rPr lang="es-ES" sz="1050" b="1" i="0" u="none" strike="noStrike" cap="none">
                  <a:solidFill>
                    <a:schemeClr val="dk1"/>
                  </a:solidFill>
                  <a:latin typeface="Helvetica Neue"/>
                  <a:ea typeface="Helvetica Neue"/>
                  <a:cs typeface="Helvetica Neue"/>
                  <a:sym typeface="Helvetica Neue"/>
                </a:rPr>
                <a:t>informativa </a:t>
              </a:r>
              <a:r>
                <a:rPr lang="es-ES" sz="1050" b="0" i="0" u="none" strike="noStrike" cap="none">
                  <a:solidFill>
                    <a:schemeClr val="dk1"/>
                  </a:solidFill>
                  <a:latin typeface="Helvetica Neue"/>
                  <a:ea typeface="Helvetica Neue"/>
                  <a:cs typeface="Helvetica Neue"/>
                  <a:sym typeface="Helvetica Neue"/>
                </a:rPr>
                <a:t>del Onboarding incluye:</a:t>
              </a:r>
              <a:endParaRPr sz="1400" b="0" i="0" u="none" strike="noStrike" cap="none">
                <a:solidFill>
                  <a:srgbClr val="000000"/>
                </a:solidFill>
                <a:latin typeface="Arial"/>
                <a:ea typeface="Arial"/>
                <a:cs typeface="Arial"/>
                <a:sym typeface="Arial"/>
              </a:endParaRPr>
            </a:p>
            <a:p>
              <a:pPr marL="355600" marR="0" lvl="0" indent="-182562" algn="l" rtl="0">
                <a:lnSpc>
                  <a:spcPct val="100000"/>
                </a:lnSpc>
                <a:spcBef>
                  <a:spcPts val="0"/>
                </a:spcBef>
                <a:spcAft>
                  <a:spcPts val="0"/>
                </a:spcAft>
                <a:buClr>
                  <a:schemeClr val="dk1"/>
                </a:buClr>
                <a:buSzPts val="1000"/>
                <a:buFont typeface="Arial"/>
                <a:buChar char="•"/>
              </a:pPr>
              <a:r>
                <a:rPr lang="es-ES" sz="1050" b="0" i="0" u="none" strike="noStrike" cap="none">
                  <a:solidFill>
                    <a:schemeClr val="dk1"/>
                  </a:solidFill>
                  <a:latin typeface="Helvetica Neue"/>
                  <a:ea typeface="Helvetica Neue"/>
                  <a:cs typeface="Helvetica Neue"/>
                  <a:sym typeface="Helvetica Neue"/>
                </a:rPr>
                <a:t>Explicación del </a:t>
              </a:r>
              <a:r>
                <a:rPr lang="es-ES" sz="1050" b="1" i="0" u="none" strike="noStrike" cap="none">
                  <a:solidFill>
                    <a:schemeClr val="dk1"/>
                  </a:solidFill>
                  <a:latin typeface="Helvetica Neue"/>
                  <a:ea typeface="Helvetica Neue"/>
                  <a:cs typeface="Helvetica Neue"/>
                  <a:sym typeface="Helvetica Neue"/>
                </a:rPr>
                <a:t>objetivo</a:t>
              </a:r>
              <a:r>
                <a:rPr lang="es-ES" sz="1050" b="0" i="0" u="none" strike="noStrike" cap="none">
                  <a:solidFill>
                    <a:schemeClr val="dk1"/>
                  </a:solidFill>
                  <a:latin typeface="Helvetica Neue"/>
                  <a:ea typeface="Helvetica Neue"/>
                  <a:cs typeface="Helvetica Neue"/>
                  <a:sym typeface="Helvetica Neue"/>
                </a:rPr>
                <a:t> de la app, motivando a su uso indicando colaboración con la </a:t>
              </a:r>
              <a:r>
                <a:rPr lang="es-ES" sz="1050" b="1" i="0" u="none" strike="noStrike" cap="none">
                  <a:solidFill>
                    <a:schemeClr val="dk1"/>
                  </a:solidFill>
                  <a:latin typeface="Helvetica Neue"/>
                  <a:ea typeface="Helvetica Neue"/>
                  <a:cs typeface="Helvetica Neue"/>
                  <a:sym typeface="Helvetica Neue"/>
                </a:rPr>
                <a:t>Administración </a:t>
              </a:r>
              <a:r>
                <a:rPr lang="es-ES" sz="1050" b="0" i="0" u="none" strike="noStrike" cap="none">
                  <a:solidFill>
                    <a:schemeClr val="dk1"/>
                  </a:solidFill>
                  <a:latin typeface="Helvetica Neue"/>
                  <a:ea typeface="Helvetica Neue"/>
                  <a:cs typeface="Helvetica Neue"/>
                  <a:sym typeface="Helvetica Neue"/>
                </a:rPr>
                <a:t>para la seguridad de todos</a:t>
              </a:r>
              <a:endParaRPr sz="1050" b="0" i="0" u="none" strike="noStrike" cap="none">
                <a:solidFill>
                  <a:schemeClr val="dk1"/>
                </a:solidFill>
                <a:latin typeface="Helvetica Neue"/>
                <a:ea typeface="Helvetica Neue"/>
                <a:cs typeface="Helvetica Neue"/>
                <a:sym typeface="Helvetica Neue"/>
              </a:endParaRPr>
            </a:p>
          </p:txBody>
        </p:sp>
        <p:sp>
          <p:nvSpPr>
            <p:cNvPr id="911" name="Google Shape;911;p3"/>
            <p:cNvSpPr/>
            <p:nvPr/>
          </p:nvSpPr>
          <p:spPr>
            <a:xfrm>
              <a:off x="4236861" y="1644878"/>
              <a:ext cx="2356006" cy="33855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s-ES" sz="1600" b="0" i="0" u="none" strike="noStrike" cap="none">
                  <a:solidFill>
                    <a:schemeClr val="accent5"/>
                  </a:solidFill>
                  <a:latin typeface="Arial"/>
                  <a:ea typeface="Arial"/>
                  <a:cs typeface="Arial"/>
                  <a:sym typeface="Arial"/>
                </a:rPr>
                <a:t>Sección informativa</a:t>
              </a:r>
              <a:endParaRPr sz="1400" b="0" i="0" u="none" strike="noStrike" cap="none">
                <a:solidFill>
                  <a:srgbClr val="000000"/>
                </a:solidFill>
                <a:latin typeface="Arial"/>
                <a:ea typeface="Arial"/>
                <a:cs typeface="Arial"/>
                <a:sym typeface="Arial"/>
              </a:endParaRPr>
            </a:p>
          </p:txBody>
        </p:sp>
      </p:grpSp>
      <p:grpSp>
        <p:nvGrpSpPr>
          <p:cNvPr id="912" name="Google Shape;912;p3"/>
          <p:cNvGrpSpPr/>
          <p:nvPr/>
        </p:nvGrpSpPr>
        <p:grpSpPr>
          <a:xfrm>
            <a:off x="3117808" y="2538264"/>
            <a:ext cx="3525745" cy="1675956"/>
            <a:chOff x="660126" y="1663894"/>
            <a:chExt cx="3878319" cy="1843551"/>
          </a:xfrm>
        </p:grpSpPr>
        <p:sp>
          <p:nvSpPr>
            <p:cNvPr id="913" name="Google Shape;913;p3"/>
            <p:cNvSpPr/>
            <p:nvPr/>
          </p:nvSpPr>
          <p:spPr>
            <a:xfrm>
              <a:off x="705550" y="1929830"/>
              <a:ext cx="2696216" cy="1345753"/>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50"/>
                <a:buFont typeface="Arial"/>
                <a:buNone/>
              </a:pPr>
              <a:endParaRPr sz="1050" b="0" i="0" u="none" strike="noStrike" cap="none">
                <a:solidFill>
                  <a:schemeClr val="dk1"/>
                </a:solidFill>
                <a:latin typeface="Helvetica Neue"/>
                <a:ea typeface="Helvetica Neue"/>
                <a:cs typeface="Helvetica Neue"/>
                <a:sym typeface="Helvetica Neue"/>
              </a:endParaRPr>
            </a:p>
            <a:p>
              <a:pPr marL="0" marR="0" lvl="0" indent="0" algn="l" rtl="0">
                <a:lnSpc>
                  <a:spcPct val="100000"/>
                </a:lnSpc>
                <a:spcBef>
                  <a:spcPts val="0"/>
                </a:spcBef>
                <a:spcAft>
                  <a:spcPts val="0"/>
                </a:spcAft>
                <a:buClr>
                  <a:srgbClr val="000000"/>
                </a:buClr>
                <a:buSzPts val="1050"/>
                <a:buFont typeface="Arial"/>
                <a:buNone/>
              </a:pPr>
              <a:r>
                <a:rPr lang="es-ES" sz="1050" b="0" i="0" u="none" strike="noStrike" cap="none">
                  <a:solidFill>
                    <a:schemeClr val="dk1"/>
                  </a:solidFill>
                  <a:latin typeface="Helvetica Neue"/>
                  <a:ea typeface="Helvetica Neue"/>
                  <a:cs typeface="Helvetica Neue"/>
                  <a:sym typeface="Helvetica Neue"/>
                </a:rPr>
                <a:t>Antes de comenzar a utilizar la app, el usuario puede </a:t>
              </a:r>
              <a:r>
                <a:rPr lang="es-ES" sz="1050" b="1" i="0" u="none" strike="noStrike" cap="none">
                  <a:solidFill>
                    <a:schemeClr val="dk1"/>
                  </a:solidFill>
                  <a:latin typeface="Helvetica Neue"/>
                  <a:ea typeface="Helvetica Neue"/>
                  <a:cs typeface="Helvetica Neue"/>
                  <a:sym typeface="Helvetica Neue"/>
                </a:rPr>
                <a:t>consultar y aceptar </a:t>
              </a:r>
              <a:r>
                <a:rPr lang="es-ES" sz="1050" b="0" i="0" u="none" strike="noStrike" cap="none">
                  <a:solidFill>
                    <a:schemeClr val="dk1"/>
                  </a:solidFill>
                  <a:latin typeface="Helvetica Neue"/>
                  <a:ea typeface="Helvetica Neue"/>
                  <a:cs typeface="Helvetica Neue"/>
                  <a:sym typeface="Helvetica Neue"/>
                </a:rPr>
                <a:t>la información legal:</a:t>
              </a:r>
              <a:endParaRPr sz="1400" b="0" i="0" u="none" strike="noStrike" cap="none">
                <a:solidFill>
                  <a:srgbClr val="000000"/>
                </a:solidFill>
                <a:latin typeface="Arial"/>
                <a:ea typeface="Arial"/>
                <a:cs typeface="Arial"/>
                <a:sym typeface="Arial"/>
              </a:endParaRPr>
            </a:p>
            <a:p>
              <a:pPr marL="355600" marR="0" lvl="0" indent="-182562" algn="l" rtl="0">
                <a:lnSpc>
                  <a:spcPct val="100000"/>
                </a:lnSpc>
                <a:spcBef>
                  <a:spcPts val="0"/>
                </a:spcBef>
                <a:spcAft>
                  <a:spcPts val="0"/>
                </a:spcAft>
                <a:buClr>
                  <a:srgbClr val="000000"/>
                </a:buClr>
                <a:buSzPts val="1000"/>
                <a:buFont typeface="Arial"/>
                <a:buChar char="•"/>
              </a:pPr>
              <a:r>
                <a:rPr lang="es-ES" sz="1050" b="0" i="0" u="none" strike="noStrike" cap="none">
                  <a:solidFill>
                    <a:srgbClr val="000000"/>
                  </a:solidFill>
                  <a:latin typeface="Helvetica Neue"/>
                  <a:ea typeface="Helvetica Neue"/>
                  <a:cs typeface="Helvetica Neue"/>
                  <a:sym typeface="Helvetica Neue"/>
                </a:rPr>
                <a:t>Política de Privacidad</a:t>
              </a:r>
              <a:endParaRPr sz="1400" b="0" i="0" u="none" strike="noStrike" cap="none">
                <a:solidFill>
                  <a:srgbClr val="000000"/>
                </a:solidFill>
                <a:latin typeface="Arial"/>
                <a:ea typeface="Arial"/>
                <a:cs typeface="Arial"/>
                <a:sym typeface="Arial"/>
              </a:endParaRPr>
            </a:p>
            <a:p>
              <a:pPr marL="355600" marR="0" lvl="0" indent="-182562" algn="l" rtl="0">
                <a:lnSpc>
                  <a:spcPct val="100000"/>
                </a:lnSpc>
                <a:spcBef>
                  <a:spcPts val="0"/>
                </a:spcBef>
                <a:spcAft>
                  <a:spcPts val="0"/>
                </a:spcAft>
                <a:buClr>
                  <a:srgbClr val="000000"/>
                </a:buClr>
                <a:buSzPts val="1000"/>
                <a:buFont typeface="Arial"/>
                <a:buChar char="•"/>
              </a:pPr>
              <a:r>
                <a:rPr lang="es-ES" sz="1050" b="0" i="0" u="none" strike="noStrike" cap="none">
                  <a:solidFill>
                    <a:srgbClr val="000000"/>
                  </a:solidFill>
                  <a:latin typeface="Helvetica Neue"/>
                  <a:ea typeface="Helvetica Neue"/>
                  <a:cs typeface="Helvetica Neue"/>
                  <a:sym typeface="Helvetica Neue"/>
                </a:rPr>
                <a:t>Aviso Legal</a:t>
              </a:r>
              <a:endParaRPr sz="1400" b="0" i="0" u="none" strike="noStrike" cap="none">
                <a:solidFill>
                  <a:srgbClr val="000000"/>
                </a:solidFill>
                <a:latin typeface="Arial"/>
                <a:ea typeface="Arial"/>
                <a:cs typeface="Arial"/>
                <a:sym typeface="Arial"/>
              </a:endParaRPr>
            </a:p>
            <a:p>
              <a:pPr marL="355600" marR="0" lvl="0" indent="-182562" algn="l" rtl="0">
                <a:lnSpc>
                  <a:spcPct val="100000"/>
                </a:lnSpc>
                <a:spcBef>
                  <a:spcPts val="0"/>
                </a:spcBef>
                <a:spcAft>
                  <a:spcPts val="0"/>
                </a:spcAft>
                <a:buClr>
                  <a:srgbClr val="000000"/>
                </a:buClr>
                <a:buSzPts val="1000"/>
                <a:buFont typeface="Arial"/>
                <a:buChar char="•"/>
              </a:pPr>
              <a:r>
                <a:rPr lang="es-ES" sz="1050" b="0" i="0" u="none" strike="noStrike" cap="none">
                  <a:solidFill>
                    <a:srgbClr val="000000"/>
                  </a:solidFill>
                  <a:latin typeface="Helvetica Neue"/>
                  <a:ea typeface="Helvetica Neue"/>
                  <a:cs typeface="Helvetica Neue"/>
                  <a:sym typeface="Helvetica Neue"/>
                </a:rPr>
                <a:t>Términos de uso</a:t>
              </a:r>
              <a:endParaRPr sz="1400" b="0" i="0" u="none" strike="noStrike" cap="none">
                <a:solidFill>
                  <a:srgbClr val="000000"/>
                </a:solidFill>
                <a:latin typeface="Arial"/>
                <a:ea typeface="Arial"/>
                <a:cs typeface="Arial"/>
                <a:sym typeface="Arial"/>
              </a:endParaRPr>
            </a:p>
          </p:txBody>
        </p:sp>
        <p:sp>
          <p:nvSpPr>
            <p:cNvPr id="914" name="Google Shape;914;p3"/>
            <p:cNvSpPr/>
            <p:nvPr/>
          </p:nvSpPr>
          <p:spPr>
            <a:xfrm>
              <a:off x="660126" y="1663894"/>
              <a:ext cx="2356006" cy="33855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s-ES" sz="1600" b="0" i="0" u="none" strike="noStrike" cap="none">
                  <a:solidFill>
                    <a:schemeClr val="accent5"/>
                  </a:solidFill>
                  <a:latin typeface="Arial"/>
                  <a:ea typeface="Arial"/>
                  <a:cs typeface="Arial"/>
                  <a:sym typeface="Arial"/>
                </a:rPr>
                <a:t>Información legal</a:t>
              </a:r>
              <a:endParaRPr sz="1400" b="0" i="0" u="none" strike="noStrike" cap="none">
                <a:solidFill>
                  <a:srgbClr val="000000"/>
                </a:solidFill>
                <a:latin typeface="Arial"/>
                <a:ea typeface="Arial"/>
                <a:cs typeface="Arial"/>
                <a:sym typeface="Arial"/>
              </a:endParaRPr>
            </a:p>
          </p:txBody>
        </p:sp>
        <p:grpSp>
          <p:nvGrpSpPr>
            <p:cNvPr id="915" name="Google Shape;915;p3"/>
            <p:cNvGrpSpPr/>
            <p:nvPr/>
          </p:nvGrpSpPr>
          <p:grpSpPr>
            <a:xfrm>
              <a:off x="3610180" y="1708785"/>
              <a:ext cx="928265" cy="1798660"/>
              <a:chOff x="5651424" y="1478106"/>
              <a:chExt cx="1137225" cy="2176379"/>
            </a:xfrm>
          </p:grpSpPr>
          <p:pic>
            <p:nvPicPr>
              <p:cNvPr id="916" name="Google Shape;916;p3"/>
              <p:cNvPicPr preferRelativeResize="0"/>
              <p:nvPr/>
            </p:nvPicPr>
            <p:blipFill rotWithShape="1">
              <a:blip r:embed="rId5">
                <a:alphaModFix/>
              </a:blip>
              <a:srcRect l="5439" t="2974" r="3574" b="1084"/>
              <a:stretch/>
            </p:blipFill>
            <p:spPr>
              <a:xfrm>
                <a:off x="5651424" y="1478106"/>
                <a:ext cx="1137225" cy="2176379"/>
              </a:xfrm>
              <a:prstGeom prst="rect">
                <a:avLst/>
              </a:prstGeom>
              <a:noFill/>
              <a:ln>
                <a:noFill/>
              </a:ln>
            </p:spPr>
          </p:pic>
          <p:pic>
            <p:nvPicPr>
              <p:cNvPr id="917" name="Google Shape;917;p3"/>
              <p:cNvPicPr preferRelativeResize="0"/>
              <p:nvPr/>
            </p:nvPicPr>
            <p:blipFill rotWithShape="1">
              <a:blip r:embed="rId6">
                <a:alphaModFix/>
              </a:blip>
              <a:srcRect/>
              <a:stretch/>
            </p:blipFill>
            <p:spPr>
              <a:xfrm>
                <a:off x="5753252" y="1601652"/>
                <a:ext cx="944647" cy="1940835"/>
              </a:xfrm>
              <a:prstGeom prst="rect">
                <a:avLst/>
              </a:prstGeom>
              <a:noFill/>
              <a:ln>
                <a:noFill/>
              </a:ln>
            </p:spPr>
          </p:pic>
        </p:grpSp>
      </p:grpSp>
      <p:grpSp>
        <p:nvGrpSpPr>
          <p:cNvPr id="918" name="Google Shape;918;p3"/>
          <p:cNvGrpSpPr/>
          <p:nvPr/>
        </p:nvGrpSpPr>
        <p:grpSpPr>
          <a:xfrm>
            <a:off x="3103864" y="4617905"/>
            <a:ext cx="2661071" cy="1465172"/>
            <a:chOff x="4236861" y="1644878"/>
            <a:chExt cx="2927177" cy="1611688"/>
          </a:xfrm>
        </p:grpSpPr>
        <p:sp>
          <p:nvSpPr>
            <p:cNvPr id="919" name="Google Shape;919;p3"/>
            <p:cNvSpPr/>
            <p:nvPr/>
          </p:nvSpPr>
          <p:spPr>
            <a:xfrm>
              <a:off x="4312378" y="1910814"/>
              <a:ext cx="2851660" cy="134575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50"/>
                <a:buFont typeface="Arial"/>
                <a:buNone/>
              </a:pPr>
              <a:endParaRPr sz="1050" b="0" i="0" u="none" strike="noStrike" cap="none">
                <a:solidFill>
                  <a:schemeClr val="dk1"/>
                </a:solidFill>
                <a:latin typeface="Helvetica Neue"/>
                <a:ea typeface="Helvetica Neue"/>
                <a:cs typeface="Helvetica Neue"/>
                <a:sym typeface="Helvetica Neue"/>
              </a:endParaRPr>
            </a:p>
            <a:p>
              <a:pPr marL="0" marR="0" lvl="0" indent="0" algn="l" rtl="0">
                <a:lnSpc>
                  <a:spcPct val="100000"/>
                </a:lnSpc>
                <a:spcBef>
                  <a:spcPts val="0"/>
                </a:spcBef>
                <a:spcAft>
                  <a:spcPts val="0"/>
                </a:spcAft>
                <a:buClr>
                  <a:srgbClr val="000000"/>
                </a:buClr>
                <a:buSzPts val="1050"/>
                <a:buFont typeface="Arial"/>
                <a:buNone/>
              </a:pPr>
              <a:r>
                <a:rPr lang="es-ES" sz="1050" b="0" i="0" u="none" strike="noStrike" cap="none">
                  <a:solidFill>
                    <a:schemeClr val="dk1"/>
                  </a:solidFill>
                  <a:latin typeface="Helvetica Neue"/>
                  <a:ea typeface="Helvetica Neue"/>
                  <a:cs typeface="Helvetica Neue"/>
                  <a:sym typeface="Helvetica Neue"/>
                </a:rPr>
                <a:t>La app muestra una pantalla con una breve explicación del </a:t>
              </a:r>
              <a:r>
                <a:rPr lang="es-ES" sz="1050" b="1" i="0" u="none" strike="noStrike" cap="none">
                  <a:solidFill>
                    <a:schemeClr val="dk1"/>
                  </a:solidFill>
                  <a:latin typeface="Helvetica Neue"/>
                  <a:ea typeface="Helvetica Neue"/>
                  <a:cs typeface="Helvetica Neue"/>
                  <a:sym typeface="Helvetica Neue"/>
                </a:rPr>
                <a:t>funcionamiento de </a:t>
              </a:r>
              <a:r>
                <a:rPr lang="es-ES" sz="1050" b="1" i="1" u="none" strike="noStrike" cap="none">
                  <a:solidFill>
                    <a:schemeClr val="dk1"/>
                  </a:solidFill>
                  <a:latin typeface="Helvetica Neue"/>
                  <a:ea typeface="Helvetica Neue"/>
                  <a:cs typeface="Helvetica Neue"/>
                  <a:sym typeface="Helvetica Neue"/>
                </a:rPr>
                <a:t>contact tracing </a:t>
              </a:r>
              <a:r>
                <a:rPr lang="es-ES" sz="1050" b="0" i="0" u="none" strike="noStrike" cap="none">
                  <a:solidFill>
                    <a:schemeClr val="dk1"/>
                  </a:solidFill>
                  <a:latin typeface="Helvetica Neue"/>
                  <a:ea typeface="Helvetica Neue"/>
                  <a:cs typeface="Helvetica Neue"/>
                  <a:sym typeface="Helvetica Neue"/>
                </a:rPr>
                <a:t>y el uso de los datos que ceda el usuario vía Bluetooth.</a:t>
              </a:r>
              <a:endParaRPr sz="1050" b="0" i="0" u="none" strike="noStrike" cap="none">
                <a:solidFill>
                  <a:schemeClr val="dk1"/>
                </a:solidFill>
                <a:latin typeface="Helvetica Neue"/>
                <a:ea typeface="Helvetica Neue"/>
                <a:cs typeface="Helvetica Neue"/>
                <a:sym typeface="Helvetica Neue"/>
              </a:endParaRPr>
            </a:p>
            <a:p>
              <a:pPr marL="0" marR="0" lvl="0" indent="0" algn="l" rtl="0">
                <a:lnSpc>
                  <a:spcPct val="100000"/>
                </a:lnSpc>
                <a:spcBef>
                  <a:spcPts val="0"/>
                </a:spcBef>
                <a:spcAft>
                  <a:spcPts val="0"/>
                </a:spcAft>
                <a:buClr>
                  <a:srgbClr val="000000"/>
                </a:buClr>
                <a:buSzPts val="1050"/>
                <a:buFont typeface="Arial"/>
                <a:buNone/>
              </a:pPr>
              <a:r>
                <a:rPr lang="es-ES" sz="1050" b="0" i="0" u="none" strike="noStrike" cap="none">
                  <a:solidFill>
                    <a:schemeClr val="dk1"/>
                  </a:solidFill>
                  <a:latin typeface="Helvetica Neue"/>
                  <a:ea typeface="Helvetica Neue"/>
                  <a:cs typeface="Helvetica Neue"/>
                  <a:sym typeface="Helvetica Neue"/>
                </a:rPr>
                <a:t>En esta pantalla, el usuario puede </a:t>
              </a:r>
              <a:r>
                <a:rPr lang="es-ES" sz="1050" b="1" i="0" u="none" strike="noStrike" cap="none">
                  <a:solidFill>
                    <a:schemeClr val="dk1"/>
                  </a:solidFill>
                  <a:latin typeface="Helvetica Neue"/>
                  <a:ea typeface="Helvetica Neue"/>
                  <a:cs typeface="Helvetica Neue"/>
                  <a:sym typeface="Helvetica Neue"/>
                </a:rPr>
                <a:t>activar su </a:t>
              </a:r>
              <a:r>
                <a:rPr lang="es-ES" sz="1050" b="1" i="1" u="none" strike="noStrike" cap="none">
                  <a:solidFill>
                    <a:schemeClr val="dk1"/>
                  </a:solidFill>
                  <a:latin typeface="Helvetica Neue"/>
                  <a:ea typeface="Helvetica Neue"/>
                  <a:cs typeface="Helvetica Neue"/>
                  <a:sym typeface="Helvetica Neue"/>
                </a:rPr>
                <a:t>tracing</a:t>
              </a:r>
              <a:r>
                <a:rPr lang="es-ES" sz="1050" b="1" i="0" u="none" strike="noStrike" cap="none">
                  <a:solidFill>
                    <a:schemeClr val="dk1"/>
                  </a:solidFill>
                  <a:latin typeface="Helvetica Neue"/>
                  <a:ea typeface="Helvetica Neue"/>
                  <a:cs typeface="Helvetica Neue"/>
                  <a:sym typeface="Helvetica Neue"/>
                </a:rPr>
                <a:t> Bluetooth</a:t>
              </a:r>
              <a:endParaRPr sz="1050" b="0" i="0" u="none" strike="noStrike" cap="none">
                <a:solidFill>
                  <a:schemeClr val="dk1"/>
                </a:solidFill>
                <a:latin typeface="Helvetica Neue"/>
                <a:ea typeface="Helvetica Neue"/>
                <a:cs typeface="Helvetica Neue"/>
                <a:sym typeface="Helvetica Neue"/>
              </a:endParaRPr>
            </a:p>
          </p:txBody>
        </p:sp>
        <p:sp>
          <p:nvSpPr>
            <p:cNvPr id="920" name="Google Shape;920;p3"/>
            <p:cNvSpPr/>
            <p:nvPr/>
          </p:nvSpPr>
          <p:spPr>
            <a:xfrm>
              <a:off x="4236861" y="1644878"/>
              <a:ext cx="2356006" cy="37240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s-ES" sz="1600" b="0" i="0" u="none" strike="noStrike" cap="none">
                  <a:solidFill>
                    <a:schemeClr val="accent5"/>
                  </a:solidFill>
                  <a:latin typeface="Arial"/>
                  <a:ea typeface="Arial"/>
                  <a:cs typeface="Arial"/>
                  <a:sym typeface="Arial"/>
                </a:rPr>
                <a:t>Activación de la app</a:t>
              </a:r>
              <a:endParaRPr sz="1400" b="0" i="0" u="none" strike="noStrike" cap="none">
                <a:solidFill>
                  <a:srgbClr val="000000"/>
                </a:solidFill>
                <a:latin typeface="Arial"/>
                <a:ea typeface="Arial"/>
                <a:cs typeface="Arial"/>
                <a:sym typeface="Arial"/>
              </a:endParaRPr>
            </a:p>
          </p:txBody>
        </p:sp>
      </p:grpSp>
      <p:grpSp>
        <p:nvGrpSpPr>
          <p:cNvPr id="921" name="Google Shape;921;p3"/>
          <p:cNvGrpSpPr/>
          <p:nvPr/>
        </p:nvGrpSpPr>
        <p:grpSpPr>
          <a:xfrm>
            <a:off x="5813822" y="4632910"/>
            <a:ext cx="843243" cy="1635146"/>
            <a:chOff x="5945891" y="1981616"/>
            <a:chExt cx="927567" cy="1888844"/>
          </a:xfrm>
        </p:grpSpPr>
        <p:pic>
          <p:nvPicPr>
            <p:cNvPr id="922" name="Google Shape;922;p3"/>
            <p:cNvPicPr preferRelativeResize="0"/>
            <p:nvPr/>
          </p:nvPicPr>
          <p:blipFill rotWithShape="1">
            <a:blip r:embed="rId7">
              <a:alphaModFix/>
            </a:blip>
            <a:srcRect l="6853" t="2542" r="3659" b="1165"/>
            <a:stretch/>
          </p:blipFill>
          <p:spPr>
            <a:xfrm>
              <a:off x="5945891" y="1981616"/>
              <a:ext cx="927567" cy="1888844"/>
            </a:xfrm>
            <a:prstGeom prst="rect">
              <a:avLst/>
            </a:prstGeom>
            <a:noFill/>
            <a:ln>
              <a:noFill/>
            </a:ln>
          </p:spPr>
        </p:pic>
        <p:pic>
          <p:nvPicPr>
            <p:cNvPr id="923" name="Google Shape;923;p3"/>
            <p:cNvPicPr preferRelativeResize="0"/>
            <p:nvPr/>
          </p:nvPicPr>
          <p:blipFill rotWithShape="1">
            <a:blip r:embed="rId8">
              <a:alphaModFix/>
            </a:blip>
            <a:srcRect/>
            <a:stretch/>
          </p:blipFill>
          <p:spPr>
            <a:xfrm>
              <a:off x="6013567" y="2033238"/>
              <a:ext cx="806117" cy="1785600"/>
            </a:xfrm>
            <a:prstGeom prst="roundRect">
              <a:avLst>
                <a:gd name="adj" fmla="val 16667"/>
              </a:avLst>
            </a:prstGeom>
            <a:noFill/>
            <a:ln>
              <a:noFill/>
            </a:ln>
          </p:spPr>
        </p:pic>
        <p:pic>
          <p:nvPicPr>
            <p:cNvPr id="924" name="Google Shape;924;p3"/>
            <p:cNvPicPr preferRelativeResize="0"/>
            <p:nvPr/>
          </p:nvPicPr>
          <p:blipFill rotWithShape="1">
            <a:blip r:embed="rId8">
              <a:alphaModFix/>
            </a:blip>
            <a:srcRect t="56016" b="12142"/>
            <a:stretch/>
          </p:blipFill>
          <p:spPr>
            <a:xfrm>
              <a:off x="6006615" y="2735054"/>
              <a:ext cx="806117" cy="735754"/>
            </a:xfrm>
            <a:prstGeom prst="roundRect">
              <a:avLst>
                <a:gd name="adj" fmla="val 16667"/>
              </a:avLst>
            </a:prstGeom>
            <a:noFill/>
            <a:ln>
              <a:noFill/>
            </a:ln>
          </p:spPr>
        </p:pic>
      </p:grpSp>
      <p:grpSp>
        <p:nvGrpSpPr>
          <p:cNvPr id="925" name="Google Shape;925;p3"/>
          <p:cNvGrpSpPr/>
          <p:nvPr/>
        </p:nvGrpSpPr>
        <p:grpSpPr>
          <a:xfrm>
            <a:off x="7616468" y="4617905"/>
            <a:ext cx="3367374" cy="1650151"/>
            <a:chOff x="4236861" y="1644878"/>
            <a:chExt cx="3704111" cy="1815166"/>
          </a:xfrm>
        </p:grpSpPr>
        <p:pic>
          <p:nvPicPr>
            <p:cNvPr id="926" name="Google Shape;926;p3"/>
            <p:cNvPicPr preferRelativeResize="0"/>
            <p:nvPr/>
          </p:nvPicPr>
          <p:blipFill rotWithShape="1">
            <a:blip r:embed="rId5">
              <a:alphaModFix/>
            </a:blip>
            <a:srcRect l="5439" t="2974" r="3574" b="1084"/>
            <a:stretch/>
          </p:blipFill>
          <p:spPr>
            <a:xfrm>
              <a:off x="7013887" y="1661383"/>
              <a:ext cx="927085" cy="1798661"/>
            </a:xfrm>
            <a:prstGeom prst="rect">
              <a:avLst/>
            </a:prstGeom>
            <a:noFill/>
            <a:ln>
              <a:noFill/>
            </a:ln>
          </p:spPr>
        </p:pic>
        <p:sp>
          <p:nvSpPr>
            <p:cNvPr id="927" name="Google Shape;927;p3"/>
            <p:cNvSpPr/>
            <p:nvPr/>
          </p:nvSpPr>
          <p:spPr>
            <a:xfrm>
              <a:off x="4312377" y="1910814"/>
              <a:ext cx="2482872" cy="116801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50"/>
                <a:buFont typeface="Arial"/>
                <a:buNone/>
              </a:pPr>
              <a:endParaRPr sz="1050" b="0" i="0" u="none" strike="noStrike" cap="none">
                <a:solidFill>
                  <a:schemeClr val="dk1"/>
                </a:solidFill>
                <a:latin typeface="Helvetica Neue"/>
                <a:ea typeface="Helvetica Neue"/>
                <a:cs typeface="Helvetica Neue"/>
                <a:sym typeface="Helvetica Neue"/>
              </a:endParaRPr>
            </a:p>
            <a:p>
              <a:pPr marL="0" marR="0" lvl="0" indent="0" algn="l" rtl="0">
                <a:lnSpc>
                  <a:spcPct val="100000"/>
                </a:lnSpc>
                <a:spcBef>
                  <a:spcPts val="0"/>
                </a:spcBef>
                <a:spcAft>
                  <a:spcPts val="0"/>
                </a:spcAft>
                <a:buClr>
                  <a:srgbClr val="000000"/>
                </a:buClr>
                <a:buSzPts val="1050"/>
                <a:buFont typeface="Arial"/>
                <a:buNone/>
              </a:pPr>
              <a:r>
                <a:rPr lang="es-ES" sz="1050" b="0" i="0" u="none" strike="noStrike" cap="none">
                  <a:solidFill>
                    <a:schemeClr val="dk1"/>
                  </a:solidFill>
                  <a:latin typeface="Helvetica Neue"/>
                  <a:ea typeface="Helvetica Neue"/>
                  <a:cs typeface="Helvetica Neue"/>
                  <a:sym typeface="Helvetica Neue"/>
                </a:rPr>
                <a:t>Tras activar su tracing Bluetooth, el usuario recibe unas recomendaciones sanitarias genéricas (higiene, distancia de seguridad,…)</a:t>
              </a:r>
              <a:endParaRPr sz="1050" b="0" i="0" u="none" strike="noStrike" cap="none">
                <a:solidFill>
                  <a:schemeClr val="dk1"/>
                </a:solidFill>
                <a:latin typeface="Helvetica Neue"/>
                <a:ea typeface="Helvetica Neue"/>
                <a:cs typeface="Helvetica Neue"/>
                <a:sym typeface="Helvetica Neue"/>
              </a:endParaRPr>
            </a:p>
          </p:txBody>
        </p:sp>
        <p:sp>
          <p:nvSpPr>
            <p:cNvPr id="928" name="Google Shape;928;p3"/>
            <p:cNvSpPr/>
            <p:nvPr/>
          </p:nvSpPr>
          <p:spPr>
            <a:xfrm>
              <a:off x="4236861" y="1644878"/>
              <a:ext cx="2356006" cy="37240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s-ES" sz="1600" b="0" i="0" u="none" strike="noStrike" cap="none">
                  <a:solidFill>
                    <a:schemeClr val="accent5"/>
                  </a:solidFill>
                  <a:latin typeface="Arial"/>
                  <a:ea typeface="Arial"/>
                  <a:cs typeface="Arial"/>
                  <a:sym typeface="Arial"/>
                </a:rPr>
                <a:t>Recomendaciones</a:t>
              </a:r>
              <a:endParaRPr sz="1600" b="0" i="0" u="none" strike="noStrike" cap="none">
                <a:solidFill>
                  <a:schemeClr val="accent5"/>
                </a:solidFill>
                <a:latin typeface="Arial"/>
                <a:ea typeface="Arial"/>
                <a:cs typeface="Arial"/>
                <a:sym typeface="Arial"/>
              </a:endParaRPr>
            </a:p>
          </p:txBody>
        </p:sp>
      </p:grpSp>
      <p:sp>
        <p:nvSpPr>
          <p:cNvPr id="929" name="Google Shape;929;p3"/>
          <p:cNvSpPr/>
          <p:nvPr/>
        </p:nvSpPr>
        <p:spPr>
          <a:xfrm rot="2182851">
            <a:off x="10665368" y="2174845"/>
            <a:ext cx="1034469" cy="310521"/>
          </a:xfrm>
          <a:prstGeom prst="rect">
            <a:avLst/>
          </a:prstGeom>
          <a:solidFill>
            <a:srgbClr val="F3F3F3"/>
          </a:solidFill>
          <a:ln w="9525" cap="flat" cmpd="sng">
            <a:solidFill>
              <a:srgbClr val="D9D9D9"/>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s-ES" sz="1000" b="0" i="0" u="none" strike="noStrike" cap="none">
                <a:solidFill>
                  <a:srgbClr val="999999"/>
                </a:solidFill>
                <a:latin typeface="Arial"/>
                <a:ea typeface="Arial"/>
                <a:cs typeface="Arial"/>
                <a:sym typeface="Arial"/>
              </a:rPr>
              <a:t>Pantallas UX ilustrativas</a:t>
            </a:r>
            <a:endParaRPr sz="1000" b="0" i="0" u="none" strike="noStrike" cap="none">
              <a:solidFill>
                <a:srgbClr val="999999"/>
              </a:solidFill>
              <a:latin typeface="Arial"/>
              <a:ea typeface="Arial"/>
              <a:cs typeface="Arial"/>
              <a:sym typeface="Arial"/>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978"/>
        <p:cNvGrpSpPr/>
        <p:nvPr/>
      </p:nvGrpSpPr>
      <p:grpSpPr>
        <a:xfrm>
          <a:off x="0" y="0"/>
          <a:ext cx="0" cy="0"/>
          <a:chOff x="0" y="0"/>
          <a:chExt cx="0" cy="0"/>
        </a:xfrm>
      </p:grpSpPr>
      <p:sp>
        <p:nvSpPr>
          <p:cNvPr id="979" name="Google Shape;979;p7"/>
          <p:cNvSpPr/>
          <p:nvPr/>
        </p:nvSpPr>
        <p:spPr>
          <a:xfrm>
            <a:off x="591367" y="3937085"/>
            <a:ext cx="2084233" cy="836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r>
              <a:rPr lang="es-ES" sz="1100" b="0" i="0" u="none" strike="noStrike" cap="none">
                <a:solidFill>
                  <a:srgbClr val="1A3B47"/>
                </a:solidFill>
                <a:latin typeface="Helvetica Neue"/>
                <a:ea typeface="Helvetica Neue"/>
                <a:cs typeface="Helvetica Neue"/>
                <a:sym typeface="Helvetica Neue"/>
              </a:rPr>
              <a:t>Cuando el servicio sanitario confirma un caso positivo dentro de la cadena de contactos de un usuario, éste recibe una </a:t>
            </a:r>
            <a:r>
              <a:rPr lang="es-ES" sz="1100" b="1" i="0" u="none" strike="noStrike" cap="none">
                <a:solidFill>
                  <a:srgbClr val="1A3B47"/>
                </a:solidFill>
                <a:latin typeface="Helvetica Neue"/>
                <a:ea typeface="Helvetica Neue"/>
                <a:cs typeface="Helvetica Neue"/>
                <a:sym typeface="Helvetica Neue"/>
              </a:rPr>
              <a:t>notificación y recomendaciones sanitarias </a:t>
            </a:r>
            <a:r>
              <a:rPr lang="es-ES" sz="1100" b="0" i="0" u="none" strike="noStrike" cap="none">
                <a:solidFill>
                  <a:srgbClr val="1A3B47"/>
                </a:solidFill>
                <a:latin typeface="Helvetica Neue"/>
                <a:ea typeface="Helvetica Neue"/>
                <a:cs typeface="Helvetica Neue"/>
                <a:sym typeface="Helvetica Neue"/>
              </a:rPr>
              <a:t>en su móvil</a:t>
            </a:r>
            <a:endParaRPr sz="1100" b="0" i="1" u="none" strike="noStrike" cap="none">
              <a:solidFill>
                <a:srgbClr val="1A3B47"/>
              </a:solidFill>
              <a:latin typeface="Helvetica Neue"/>
              <a:ea typeface="Helvetica Neue"/>
              <a:cs typeface="Helvetica Neue"/>
              <a:sym typeface="Helvetica Neue"/>
            </a:endParaRPr>
          </a:p>
        </p:txBody>
      </p:sp>
      <p:sp>
        <p:nvSpPr>
          <p:cNvPr id="980" name="Google Shape;980;p7"/>
          <p:cNvSpPr txBox="1"/>
          <p:nvPr/>
        </p:nvSpPr>
        <p:spPr>
          <a:xfrm>
            <a:off x="335998" y="649092"/>
            <a:ext cx="11232600" cy="7221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2400"/>
              <a:buFont typeface="Playfair Display"/>
              <a:buNone/>
            </a:pPr>
            <a:r>
              <a:rPr lang="es-ES" sz="2400" b="1" i="0" u="none" strike="noStrike" cap="none" dirty="0">
                <a:solidFill>
                  <a:schemeClr val="dk1"/>
                </a:solidFill>
                <a:latin typeface="Playfair Display"/>
                <a:ea typeface="Playfair Display"/>
                <a:cs typeface="Playfair Display"/>
                <a:sym typeface="Playfair Display"/>
              </a:rPr>
              <a:t>Pre-piloto: Funcional</a:t>
            </a:r>
            <a:r>
              <a:rPr lang="es-ES" sz="2400" b="0" i="0" u="none" strike="noStrike" cap="none" dirty="0">
                <a:solidFill>
                  <a:schemeClr val="dk1"/>
                </a:solidFill>
                <a:latin typeface="Playfair Display"/>
                <a:ea typeface="Playfair Display"/>
                <a:cs typeface="Playfair Display"/>
                <a:sym typeface="Playfair Display"/>
              </a:rPr>
              <a:t>. Funcionamiento de Covid-19 app: </a:t>
            </a:r>
            <a:r>
              <a:rPr lang="es-ES" sz="2400" b="0" i="1" u="none" strike="noStrike" cap="none" dirty="0" err="1">
                <a:solidFill>
                  <a:schemeClr val="dk1"/>
                </a:solidFill>
                <a:latin typeface="Playfair Display"/>
                <a:ea typeface="Playfair Display"/>
                <a:cs typeface="Playfair Display"/>
                <a:sym typeface="Playfair Display"/>
              </a:rPr>
              <a:t>journey</a:t>
            </a:r>
            <a:r>
              <a:rPr lang="es-ES" sz="2400" b="0" i="1" u="none" strike="noStrike" cap="none" dirty="0">
                <a:solidFill>
                  <a:schemeClr val="dk1"/>
                </a:solidFill>
                <a:latin typeface="Playfair Display"/>
                <a:ea typeface="Playfair Display"/>
                <a:cs typeface="Playfair Display"/>
                <a:sym typeface="Playfair Display"/>
              </a:rPr>
              <a:t> </a:t>
            </a:r>
            <a:r>
              <a:rPr lang="es-ES" sz="2400" dirty="0">
                <a:solidFill>
                  <a:schemeClr val="dk1"/>
                </a:solidFill>
                <a:latin typeface="Playfair Display"/>
                <a:ea typeface="Playfair Display"/>
                <a:cs typeface="Playfair Display"/>
                <a:sym typeface="Playfair Display"/>
              </a:rPr>
              <a:t>2</a:t>
            </a:r>
            <a:endParaRPr sz="2400" b="0" i="0" u="none" strike="noStrike" cap="none" dirty="0">
              <a:solidFill>
                <a:schemeClr val="dk1"/>
              </a:solidFill>
              <a:latin typeface="Playfair Display"/>
              <a:ea typeface="Playfair Display"/>
              <a:cs typeface="Playfair Display"/>
              <a:sym typeface="Playfair Display"/>
            </a:endParaRPr>
          </a:p>
        </p:txBody>
      </p:sp>
      <p:sp>
        <p:nvSpPr>
          <p:cNvPr id="981" name="Google Shape;981;p7"/>
          <p:cNvSpPr txBox="1">
            <a:spLocks noGrp="1"/>
          </p:cNvSpPr>
          <p:nvPr>
            <p:ph type="body" idx="1"/>
          </p:nvPr>
        </p:nvSpPr>
        <p:spPr>
          <a:xfrm>
            <a:off x="336000" y="128400"/>
            <a:ext cx="11519400" cy="251400"/>
          </a:xfrm>
          <a:prstGeom prst="rect">
            <a:avLst/>
          </a:prstGeom>
          <a:noFill/>
          <a:ln>
            <a:noFill/>
          </a:ln>
        </p:spPr>
        <p:txBody>
          <a:bodyPr spcFirstLastPara="1" wrap="square" lIns="0" tIns="45700" rIns="91425" bIns="45700" anchor="t" anchorCtr="0">
            <a:noAutofit/>
          </a:bodyPr>
          <a:lstStyle/>
          <a:p>
            <a:pPr marL="0" lvl="0" indent="0" algn="l" rtl="0">
              <a:lnSpc>
                <a:spcPct val="90000"/>
              </a:lnSpc>
              <a:spcBef>
                <a:spcPts val="0"/>
              </a:spcBef>
              <a:spcAft>
                <a:spcPts val="0"/>
              </a:spcAft>
              <a:buClr>
                <a:srgbClr val="1A3B47"/>
              </a:buClr>
              <a:buSzPts val="1400"/>
              <a:buNone/>
            </a:pPr>
            <a:r>
              <a:rPr lang="es-ES" sz="1400">
                <a:latin typeface="Playfair Display"/>
                <a:ea typeface="Playfair Display"/>
                <a:cs typeface="Playfair Display"/>
                <a:sym typeface="Playfair Display"/>
              </a:rPr>
              <a:t>Covid-19 app - Alcance y enfoque del trabajo propuesto</a:t>
            </a:r>
            <a:endParaRPr/>
          </a:p>
        </p:txBody>
      </p:sp>
      <p:sp>
        <p:nvSpPr>
          <p:cNvPr id="982" name="Google Shape;982;p7"/>
          <p:cNvSpPr/>
          <p:nvPr/>
        </p:nvSpPr>
        <p:spPr>
          <a:xfrm>
            <a:off x="-312700" y="1366728"/>
            <a:ext cx="5976600" cy="453900"/>
          </a:xfrm>
          <a:prstGeom prst="parallelogram">
            <a:avLst>
              <a:gd name="adj" fmla="val 25000"/>
            </a:avLst>
          </a:prstGeom>
          <a:solidFill>
            <a:srgbClr val="C8E7E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799"/>
              <a:buFont typeface="Arial"/>
              <a:buNone/>
            </a:pPr>
            <a:r>
              <a:rPr lang="es-ES" sz="1799" b="0" i="0" u="none" strike="noStrike" cap="none">
                <a:solidFill>
                  <a:srgbClr val="1A3B47"/>
                </a:solidFill>
                <a:latin typeface="Playfair Display"/>
                <a:ea typeface="Playfair Display"/>
                <a:cs typeface="Playfair Display"/>
                <a:sym typeface="Playfair Display"/>
              </a:rPr>
              <a:t>¿Qué ocurre cuando el usuario…?</a:t>
            </a:r>
            <a:endParaRPr sz="1400" b="0" i="0" u="none" strike="noStrike" cap="none">
              <a:solidFill>
                <a:srgbClr val="000000"/>
              </a:solidFill>
              <a:latin typeface="Arial"/>
              <a:ea typeface="Arial"/>
              <a:cs typeface="Arial"/>
              <a:sym typeface="Arial"/>
            </a:endParaRPr>
          </a:p>
        </p:txBody>
      </p:sp>
      <p:grpSp>
        <p:nvGrpSpPr>
          <p:cNvPr id="983" name="Google Shape;983;p7"/>
          <p:cNvGrpSpPr/>
          <p:nvPr/>
        </p:nvGrpSpPr>
        <p:grpSpPr>
          <a:xfrm>
            <a:off x="10992330" y="88959"/>
            <a:ext cx="1104735" cy="536493"/>
            <a:chOff x="508100" y="1640544"/>
            <a:chExt cx="11238400" cy="4620956"/>
          </a:xfrm>
        </p:grpSpPr>
        <p:grpSp>
          <p:nvGrpSpPr>
            <p:cNvPr id="984" name="Google Shape;984;p7"/>
            <p:cNvGrpSpPr/>
            <p:nvPr/>
          </p:nvGrpSpPr>
          <p:grpSpPr>
            <a:xfrm>
              <a:off x="508106" y="1640544"/>
              <a:ext cx="11232175" cy="21551"/>
              <a:chOff x="431923" y="1640499"/>
              <a:chExt cx="9605075" cy="31800"/>
            </a:xfrm>
          </p:grpSpPr>
          <p:cxnSp>
            <p:nvCxnSpPr>
              <p:cNvPr id="985" name="Google Shape;985;p7"/>
              <p:cNvCxnSpPr/>
              <p:nvPr/>
            </p:nvCxnSpPr>
            <p:spPr>
              <a:xfrm>
                <a:off x="431923" y="1640499"/>
                <a:ext cx="4651200" cy="15900"/>
              </a:xfrm>
              <a:prstGeom prst="straightConnector1">
                <a:avLst/>
              </a:prstGeom>
              <a:noFill/>
              <a:ln w="76200" cap="flat" cmpd="sng">
                <a:solidFill>
                  <a:schemeClr val="accent4"/>
                </a:solidFill>
                <a:prstDash val="solid"/>
                <a:round/>
                <a:headEnd type="none" w="sm" len="sm"/>
                <a:tailEnd type="none" w="sm" len="sm"/>
              </a:ln>
            </p:spPr>
          </p:cxnSp>
          <p:cxnSp>
            <p:nvCxnSpPr>
              <p:cNvPr id="986" name="Google Shape;986;p7"/>
              <p:cNvCxnSpPr/>
              <p:nvPr/>
            </p:nvCxnSpPr>
            <p:spPr>
              <a:xfrm>
                <a:off x="5385798" y="1656399"/>
                <a:ext cx="4651200" cy="15900"/>
              </a:xfrm>
              <a:prstGeom prst="straightConnector1">
                <a:avLst/>
              </a:prstGeom>
              <a:noFill/>
              <a:ln w="76200" cap="flat" cmpd="sng">
                <a:solidFill>
                  <a:srgbClr val="CCCCCC"/>
                </a:solidFill>
                <a:prstDash val="solid"/>
                <a:round/>
                <a:headEnd type="none" w="sm" len="sm"/>
                <a:tailEnd type="none" w="sm" len="sm"/>
              </a:ln>
            </p:spPr>
          </p:cxnSp>
        </p:grpSp>
        <p:sp>
          <p:nvSpPr>
            <p:cNvPr id="987" name="Google Shape;987;p7"/>
            <p:cNvSpPr/>
            <p:nvPr/>
          </p:nvSpPr>
          <p:spPr>
            <a:xfrm>
              <a:off x="508100" y="2035875"/>
              <a:ext cx="1390500" cy="4225500"/>
            </a:xfrm>
            <a:prstGeom prst="rect">
              <a:avLst/>
            </a:prstGeom>
            <a:solidFill>
              <a:srgbClr val="E3F3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988" name="Google Shape;988;p7"/>
            <p:cNvSpPr/>
            <p:nvPr/>
          </p:nvSpPr>
          <p:spPr>
            <a:xfrm>
              <a:off x="2132113" y="5255000"/>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989" name="Google Shape;989;p7"/>
            <p:cNvSpPr/>
            <p:nvPr/>
          </p:nvSpPr>
          <p:spPr>
            <a:xfrm>
              <a:off x="2132113" y="3108917"/>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990" name="Google Shape;990;p7"/>
            <p:cNvSpPr/>
            <p:nvPr/>
          </p:nvSpPr>
          <p:spPr>
            <a:xfrm>
              <a:off x="2132113" y="4181958"/>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991" name="Google Shape;991;p7"/>
            <p:cNvSpPr/>
            <p:nvPr/>
          </p:nvSpPr>
          <p:spPr>
            <a:xfrm>
              <a:off x="6343925" y="2035875"/>
              <a:ext cx="5396400" cy="13503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992" name="Google Shape;992;p7"/>
            <p:cNvSpPr/>
            <p:nvPr/>
          </p:nvSpPr>
          <p:spPr>
            <a:xfrm>
              <a:off x="6350100" y="3481700"/>
              <a:ext cx="5396400" cy="13521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993" name="Google Shape;993;p7"/>
            <p:cNvSpPr/>
            <p:nvPr/>
          </p:nvSpPr>
          <p:spPr>
            <a:xfrm>
              <a:off x="6343925" y="4945700"/>
              <a:ext cx="5396400" cy="13158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994" name="Google Shape;994;p7"/>
            <p:cNvSpPr/>
            <p:nvPr/>
          </p:nvSpPr>
          <p:spPr>
            <a:xfrm>
              <a:off x="2132113" y="2035875"/>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grpSp>
      <p:sp>
        <p:nvSpPr>
          <p:cNvPr id="995" name="Google Shape;995;p7"/>
          <p:cNvSpPr/>
          <p:nvPr/>
        </p:nvSpPr>
        <p:spPr>
          <a:xfrm>
            <a:off x="6095699" y="1308814"/>
            <a:ext cx="5334301" cy="610538"/>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r>
              <a:rPr lang="es-ES" sz="2400" b="0" i="0" u="none" strike="noStrike" cap="none">
                <a:solidFill>
                  <a:schemeClr val="accent4"/>
                </a:solidFill>
                <a:latin typeface="Playfair Display"/>
                <a:ea typeface="Playfair Display"/>
                <a:cs typeface="Playfair Display"/>
                <a:sym typeface="Playfair Display"/>
              </a:rPr>
              <a:t>Es alertado de un riesgo de contagio</a:t>
            </a:r>
            <a:endParaRPr sz="2400" b="0" i="0" u="none" strike="noStrike" cap="none">
              <a:solidFill>
                <a:schemeClr val="accent4"/>
              </a:solidFill>
              <a:latin typeface="Playfair Display"/>
              <a:ea typeface="Playfair Display"/>
              <a:cs typeface="Playfair Display"/>
              <a:sym typeface="Playfair Display"/>
            </a:endParaRPr>
          </a:p>
        </p:txBody>
      </p:sp>
      <p:pic>
        <p:nvPicPr>
          <p:cNvPr id="996" name="Google Shape;996;p7"/>
          <p:cNvPicPr preferRelativeResize="0"/>
          <p:nvPr/>
        </p:nvPicPr>
        <p:blipFill rotWithShape="1">
          <a:blip r:embed="rId3">
            <a:alphaModFix/>
          </a:blip>
          <a:srcRect r="64586"/>
          <a:stretch/>
        </p:blipFill>
        <p:spPr>
          <a:xfrm>
            <a:off x="1186167" y="2715351"/>
            <a:ext cx="466020" cy="1122999"/>
          </a:xfrm>
          <a:prstGeom prst="rect">
            <a:avLst/>
          </a:prstGeom>
          <a:noFill/>
          <a:ln>
            <a:noFill/>
          </a:ln>
        </p:spPr>
      </p:pic>
      <p:pic>
        <p:nvPicPr>
          <p:cNvPr id="997" name="Google Shape;997;p7"/>
          <p:cNvPicPr preferRelativeResize="0"/>
          <p:nvPr/>
        </p:nvPicPr>
        <p:blipFill rotWithShape="1">
          <a:blip r:embed="rId4">
            <a:alphaModFix/>
          </a:blip>
          <a:srcRect/>
          <a:stretch/>
        </p:blipFill>
        <p:spPr>
          <a:xfrm>
            <a:off x="1552308" y="2608150"/>
            <a:ext cx="739709" cy="631206"/>
          </a:xfrm>
          <a:prstGeom prst="rect">
            <a:avLst/>
          </a:prstGeom>
          <a:noFill/>
          <a:ln>
            <a:noFill/>
          </a:ln>
        </p:spPr>
      </p:pic>
      <p:pic>
        <p:nvPicPr>
          <p:cNvPr id="998" name="Google Shape;998;p7"/>
          <p:cNvPicPr preferRelativeResize="0"/>
          <p:nvPr/>
        </p:nvPicPr>
        <p:blipFill rotWithShape="1">
          <a:blip r:embed="rId5">
            <a:alphaModFix/>
          </a:blip>
          <a:srcRect/>
          <a:stretch/>
        </p:blipFill>
        <p:spPr>
          <a:xfrm>
            <a:off x="1689153" y="2724915"/>
            <a:ext cx="466020" cy="397663"/>
          </a:xfrm>
          <a:prstGeom prst="rect">
            <a:avLst/>
          </a:prstGeom>
          <a:noFill/>
          <a:ln>
            <a:noFill/>
          </a:ln>
        </p:spPr>
      </p:pic>
      <p:grpSp>
        <p:nvGrpSpPr>
          <p:cNvPr id="999" name="Google Shape;999;p7"/>
          <p:cNvGrpSpPr/>
          <p:nvPr/>
        </p:nvGrpSpPr>
        <p:grpSpPr>
          <a:xfrm>
            <a:off x="3285885" y="2579073"/>
            <a:ext cx="3452163" cy="1303589"/>
            <a:chOff x="660126" y="1663894"/>
            <a:chExt cx="3797379" cy="1433947"/>
          </a:xfrm>
        </p:grpSpPr>
        <p:sp>
          <p:nvSpPr>
            <p:cNvPr id="1000" name="Google Shape;1000;p7"/>
            <p:cNvSpPr/>
            <p:nvPr/>
          </p:nvSpPr>
          <p:spPr>
            <a:xfrm>
              <a:off x="705548" y="1929830"/>
              <a:ext cx="3751957" cy="116801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50"/>
                <a:buFont typeface="Arial"/>
                <a:buNone/>
              </a:pPr>
              <a:endParaRPr sz="1050" b="0" i="0" u="none" strike="noStrike" cap="none">
                <a:solidFill>
                  <a:srgbClr val="1A3B47"/>
                </a:solidFill>
                <a:latin typeface="Helvetica Neue"/>
                <a:ea typeface="Helvetica Neue"/>
                <a:cs typeface="Helvetica Neue"/>
                <a:sym typeface="Helvetica Neue"/>
              </a:endParaRPr>
            </a:p>
            <a:p>
              <a:pPr marL="0" marR="0" lvl="0" indent="0" algn="l" rtl="0">
                <a:lnSpc>
                  <a:spcPct val="100000"/>
                </a:lnSpc>
                <a:spcBef>
                  <a:spcPts val="0"/>
                </a:spcBef>
                <a:spcAft>
                  <a:spcPts val="0"/>
                </a:spcAft>
                <a:buClr>
                  <a:srgbClr val="1A3B47"/>
                </a:buClr>
                <a:buSzPts val="1050"/>
                <a:buFont typeface="Arial"/>
                <a:buNone/>
              </a:pPr>
              <a:r>
                <a:rPr lang="es-ES" sz="1050" b="0" i="0" u="none" strike="noStrike" cap="none">
                  <a:solidFill>
                    <a:srgbClr val="1A3B47"/>
                  </a:solidFill>
                  <a:latin typeface="Helvetica Neue"/>
                  <a:ea typeface="Helvetica Neue"/>
                  <a:cs typeface="Helvetica Neue"/>
                  <a:sym typeface="Helvetica Neue"/>
                </a:rPr>
                <a:t>El usuario recibe una </a:t>
              </a:r>
              <a:r>
                <a:rPr lang="es-ES" sz="1050" b="1" i="0" u="none" strike="noStrike" cap="none">
                  <a:solidFill>
                    <a:srgbClr val="1A3B47"/>
                  </a:solidFill>
                  <a:latin typeface="Helvetica Neue"/>
                  <a:ea typeface="Helvetica Neue"/>
                  <a:cs typeface="Helvetica Neue"/>
                  <a:sym typeface="Helvetica Neue"/>
                </a:rPr>
                <a:t>notificación </a:t>
              </a:r>
              <a:r>
                <a:rPr lang="es-ES" sz="1050" b="0" i="0" u="none" strike="noStrike" cap="none">
                  <a:solidFill>
                    <a:srgbClr val="1A3B47"/>
                  </a:solidFill>
                  <a:latin typeface="Helvetica Neue"/>
                  <a:ea typeface="Helvetica Neue"/>
                  <a:cs typeface="Helvetica Neue"/>
                  <a:sym typeface="Helvetica Neue"/>
                </a:rPr>
                <a:t>indicando que uno de sus contactos cercanos ha sido diagnosticado Covid-19</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1A3B47"/>
                </a:buClr>
                <a:buSzPts val="1050"/>
                <a:buFont typeface="Arial"/>
                <a:buNone/>
              </a:pPr>
              <a:r>
                <a:rPr lang="es-ES" sz="1050" b="0" i="0" u="none" strike="noStrike" cap="none">
                  <a:solidFill>
                    <a:srgbClr val="1A3B47"/>
                  </a:solidFill>
                  <a:latin typeface="Helvetica Neue"/>
                  <a:ea typeface="Helvetica Neue"/>
                  <a:cs typeface="Helvetica Neue"/>
                  <a:sym typeface="Helvetica Neue"/>
                </a:rPr>
                <a:t>En ningún caso se revela la identidad del usuario infectado ni se facilita ningún dato relacionado con él</a:t>
              </a:r>
              <a:endParaRPr sz="1050" b="0" i="0" u="none" strike="noStrike" cap="none">
                <a:solidFill>
                  <a:srgbClr val="1A3B47"/>
                </a:solidFill>
                <a:latin typeface="Helvetica Neue"/>
                <a:ea typeface="Helvetica Neue"/>
                <a:cs typeface="Helvetica Neue"/>
                <a:sym typeface="Helvetica Neue"/>
              </a:endParaRPr>
            </a:p>
          </p:txBody>
        </p:sp>
        <p:sp>
          <p:nvSpPr>
            <p:cNvPr id="1001" name="Google Shape;1001;p7"/>
            <p:cNvSpPr/>
            <p:nvPr/>
          </p:nvSpPr>
          <p:spPr>
            <a:xfrm>
              <a:off x="660126" y="1663894"/>
              <a:ext cx="2356006" cy="37240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639FCB"/>
                </a:buClr>
                <a:buSzPts val="1600"/>
                <a:buFont typeface="Arial"/>
                <a:buNone/>
              </a:pPr>
              <a:r>
                <a:rPr lang="es-ES" sz="1600" b="0" i="0" u="none" strike="noStrike" cap="none">
                  <a:solidFill>
                    <a:srgbClr val="639FCB"/>
                  </a:solidFill>
                  <a:latin typeface="Arial"/>
                  <a:ea typeface="Arial"/>
                  <a:cs typeface="Arial"/>
                  <a:sym typeface="Arial"/>
                </a:rPr>
                <a:t>Notificación </a:t>
              </a:r>
              <a:endParaRPr sz="1600" b="0" i="0" u="none" strike="noStrike" cap="none">
                <a:solidFill>
                  <a:srgbClr val="639FCB"/>
                </a:solidFill>
                <a:latin typeface="Arial"/>
                <a:ea typeface="Arial"/>
                <a:cs typeface="Arial"/>
                <a:sym typeface="Arial"/>
              </a:endParaRPr>
            </a:p>
          </p:txBody>
        </p:sp>
      </p:grpSp>
      <p:grpSp>
        <p:nvGrpSpPr>
          <p:cNvPr id="1002" name="Google Shape;1002;p7"/>
          <p:cNvGrpSpPr/>
          <p:nvPr/>
        </p:nvGrpSpPr>
        <p:grpSpPr>
          <a:xfrm>
            <a:off x="3285885" y="4507227"/>
            <a:ext cx="4621310" cy="1687279"/>
            <a:chOff x="4236861" y="1644878"/>
            <a:chExt cx="5125581" cy="1856007"/>
          </a:xfrm>
        </p:grpSpPr>
        <p:pic>
          <p:nvPicPr>
            <p:cNvPr id="1003" name="Google Shape;1003;p7"/>
            <p:cNvPicPr preferRelativeResize="0"/>
            <p:nvPr/>
          </p:nvPicPr>
          <p:blipFill rotWithShape="1">
            <a:blip r:embed="rId6">
              <a:alphaModFix/>
            </a:blip>
            <a:srcRect l="5439" t="2974" r="3574" b="1084"/>
            <a:stretch/>
          </p:blipFill>
          <p:spPr>
            <a:xfrm>
              <a:off x="8435357" y="1702224"/>
              <a:ext cx="927085" cy="1798661"/>
            </a:xfrm>
            <a:prstGeom prst="rect">
              <a:avLst/>
            </a:prstGeom>
            <a:noFill/>
            <a:ln>
              <a:noFill/>
            </a:ln>
          </p:spPr>
        </p:pic>
        <p:sp>
          <p:nvSpPr>
            <p:cNvPr id="1004" name="Google Shape;1004;p7"/>
            <p:cNvSpPr/>
            <p:nvPr/>
          </p:nvSpPr>
          <p:spPr>
            <a:xfrm>
              <a:off x="4312376" y="1910814"/>
              <a:ext cx="3538934" cy="81253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50"/>
                <a:buFont typeface="Arial"/>
                <a:buNone/>
              </a:pPr>
              <a:endParaRPr sz="1050" b="0" i="0" u="none" strike="noStrike" cap="none">
                <a:solidFill>
                  <a:schemeClr val="dk1"/>
                </a:solidFill>
                <a:latin typeface="Helvetica Neue"/>
                <a:ea typeface="Helvetica Neue"/>
                <a:cs typeface="Helvetica Neue"/>
                <a:sym typeface="Helvetica Neue"/>
              </a:endParaRPr>
            </a:p>
            <a:p>
              <a:pPr marL="0" marR="0" lvl="0" indent="0" algn="l" rtl="0">
                <a:lnSpc>
                  <a:spcPct val="100000"/>
                </a:lnSpc>
                <a:spcBef>
                  <a:spcPts val="0"/>
                </a:spcBef>
                <a:spcAft>
                  <a:spcPts val="0"/>
                </a:spcAft>
                <a:buClr>
                  <a:srgbClr val="000000"/>
                </a:buClr>
                <a:buSzPts val="1050"/>
                <a:buFont typeface="Arial"/>
                <a:buNone/>
              </a:pPr>
              <a:r>
                <a:rPr lang="es-ES" sz="1050" b="0" i="0" u="none" strike="noStrike" cap="none">
                  <a:solidFill>
                    <a:srgbClr val="1A3B47"/>
                  </a:solidFill>
                  <a:latin typeface="Helvetica Neue"/>
                  <a:ea typeface="Helvetica Neue"/>
                  <a:cs typeface="Helvetica Neue"/>
                  <a:sym typeface="Helvetica Neue"/>
                </a:rPr>
                <a:t>Al acceder a la notificación, el usuario visualiza una pantalla de recomendaciones para personas en riesgo</a:t>
              </a:r>
              <a:endParaRPr sz="1050" b="0" i="0" u="none" strike="noStrike" cap="none">
                <a:solidFill>
                  <a:srgbClr val="1A3B47"/>
                </a:solidFill>
                <a:latin typeface="Helvetica Neue"/>
                <a:ea typeface="Helvetica Neue"/>
                <a:cs typeface="Helvetica Neue"/>
                <a:sym typeface="Helvetica Neue"/>
              </a:endParaRPr>
            </a:p>
          </p:txBody>
        </p:sp>
        <p:sp>
          <p:nvSpPr>
            <p:cNvPr id="1005" name="Google Shape;1005;p7"/>
            <p:cNvSpPr/>
            <p:nvPr/>
          </p:nvSpPr>
          <p:spPr>
            <a:xfrm>
              <a:off x="4236861" y="1644878"/>
              <a:ext cx="2356006" cy="372409"/>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600"/>
                <a:buFont typeface="Arial"/>
                <a:buNone/>
              </a:pPr>
              <a:r>
                <a:rPr lang="es-ES" sz="1600" b="0" i="0" u="none" strike="noStrike" cap="none">
                  <a:solidFill>
                    <a:schemeClr val="accent5"/>
                  </a:solidFill>
                  <a:latin typeface="Arial"/>
                  <a:ea typeface="Arial"/>
                  <a:cs typeface="Arial"/>
                  <a:sym typeface="Arial"/>
                </a:rPr>
                <a:t>Recomendaciones</a:t>
              </a:r>
              <a:endParaRPr sz="1600" b="0" i="0" u="none" strike="noStrike" cap="none">
                <a:solidFill>
                  <a:schemeClr val="accent5"/>
                </a:solidFill>
                <a:latin typeface="Arial"/>
                <a:ea typeface="Arial"/>
                <a:cs typeface="Arial"/>
                <a:sym typeface="Arial"/>
              </a:endParaRPr>
            </a:p>
          </p:txBody>
        </p:sp>
      </p:grpSp>
      <p:sp>
        <p:nvSpPr>
          <p:cNvPr id="1006" name="Google Shape;1006;p7"/>
          <p:cNvSpPr/>
          <p:nvPr/>
        </p:nvSpPr>
        <p:spPr>
          <a:xfrm rot="2182851">
            <a:off x="7682096" y="2161293"/>
            <a:ext cx="1034469" cy="310521"/>
          </a:xfrm>
          <a:prstGeom prst="rect">
            <a:avLst/>
          </a:prstGeom>
          <a:solidFill>
            <a:srgbClr val="F3F3F3"/>
          </a:solidFill>
          <a:ln w="9525" cap="flat" cmpd="sng">
            <a:solidFill>
              <a:srgbClr val="D9D9D9"/>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s-ES" sz="1000" b="0" i="0" u="none" strike="noStrike" cap="none">
                <a:solidFill>
                  <a:srgbClr val="999999"/>
                </a:solidFill>
                <a:latin typeface="Arial"/>
                <a:ea typeface="Arial"/>
                <a:cs typeface="Arial"/>
                <a:sym typeface="Arial"/>
              </a:rPr>
              <a:t>Pantallas UX ilustrativas</a:t>
            </a:r>
            <a:endParaRPr sz="1000" b="0" i="0" u="none" strike="noStrike" cap="none">
              <a:solidFill>
                <a:srgbClr val="999999"/>
              </a:solidFill>
              <a:latin typeface="Arial"/>
              <a:ea typeface="Arial"/>
              <a:cs typeface="Arial"/>
              <a:sym typeface="Arial"/>
            </a:endParaRPr>
          </a:p>
        </p:txBody>
      </p:sp>
      <p:grpSp>
        <p:nvGrpSpPr>
          <p:cNvPr id="1007" name="Google Shape;1007;p7"/>
          <p:cNvGrpSpPr/>
          <p:nvPr/>
        </p:nvGrpSpPr>
        <p:grpSpPr>
          <a:xfrm>
            <a:off x="7102625" y="2458726"/>
            <a:ext cx="804479" cy="1560941"/>
            <a:chOff x="4333474" y="2499740"/>
            <a:chExt cx="927567" cy="1888845"/>
          </a:xfrm>
        </p:grpSpPr>
        <p:pic>
          <p:nvPicPr>
            <p:cNvPr id="1008" name="Google Shape;1008;p7"/>
            <p:cNvPicPr preferRelativeResize="0"/>
            <p:nvPr/>
          </p:nvPicPr>
          <p:blipFill rotWithShape="1">
            <a:blip r:embed="rId7">
              <a:alphaModFix/>
            </a:blip>
            <a:srcRect l="6854" t="2542" r="3659" b="1165"/>
            <a:stretch/>
          </p:blipFill>
          <p:spPr>
            <a:xfrm>
              <a:off x="4333474" y="2499740"/>
              <a:ext cx="927567" cy="1888845"/>
            </a:xfrm>
            <a:prstGeom prst="rect">
              <a:avLst/>
            </a:prstGeom>
            <a:noFill/>
            <a:ln>
              <a:noFill/>
            </a:ln>
          </p:spPr>
        </p:pic>
        <p:pic>
          <p:nvPicPr>
            <p:cNvPr id="1009" name="Google Shape;1009;p7"/>
            <p:cNvPicPr preferRelativeResize="0"/>
            <p:nvPr/>
          </p:nvPicPr>
          <p:blipFill rotWithShape="1">
            <a:blip r:embed="rId8">
              <a:alphaModFix/>
            </a:blip>
            <a:srcRect/>
            <a:stretch/>
          </p:blipFill>
          <p:spPr>
            <a:xfrm>
              <a:off x="4382169" y="2550694"/>
              <a:ext cx="826200" cy="1786500"/>
            </a:xfrm>
            <a:prstGeom prst="roundRect">
              <a:avLst>
                <a:gd name="adj" fmla="val 9678"/>
              </a:avLst>
            </a:prstGeom>
            <a:noFill/>
            <a:ln>
              <a:noFill/>
            </a:ln>
          </p:spPr>
        </p:pic>
      </p:gr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022"/>
        <p:cNvGrpSpPr/>
        <p:nvPr/>
      </p:nvGrpSpPr>
      <p:grpSpPr>
        <a:xfrm>
          <a:off x="0" y="0"/>
          <a:ext cx="0" cy="0"/>
          <a:chOff x="0" y="0"/>
          <a:chExt cx="0" cy="0"/>
        </a:xfrm>
      </p:grpSpPr>
      <p:sp>
        <p:nvSpPr>
          <p:cNvPr id="1023" name="Google Shape;1023;p8"/>
          <p:cNvSpPr/>
          <p:nvPr/>
        </p:nvSpPr>
        <p:spPr>
          <a:xfrm>
            <a:off x="591367" y="3937085"/>
            <a:ext cx="2084233" cy="836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r>
              <a:rPr lang="es-ES" sz="1100" b="0" i="0" u="none" strike="noStrike" cap="none">
                <a:solidFill>
                  <a:srgbClr val="1A3B47"/>
                </a:solidFill>
                <a:latin typeface="Helvetica Neue"/>
                <a:ea typeface="Helvetica Neue"/>
                <a:cs typeface="Helvetica Neue"/>
                <a:sym typeface="Helvetica Neue"/>
              </a:rPr>
              <a:t>Cuando el servicio sanitario confirma un caso positivo dentro de la cadena de contactos de un usuario, éste recibe una notificación y recomendaciones sanitarias en su móvil</a:t>
            </a:r>
            <a:endParaRPr sz="1100" b="0" i="1" u="none" strike="noStrike" cap="none">
              <a:solidFill>
                <a:srgbClr val="1A3B47"/>
              </a:solidFill>
              <a:latin typeface="Helvetica Neue"/>
              <a:ea typeface="Helvetica Neue"/>
              <a:cs typeface="Helvetica Neue"/>
              <a:sym typeface="Helvetica Neue"/>
            </a:endParaRPr>
          </a:p>
        </p:txBody>
      </p:sp>
      <p:sp>
        <p:nvSpPr>
          <p:cNvPr id="1024" name="Google Shape;1024;p8"/>
          <p:cNvSpPr txBox="1"/>
          <p:nvPr/>
        </p:nvSpPr>
        <p:spPr>
          <a:xfrm>
            <a:off x="335998" y="649092"/>
            <a:ext cx="11232600" cy="7221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2400"/>
              <a:buFont typeface="Playfair Display"/>
              <a:buNone/>
            </a:pPr>
            <a:r>
              <a:rPr lang="es-ES" sz="2400" b="1" i="0" u="none" strike="noStrike" cap="none" dirty="0">
                <a:solidFill>
                  <a:schemeClr val="dk1"/>
                </a:solidFill>
                <a:latin typeface="Playfair Display"/>
                <a:ea typeface="Playfair Display"/>
                <a:cs typeface="Playfair Display"/>
                <a:sym typeface="Playfair Display"/>
              </a:rPr>
              <a:t>Pre-piloto: Funcional</a:t>
            </a:r>
            <a:r>
              <a:rPr lang="es-ES" sz="2400" b="0" i="0" u="none" strike="noStrike" cap="none" dirty="0">
                <a:solidFill>
                  <a:schemeClr val="dk1"/>
                </a:solidFill>
                <a:latin typeface="Playfair Display"/>
                <a:ea typeface="Playfair Display"/>
                <a:cs typeface="Playfair Display"/>
                <a:sym typeface="Playfair Display"/>
              </a:rPr>
              <a:t>. Funcionamiento de Covid-19 app: </a:t>
            </a:r>
            <a:r>
              <a:rPr lang="es-ES" sz="2400" b="0" i="1" u="none" strike="noStrike" cap="none" dirty="0" err="1">
                <a:solidFill>
                  <a:schemeClr val="dk1"/>
                </a:solidFill>
                <a:latin typeface="Playfair Display"/>
                <a:ea typeface="Playfair Display"/>
                <a:cs typeface="Playfair Display"/>
                <a:sym typeface="Playfair Display"/>
              </a:rPr>
              <a:t>journey</a:t>
            </a:r>
            <a:r>
              <a:rPr lang="es-ES" sz="2400" b="0" i="1" u="none" strike="noStrike" cap="none" dirty="0">
                <a:solidFill>
                  <a:schemeClr val="dk1"/>
                </a:solidFill>
                <a:latin typeface="Playfair Display"/>
                <a:ea typeface="Playfair Display"/>
                <a:cs typeface="Playfair Display"/>
                <a:sym typeface="Playfair Display"/>
              </a:rPr>
              <a:t> </a:t>
            </a:r>
            <a:r>
              <a:rPr lang="es-ES" sz="2400" b="0" i="1" u="none" strike="noStrike" cap="none" dirty="0" smtClean="0">
                <a:solidFill>
                  <a:schemeClr val="dk1"/>
                </a:solidFill>
                <a:latin typeface="Playfair Display"/>
                <a:ea typeface="Playfair Display"/>
                <a:cs typeface="Playfair Display"/>
                <a:sym typeface="Playfair Display"/>
              </a:rPr>
              <a:t>3</a:t>
            </a:r>
            <a:endParaRPr sz="2400" b="0" i="1" u="none" strike="noStrike" cap="none" dirty="0">
              <a:solidFill>
                <a:schemeClr val="dk1"/>
              </a:solidFill>
              <a:latin typeface="Playfair Display"/>
              <a:ea typeface="Playfair Display"/>
              <a:cs typeface="Playfair Display"/>
              <a:sym typeface="Playfair Display"/>
            </a:endParaRPr>
          </a:p>
        </p:txBody>
      </p:sp>
      <p:sp>
        <p:nvSpPr>
          <p:cNvPr id="1025" name="Google Shape;1025;p8"/>
          <p:cNvSpPr txBox="1">
            <a:spLocks noGrp="1"/>
          </p:cNvSpPr>
          <p:nvPr>
            <p:ph type="body" idx="1"/>
          </p:nvPr>
        </p:nvSpPr>
        <p:spPr>
          <a:xfrm>
            <a:off x="336000" y="128400"/>
            <a:ext cx="11519400" cy="251400"/>
          </a:xfrm>
          <a:prstGeom prst="rect">
            <a:avLst/>
          </a:prstGeom>
          <a:noFill/>
          <a:ln>
            <a:noFill/>
          </a:ln>
        </p:spPr>
        <p:txBody>
          <a:bodyPr spcFirstLastPara="1" wrap="square" lIns="0" tIns="45700" rIns="91425" bIns="45700" anchor="t" anchorCtr="0">
            <a:noAutofit/>
          </a:bodyPr>
          <a:lstStyle/>
          <a:p>
            <a:pPr marL="0" lvl="0" indent="0" algn="l" rtl="0">
              <a:lnSpc>
                <a:spcPct val="90000"/>
              </a:lnSpc>
              <a:spcBef>
                <a:spcPts val="0"/>
              </a:spcBef>
              <a:spcAft>
                <a:spcPts val="0"/>
              </a:spcAft>
              <a:buClr>
                <a:srgbClr val="1A3B47"/>
              </a:buClr>
              <a:buSzPts val="1400"/>
              <a:buNone/>
            </a:pPr>
            <a:r>
              <a:rPr lang="es-ES" sz="1400">
                <a:latin typeface="Playfair Display"/>
                <a:ea typeface="Playfair Display"/>
                <a:cs typeface="Playfair Display"/>
                <a:sym typeface="Playfair Display"/>
              </a:rPr>
              <a:t>Covid-19 app - Alcance y enfoque del trabajo propuesto</a:t>
            </a:r>
            <a:endParaRPr/>
          </a:p>
        </p:txBody>
      </p:sp>
      <p:sp>
        <p:nvSpPr>
          <p:cNvPr id="1026" name="Google Shape;1026;p8"/>
          <p:cNvSpPr/>
          <p:nvPr/>
        </p:nvSpPr>
        <p:spPr>
          <a:xfrm>
            <a:off x="-312700" y="1366728"/>
            <a:ext cx="5976600" cy="453900"/>
          </a:xfrm>
          <a:prstGeom prst="parallelogram">
            <a:avLst>
              <a:gd name="adj" fmla="val 25000"/>
            </a:avLst>
          </a:prstGeom>
          <a:solidFill>
            <a:srgbClr val="C8E7E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799"/>
              <a:buFont typeface="Arial"/>
              <a:buNone/>
            </a:pPr>
            <a:r>
              <a:rPr lang="es-ES" sz="1799" b="0" i="0" u="none" strike="noStrike" cap="none">
                <a:solidFill>
                  <a:srgbClr val="1A3B47"/>
                </a:solidFill>
                <a:latin typeface="Playfair Display"/>
                <a:ea typeface="Playfair Display"/>
                <a:cs typeface="Playfair Display"/>
                <a:sym typeface="Playfair Display"/>
              </a:rPr>
              <a:t>¿Qué ocurre cuando el usuario…?</a:t>
            </a:r>
            <a:endParaRPr sz="1400" b="0" i="0" u="none" strike="noStrike" cap="none">
              <a:solidFill>
                <a:srgbClr val="000000"/>
              </a:solidFill>
              <a:latin typeface="Arial"/>
              <a:ea typeface="Arial"/>
              <a:cs typeface="Arial"/>
              <a:sym typeface="Arial"/>
            </a:endParaRPr>
          </a:p>
        </p:txBody>
      </p:sp>
      <p:grpSp>
        <p:nvGrpSpPr>
          <p:cNvPr id="1027" name="Google Shape;1027;p8"/>
          <p:cNvGrpSpPr/>
          <p:nvPr/>
        </p:nvGrpSpPr>
        <p:grpSpPr>
          <a:xfrm>
            <a:off x="10992330" y="88959"/>
            <a:ext cx="1104735" cy="536493"/>
            <a:chOff x="508100" y="1640544"/>
            <a:chExt cx="11238400" cy="4620956"/>
          </a:xfrm>
        </p:grpSpPr>
        <p:grpSp>
          <p:nvGrpSpPr>
            <p:cNvPr id="1028" name="Google Shape;1028;p8"/>
            <p:cNvGrpSpPr/>
            <p:nvPr/>
          </p:nvGrpSpPr>
          <p:grpSpPr>
            <a:xfrm>
              <a:off x="508106" y="1640544"/>
              <a:ext cx="11232175" cy="21551"/>
              <a:chOff x="431923" y="1640499"/>
              <a:chExt cx="9605075" cy="31800"/>
            </a:xfrm>
          </p:grpSpPr>
          <p:cxnSp>
            <p:nvCxnSpPr>
              <p:cNvPr id="1029" name="Google Shape;1029;p8"/>
              <p:cNvCxnSpPr/>
              <p:nvPr/>
            </p:nvCxnSpPr>
            <p:spPr>
              <a:xfrm>
                <a:off x="431923" y="1640499"/>
                <a:ext cx="4651200" cy="15900"/>
              </a:xfrm>
              <a:prstGeom prst="straightConnector1">
                <a:avLst/>
              </a:prstGeom>
              <a:noFill/>
              <a:ln w="76200" cap="flat" cmpd="sng">
                <a:solidFill>
                  <a:schemeClr val="accent4"/>
                </a:solidFill>
                <a:prstDash val="solid"/>
                <a:round/>
                <a:headEnd type="none" w="sm" len="sm"/>
                <a:tailEnd type="none" w="sm" len="sm"/>
              </a:ln>
            </p:spPr>
          </p:cxnSp>
          <p:cxnSp>
            <p:nvCxnSpPr>
              <p:cNvPr id="1030" name="Google Shape;1030;p8"/>
              <p:cNvCxnSpPr/>
              <p:nvPr/>
            </p:nvCxnSpPr>
            <p:spPr>
              <a:xfrm>
                <a:off x="5385798" y="1656399"/>
                <a:ext cx="4651200" cy="15900"/>
              </a:xfrm>
              <a:prstGeom prst="straightConnector1">
                <a:avLst/>
              </a:prstGeom>
              <a:noFill/>
              <a:ln w="76200" cap="flat" cmpd="sng">
                <a:solidFill>
                  <a:srgbClr val="CCCCCC"/>
                </a:solidFill>
                <a:prstDash val="solid"/>
                <a:round/>
                <a:headEnd type="none" w="sm" len="sm"/>
                <a:tailEnd type="none" w="sm" len="sm"/>
              </a:ln>
            </p:spPr>
          </p:cxnSp>
        </p:grpSp>
        <p:sp>
          <p:nvSpPr>
            <p:cNvPr id="1031" name="Google Shape;1031;p8"/>
            <p:cNvSpPr/>
            <p:nvPr/>
          </p:nvSpPr>
          <p:spPr>
            <a:xfrm>
              <a:off x="508100" y="2035875"/>
              <a:ext cx="1390500" cy="4225500"/>
            </a:xfrm>
            <a:prstGeom prst="rect">
              <a:avLst/>
            </a:prstGeom>
            <a:solidFill>
              <a:srgbClr val="E3F3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032" name="Google Shape;1032;p8"/>
            <p:cNvSpPr/>
            <p:nvPr/>
          </p:nvSpPr>
          <p:spPr>
            <a:xfrm>
              <a:off x="2132113" y="5255000"/>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033" name="Google Shape;1033;p8"/>
            <p:cNvSpPr/>
            <p:nvPr/>
          </p:nvSpPr>
          <p:spPr>
            <a:xfrm>
              <a:off x="2132113" y="3108917"/>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034" name="Google Shape;1034;p8"/>
            <p:cNvSpPr/>
            <p:nvPr/>
          </p:nvSpPr>
          <p:spPr>
            <a:xfrm>
              <a:off x="2132113" y="4181958"/>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035" name="Google Shape;1035;p8"/>
            <p:cNvSpPr/>
            <p:nvPr/>
          </p:nvSpPr>
          <p:spPr>
            <a:xfrm>
              <a:off x="6343925" y="2035875"/>
              <a:ext cx="5396400" cy="13503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036" name="Google Shape;1036;p8"/>
            <p:cNvSpPr/>
            <p:nvPr/>
          </p:nvSpPr>
          <p:spPr>
            <a:xfrm>
              <a:off x="6350100" y="3481700"/>
              <a:ext cx="5396400" cy="13521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037" name="Google Shape;1037;p8"/>
            <p:cNvSpPr/>
            <p:nvPr/>
          </p:nvSpPr>
          <p:spPr>
            <a:xfrm>
              <a:off x="6343925" y="4945700"/>
              <a:ext cx="5396400" cy="13158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038" name="Google Shape;1038;p8"/>
            <p:cNvSpPr/>
            <p:nvPr/>
          </p:nvSpPr>
          <p:spPr>
            <a:xfrm>
              <a:off x="2132113" y="2035875"/>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grpSp>
      <p:sp>
        <p:nvSpPr>
          <p:cNvPr id="1039" name="Google Shape;1039;p8"/>
          <p:cNvSpPr/>
          <p:nvPr/>
        </p:nvSpPr>
        <p:spPr>
          <a:xfrm>
            <a:off x="6095699" y="1308814"/>
            <a:ext cx="5334301" cy="610538"/>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r>
              <a:rPr lang="es-ES" sz="2400" b="0" i="0" u="none" strike="noStrike" cap="none" dirty="0">
                <a:solidFill>
                  <a:schemeClr val="accent4"/>
                </a:solidFill>
                <a:latin typeface="Playfair Display"/>
                <a:ea typeface="Playfair Display"/>
                <a:cs typeface="Playfair Display"/>
                <a:sym typeface="Playfair Display"/>
              </a:rPr>
              <a:t>Quiere </a:t>
            </a:r>
            <a:r>
              <a:rPr lang="es-ES" sz="2400" b="0" i="0" u="none" strike="noStrike" cap="none" dirty="0" smtClean="0">
                <a:solidFill>
                  <a:schemeClr val="accent4"/>
                </a:solidFill>
                <a:latin typeface="Playfair Display"/>
                <a:ea typeface="Playfair Display"/>
                <a:cs typeface="Playfair Display"/>
                <a:sym typeface="Playfair Display"/>
              </a:rPr>
              <a:t>borrar sus datos</a:t>
            </a:r>
            <a:endParaRPr sz="2400" b="0" i="0" u="none" strike="noStrike" cap="none" dirty="0">
              <a:solidFill>
                <a:schemeClr val="accent4"/>
              </a:solidFill>
              <a:latin typeface="Playfair Display"/>
              <a:ea typeface="Playfair Display"/>
              <a:cs typeface="Playfair Display"/>
              <a:sym typeface="Playfair Display"/>
            </a:endParaRPr>
          </a:p>
        </p:txBody>
      </p:sp>
      <p:pic>
        <p:nvPicPr>
          <p:cNvPr id="1040" name="Google Shape;1040;p8"/>
          <p:cNvPicPr preferRelativeResize="0"/>
          <p:nvPr/>
        </p:nvPicPr>
        <p:blipFill rotWithShape="1">
          <a:blip r:embed="rId3">
            <a:alphaModFix/>
          </a:blip>
          <a:srcRect r="64586"/>
          <a:stretch/>
        </p:blipFill>
        <p:spPr>
          <a:xfrm>
            <a:off x="1186167" y="2715351"/>
            <a:ext cx="466020" cy="1122999"/>
          </a:xfrm>
          <a:prstGeom prst="rect">
            <a:avLst/>
          </a:prstGeom>
          <a:noFill/>
          <a:ln>
            <a:noFill/>
          </a:ln>
        </p:spPr>
      </p:pic>
      <p:pic>
        <p:nvPicPr>
          <p:cNvPr id="1041" name="Google Shape;1041;p8"/>
          <p:cNvPicPr preferRelativeResize="0"/>
          <p:nvPr/>
        </p:nvPicPr>
        <p:blipFill rotWithShape="1">
          <a:blip r:embed="rId4">
            <a:alphaModFix/>
          </a:blip>
          <a:srcRect/>
          <a:stretch/>
        </p:blipFill>
        <p:spPr>
          <a:xfrm>
            <a:off x="1552308" y="2608150"/>
            <a:ext cx="739709" cy="631206"/>
          </a:xfrm>
          <a:prstGeom prst="rect">
            <a:avLst/>
          </a:prstGeom>
          <a:noFill/>
          <a:ln>
            <a:noFill/>
          </a:ln>
        </p:spPr>
      </p:pic>
      <p:pic>
        <p:nvPicPr>
          <p:cNvPr id="1042" name="Google Shape;1042;p8"/>
          <p:cNvPicPr preferRelativeResize="0"/>
          <p:nvPr/>
        </p:nvPicPr>
        <p:blipFill rotWithShape="1">
          <a:blip r:embed="rId5">
            <a:alphaModFix/>
          </a:blip>
          <a:srcRect/>
          <a:stretch/>
        </p:blipFill>
        <p:spPr>
          <a:xfrm>
            <a:off x="1689153" y="2724915"/>
            <a:ext cx="466020" cy="397663"/>
          </a:xfrm>
          <a:prstGeom prst="rect">
            <a:avLst/>
          </a:prstGeom>
          <a:noFill/>
          <a:ln>
            <a:noFill/>
          </a:ln>
        </p:spPr>
      </p:pic>
      <p:grpSp>
        <p:nvGrpSpPr>
          <p:cNvPr id="1043" name="Google Shape;1043;p8"/>
          <p:cNvGrpSpPr/>
          <p:nvPr/>
        </p:nvGrpSpPr>
        <p:grpSpPr>
          <a:xfrm>
            <a:off x="7885869" y="2926042"/>
            <a:ext cx="1002942" cy="2022086"/>
            <a:chOff x="4882141" y="1787566"/>
            <a:chExt cx="1954451" cy="3940476"/>
          </a:xfrm>
        </p:grpSpPr>
        <p:pic>
          <p:nvPicPr>
            <p:cNvPr id="1044" name="Google Shape;1044;p8"/>
            <p:cNvPicPr preferRelativeResize="0"/>
            <p:nvPr/>
          </p:nvPicPr>
          <p:blipFill rotWithShape="1">
            <a:blip r:embed="rId6">
              <a:alphaModFix/>
            </a:blip>
            <a:srcRect l="2598" t="2698" r="3899" b="2233"/>
            <a:stretch/>
          </p:blipFill>
          <p:spPr>
            <a:xfrm>
              <a:off x="4882141" y="1787566"/>
              <a:ext cx="1954451" cy="3940476"/>
            </a:xfrm>
            <a:prstGeom prst="rect">
              <a:avLst/>
            </a:prstGeom>
            <a:noFill/>
            <a:ln>
              <a:noFill/>
            </a:ln>
          </p:spPr>
        </p:pic>
        <p:pic>
          <p:nvPicPr>
            <p:cNvPr id="1045" name="Google Shape;1045;p8"/>
            <p:cNvPicPr preferRelativeResize="0"/>
            <p:nvPr/>
          </p:nvPicPr>
          <p:blipFill rotWithShape="1">
            <a:blip r:embed="rId7">
              <a:alphaModFix/>
            </a:blip>
            <a:srcRect/>
            <a:stretch/>
          </p:blipFill>
          <p:spPr>
            <a:xfrm>
              <a:off x="5015880" y="2157572"/>
              <a:ext cx="1654318" cy="3356107"/>
            </a:xfrm>
            <a:prstGeom prst="roundRect">
              <a:avLst>
                <a:gd name="adj" fmla="val 16667"/>
              </a:avLst>
            </a:prstGeom>
            <a:noFill/>
            <a:ln>
              <a:noFill/>
            </a:ln>
          </p:spPr>
        </p:pic>
      </p:grpSp>
      <p:sp>
        <p:nvSpPr>
          <p:cNvPr id="1046" name="Google Shape;1046;p8"/>
          <p:cNvSpPr txBox="1"/>
          <p:nvPr/>
        </p:nvSpPr>
        <p:spPr>
          <a:xfrm>
            <a:off x="3687855" y="2538264"/>
            <a:ext cx="3422822" cy="26490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s-ES" sz="1600" b="0" i="0" u="none" strike="noStrike" cap="none" dirty="0">
                <a:solidFill>
                  <a:schemeClr val="accent5"/>
                </a:solidFill>
                <a:latin typeface="Arial"/>
                <a:ea typeface="Arial"/>
                <a:cs typeface="Arial"/>
                <a:sym typeface="Arial"/>
              </a:rPr>
              <a:t>Empoderamiento sobre sus datos</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050"/>
              <a:buFont typeface="Arial"/>
              <a:buNone/>
            </a:pPr>
            <a:endParaRPr sz="1050" b="0" i="0" u="none" strike="noStrike" cap="none" dirty="0">
              <a:solidFill>
                <a:srgbClr val="000000"/>
              </a:solidFill>
              <a:latin typeface="Helvetica Neue"/>
              <a:ea typeface="Helvetica Neue"/>
              <a:cs typeface="Helvetica Neue"/>
              <a:sym typeface="Helvetica Neue"/>
            </a:endParaRPr>
          </a:p>
          <a:p>
            <a:pPr marL="0" marR="0" lvl="0" indent="0" algn="l" rtl="0">
              <a:lnSpc>
                <a:spcPct val="100000"/>
              </a:lnSpc>
              <a:spcBef>
                <a:spcPts val="0"/>
              </a:spcBef>
              <a:spcAft>
                <a:spcPts val="0"/>
              </a:spcAft>
              <a:buClr>
                <a:srgbClr val="000000"/>
              </a:buClr>
              <a:buSzPts val="1050"/>
              <a:buFont typeface="Arial"/>
              <a:buNone/>
            </a:pPr>
            <a:endParaRPr sz="1050" b="0" i="0" u="none" strike="noStrike" cap="none" dirty="0">
              <a:solidFill>
                <a:srgbClr val="000000"/>
              </a:solidFill>
              <a:latin typeface="Helvetica Neue"/>
              <a:ea typeface="Helvetica Neue"/>
              <a:cs typeface="Helvetica Neue"/>
              <a:sym typeface="Helvetica Neue"/>
            </a:endParaRPr>
          </a:p>
          <a:p>
            <a:pPr marL="0" marR="0" lvl="0" indent="0" algn="l" rtl="0">
              <a:lnSpc>
                <a:spcPct val="100000"/>
              </a:lnSpc>
              <a:spcBef>
                <a:spcPts val="0"/>
              </a:spcBef>
              <a:spcAft>
                <a:spcPts val="0"/>
              </a:spcAft>
              <a:buClr>
                <a:srgbClr val="000000"/>
              </a:buClr>
              <a:buSzPts val="1050"/>
              <a:buFont typeface="Arial"/>
              <a:buNone/>
            </a:pPr>
            <a:r>
              <a:rPr lang="es-ES" sz="1050" b="0" i="0" u="none" strike="noStrike" cap="none" dirty="0">
                <a:solidFill>
                  <a:srgbClr val="000000"/>
                </a:solidFill>
                <a:latin typeface="Helvetica Neue"/>
                <a:ea typeface="Helvetica Neue"/>
                <a:cs typeface="Helvetica Neue"/>
                <a:sym typeface="Helvetica Neue"/>
              </a:rPr>
              <a:t>El ciudadano puede ejercer un control total de sus datos en la sección </a:t>
            </a:r>
            <a:r>
              <a:rPr lang="es-ES" sz="1050" b="1" i="0" u="none" strike="noStrike" cap="none" dirty="0">
                <a:solidFill>
                  <a:srgbClr val="000000"/>
                </a:solidFill>
                <a:latin typeface="Helvetica Neue"/>
                <a:ea typeface="Helvetica Neue"/>
                <a:cs typeface="Helvetica Neue"/>
                <a:sym typeface="Helvetica Neue"/>
              </a:rPr>
              <a:t>Mis datos</a:t>
            </a:r>
            <a:r>
              <a:rPr lang="es-ES" sz="1050" b="0" i="0" u="none" strike="noStrike" cap="none" dirty="0">
                <a:solidFill>
                  <a:srgbClr val="000000"/>
                </a:solidFill>
                <a:latin typeface="Helvetica Neue"/>
                <a:ea typeface="Helvetica Neue"/>
                <a:cs typeface="Helvetica Neue"/>
                <a:sym typeface="Helvetica Neue"/>
              </a:rPr>
              <a:t>, donde podrá, de forma transparente:</a:t>
            </a:r>
            <a:endParaRPr sz="1050" b="0" i="0" u="none" strike="noStrike" cap="none" dirty="0">
              <a:solidFill>
                <a:srgbClr val="000000"/>
              </a:solidFill>
              <a:latin typeface="Helvetica Neue"/>
              <a:ea typeface="Helvetica Neue"/>
              <a:cs typeface="Helvetica Neue"/>
              <a:sym typeface="Helvetica Neue"/>
            </a:endParaRPr>
          </a:p>
          <a:p>
            <a:pPr marL="0" marR="0" lvl="0" indent="0" algn="l" rtl="0">
              <a:lnSpc>
                <a:spcPct val="100000"/>
              </a:lnSpc>
              <a:spcBef>
                <a:spcPts val="0"/>
              </a:spcBef>
              <a:spcAft>
                <a:spcPts val="0"/>
              </a:spcAft>
              <a:buClr>
                <a:srgbClr val="000000"/>
              </a:buClr>
              <a:buSzPts val="1050"/>
              <a:buFont typeface="Arial"/>
              <a:buNone/>
            </a:pPr>
            <a:endParaRPr sz="1050" b="0" i="0" u="none" strike="noStrike" cap="none" dirty="0">
              <a:solidFill>
                <a:srgbClr val="000000"/>
              </a:solidFill>
              <a:latin typeface="Helvetica Neue"/>
              <a:ea typeface="Helvetica Neue"/>
              <a:cs typeface="Helvetica Neue"/>
              <a:sym typeface="Helvetica Neue"/>
            </a:endParaRPr>
          </a:p>
          <a:p>
            <a:pPr marL="336550" marR="0" lvl="0" indent="-171450" algn="l" rtl="0">
              <a:lnSpc>
                <a:spcPct val="100000"/>
              </a:lnSpc>
              <a:spcBef>
                <a:spcPts val="0"/>
              </a:spcBef>
              <a:spcAft>
                <a:spcPts val="0"/>
              </a:spcAft>
              <a:buClr>
                <a:schemeClr val="dk1"/>
              </a:buClr>
              <a:buSzPts val="1000"/>
              <a:buFont typeface="Arial"/>
              <a:buChar char="•"/>
            </a:pPr>
            <a:r>
              <a:rPr lang="es-ES" sz="1050" b="0" i="0" u="none" strike="noStrike" cap="none" dirty="0">
                <a:solidFill>
                  <a:srgbClr val="000000"/>
                </a:solidFill>
                <a:latin typeface="Helvetica Neue"/>
                <a:ea typeface="Helvetica Neue"/>
                <a:cs typeface="Helvetica Neue"/>
                <a:sym typeface="Helvetica Neue"/>
              </a:rPr>
              <a:t>Ver qué datos ha aportado</a:t>
            </a:r>
            <a:endParaRPr sz="1400" b="0" i="0" u="none" strike="noStrike" cap="none" dirty="0">
              <a:solidFill>
                <a:srgbClr val="000000"/>
              </a:solidFill>
              <a:latin typeface="Arial"/>
              <a:ea typeface="Arial"/>
              <a:cs typeface="Arial"/>
              <a:sym typeface="Arial"/>
            </a:endParaRPr>
          </a:p>
          <a:p>
            <a:pPr marL="336550" marR="0" lvl="0" indent="-171450" algn="l" rtl="0">
              <a:lnSpc>
                <a:spcPct val="100000"/>
              </a:lnSpc>
              <a:spcBef>
                <a:spcPts val="0"/>
              </a:spcBef>
              <a:spcAft>
                <a:spcPts val="0"/>
              </a:spcAft>
              <a:buClr>
                <a:schemeClr val="dk1"/>
              </a:buClr>
              <a:buSzPts val="1000"/>
              <a:buFont typeface="Arial"/>
              <a:buChar char="•"/>
            </a:pPr>
            <a:r>
              <a:rPr lang="es-ES" sz="1050" b="0" i="0" u="none" strike="noStrike" cap="none" dirty="0">
                <a:solidFill>
                  <a:srgbClr val="000000"/>
                </a:solidFill>
                <a:latin typeface="Helvetica Neue"/>
                <a:ea typeface="Helvetica Neue"/>
                <a:cs typeface="Helvetica Neue"/>
                <a:sym typeface="Helvetica Neue"/>
              </a:rPr>
              <a:t>Ver para qué se van a usar, haciendo hincapié en la transparencia y explicando la utilidad que supone tenerlos</a:t>
            </a:r>
            <a:endParaRPr sz="1400" b="0" i="0" u="none" strike="noStrike" cap="none" dirty="0">
              <a:solidFill>
                <a:srgbClr val="000000"/>
              </a:solidFill>
              <a:latin typeface="Arial"/>
              <a:ea typeface="Arial"/>
              <a:cs typeface="Arial"/>
              <a:sym typeface="Arial"/>
            </a:endParaRPr>
          </a:p>
          <a:p>
            <a:pPr marL="336550" marR="0" lvl="0" indent="-171450" algn="l" rtl="0">
              <a:lnSpc>
                <a:spcPct val="100000"/>
              </a:lnSpc>
              <a:spcBef>
                <a:spcPts val="0"/>
              </a:spcBef>
              <a:spcAft>
                <a:spcPts val="0"/>
              </a:spcAft>
              <a:buClr>
                <a:schemeClr val="dk1"/>
              </a:buClr>
              <a:buSzPts val="1000"/>
              <a:buFont typeface="Arial"/>
              <a:buChar char="•"/>
            </a:pPr>
            <a:r>
              <a:rPr lang="es-ES" sz="1050" b="0" i="0" u="none" strike="noStrike" cap="none" dirty="0">
                <a:solidFill>
                  <a:srgbClr val="000000"/>
                </a:solidFill>
                <a:latin typeface="Helvetica Neue"/>
                <a:ea typeface="Helvetica Neue"/>
                <a:cs typeface="Helvetica Neue"/>
                <a:sym typeface="Helvetica Neue"/>
              </a:rPr>
              <a:t>Ejercer su </a:t>
            </a:r>
            <a:r>
              <a:rPr lang="es-ES" sz="1050" b="1" i="0" u="none" strike="noStrike" cap="none" dirty="0">
                <a:solidFill>
                  <a:srgbClr val="000000"/>
                </a:solidFill>
                <a:latin typeface="Helvetica Neue"/>
                <a:ea typeface="Helvetica Neue"/>
                <a:cs typeface="Helvetica Neue"/>
                <a:sym typeface="Helvetica Neue"/>
              </a:rPr>
              <a:t>derecho al </a:t>
            </a:r>
            <a:r>
              <a:rPr lang="es-ES" sz="1050" b="1" i="0" u="none" strike="noStrike" cap="none" dirty="0" smtClean="0">
                <a:solidFill>
                  <a:srgbClr val="000000"/>
                </a:solidFill>
                <a:latin typeface="Helvetica Neue"/>
                <a:ea typeface="Helvetica Neue"/>
                <a:cs typeface="Helvetica Neue"/>
                <a:sym typeface="Helvetica Neue"/>
              </a:rPr>
              <a:t>olvido</a:t>
            </a:r>
            <a:endParaRPr sz="1050" b="0" i="0" u="none" strike="noStrike" cap="none" dirty="0">
              <a:solidFill>
                <a:srgbClr val="000000"/>
              </a:solidFill>
              <a:latin typeface="Helvetica Neue"/>
              <a:ea typeface="Helvetica Neue"/>
              <a:cs typeface="Helvetica Neue"/>
              <a:sym typeface="Helvetica Neue"/>
            </a:endParaRPr>
          </a:p>
          <a:p>
            <a:pPr marL="329350" marR="0" lvl="0" indent="-171450" algn="l" rtl="0">
              <a:lnSpc>
                <a:spcPct val="100000"/>
              </a:lnSpc>
              <a:spcBef>
                <a:spcPts val="0"/>
              </a:spcBef>
              <a:spcAft>
                <a:spcPts val="0"/>
              </a:spcAft>
              <a:buClr>
                <a:schemeClr val="dk1"/>
              </a:buClr>
              <a:buSzPts val="1000"/>
              <a:buFont typeface="Arial"/>
              <a:buChar char="•"/>
            </a:pPr>
            <a:r>
              <a:rPr lang="es-ES" sz="1050" b="0" i="0" u="none" strike="noStrike" cap="none" dirty="0">
                <a:solidFill>
                  <a:srgbClr val="000000"/>
                </a:solidFill>
                <a:latin typeface="Helvetica Neue"/>
                <a:ea typeface="Helvetica Neue"/>
                <a:cs typeface="Helvetica Neue"/>
                <a:sym typeface="Helvetica Neue"/>
              </a:rPr>
              <a:t>Consultar la información legal que aceptó al activar la aplicación</a:t>
            </a:r>
            <a:endParaRPr sz="1050" b="0" i="0" u="none" strike="noStrike" cap="none" dirty="0">
              <a:solidFill>
                <a:srgbClr val="000000"/>
              </a:solidFill>
              <a:latin typeface="Helvetica Neue"/>
              <a:ea typeface="Helvetica Neue"/>
              <a:cs typeface="Helvetica Neue"/>
              <a:sym typeface="Helvetica Neue"/>
            </a:endParaRPr>
          </a:p>
        </p:txBody>
      </p:sp>
      <p:sp>
        <p:nvSpPr>
          <p:cNvPr id="1048" name="Google Shape;1048;p8"/>
          <p:cNvSpPr/>
          <p:nvPr/>
        </p:nvSpPr>
        <p:spPr>
          <a:xfrm rot="2182851">
            <a:off x="8497795" y="2336689"/>
            <a:ext cx="1034469" cy="310521"/>
          </a:xfrm>
          <a:prstGeom prst="rect">
            <a:avLst/>
          </a:prstGeom>
          <a:solidFill>
            <a:srgbClr val="F3F3F3"/>
          </a:solidFill>
          <a:ln w="9525" cap="flat" cmpd="sng">
            <a:solidFill>
              <a:srgbClr val="D9D9D9"/>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000"/>
              <a:buFont typeface="Arial"/>
              <a:buNone/>
            </a:pPr>
            <a:r>
              <a:rPr lang="es-ES" sz="1000" b="0" i="0" u="none" strike="noStrike" cap="none">
                <a:solidFill>
                  <a:srgbClr val="999999"/>
                </a:solidFill>
                <a:latin typeface="Arial"/>
                <a:ea typeface="Arial"/>
                <a:cs typeface="Arial"/>
                <a:sym typeface="Arial"/>
              </a:rPr>
              <a:t>Pantalla UX ilustrativa</a:t>
            </a:r>
            <a:endParaRPr sz="1000" b="0" i="0" u="none" strike="noStrike" cap="none">
              <a:solidFill>
                <a:srgbClr val="999999"/>
              </a:solidFill>
              <a:latin typeface="Arial"/>
              <a:ea typeface="Arial"/>
              <a:cs typeface="Arial"/>
              <a:sym typeface="Arial"/>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052"/>
        <p:cNvGrpSpPr/>
        <p:nvPr/>
      </p:nvGrpSpPr>
      <p:grpSpPr>
        <a:xfrm>
          <a:off x="0" y="0"/>
          <a:ext cx="0" cy="0"/>
          <a:chOff x="0" y="0"/>
          <a:chExt cx="0" cy="0"/>
        </a:xfrm>
      </p:grpSpPr>
      <p:sp>
        <p:nvSpPr>
          <p:cNvPr id="2" name="Marcador de texto 1"/>
          <p:cNvSpPr>
            <a:spLocks noGrp="1"/>
          </p:cNvSpPr>
          <p:nvPr>
            <p:ph type="body" idx="1"/>
          </p:nvPr>
        </p:nvSpPr>
        <p:spPr/>
        <p:txBody>
          <a:bodyPr/>
          <a:lstStyle/>
          <a:p>
            <a:endParaRPr lang="es-ES"/>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084"/>
        <p:cNvGrpSpPr/>
        <p:nvPr/>
      </p:nvGrpSpPr>
      <p:grpSpPr>
        <a:xfrm>
          <a:off x="0" y="0"/>
          <a:ext cx="0" cy="0"/>
          <a:chOff x="0" y="0"/>
          <a:chExt cx="0" cy="0"/>
        </a:xfrm>
      </p:grpSpPr>
      <p:sp>
        <p:nvSpPr>
          <p:cNvPr id="1085" name="Google Shape;1085;g7826bb8c5e_0_85"/>
          <p:cNvSpPr/>
          <p:nvPr/>
        </p:nvSpPr>
        <p:spPr>
          <a:xfrm>
            <a:off x="-300" y="4892375"/>
            <a:ext cx="12192000" cy="1424100"/>
          </a:xfrm>
          <a:prstGeom prst="rect">
            <a:avLst/>
          </a:prstGeom>
          <a:solidFill>
            <a:srgbClr val="E3F3E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86" name="Google Shape;1086;g7826bb8c5e_0_85"/>
          <p:cNvSpPr/>
          <p:nvPr/>
        </p:nvSpPr>
        <p:spPr>
          <a:xfrm>
            <a:off x="7713600" y="1602475"/>
            <a:ext cx="4305300" cy="3282300"/>
          </a:xfrm>
          <a:prstGeom prst="parallelogram">
            <a:avLst>
              <a:gd name="adj" fmla="val 9690"/>
            </a:avLst>
          </a:prstGeom>
          <a:solidFill>
            <a:srgbClr val="E2E2E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700"/>
              <a:buFont typeface="Arial"/>
              <a:buNone/>
            </a:pPr>
            <a:endParaRPr sz="1700" b="0" i="0" u="none" strike="noStrike" cap="none">
              <a:solidFill>
                <a:srgbClr val="FFFFFF"/>
              </a:solidFill>
              <a:latin typeface="Playfair Display"/>
              <a:ea typeface="Playfair Display"/>
              <a:cs typeface="Playfair Display"/>
              <a:sym typeface="Playfair Display"/>
            </a:endParaRPr>
          </a:p>
        </p:txBody>
      </p:sp>
      <p:sp>
        <p:nvSpPr>
          <p:cNvPr id="1087" name="Google Shape;1087;g7826bb8c5e_0_85"/>
          <p:cNvSpPr txBox="1"/>
          <p:nvPr/>
        </p:nvSpPr>
        <p:spPr>
          <a:xfrm>
            <a:off x="324175" y="1128225"/>
            <a:ext cx="4059900" cy="3438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2400"/>
              <a:buFont typeface="Playfair Display"/>
              <a:buNone/>
            </a:pPr>
            <a:r>
              <a:rPr lang="es-ES" sz="2400" b="0" i="0" u="none" strike="noStrike" cap="none">
                <a:solidFill>
                  <a:schemeClr val="dk1"/>
                </a:solidFill>
                <a:latin typeface="Playfair Display"/>
                <a:ea typeface="Playfair Display"/>
                <a:cs typeface="Playfair Display"/>
                <a:sym typeface="Playfair Display"/>
              </a:rPr>
              <a:t>Componentes a alto nivel</a:t>
            </a:r>
            <a:endParaRPr sz="2400" b="0" i="0" u="none" strike="noStrike" cap="none">
              <a:solidFill>
                <a:schemeClr val="dk1"/>
              </a:solidFill>
              <a:latin typeface="Playfair Display"/>
              <a:ea typeface="Playfair Display"/>
              <a:cs typeface="Playfair Display"/>
              <a:sym typeface="Playfair Display"/>
            </a:endParaRPr>
          </a:p>
        </p:txBody>
      </p:sp>
      <p:sp>
        <p:nvSpPr>
          <p:cNvPr id="1088" name="Google Shape;1088;g7826bb8c5e_0_85"/>
          <p:cNvSpPr txBox="1"/>
          <p:nvPr/>
        </p:nvSpPr>
        <p:spPr>
          <a:xfrm>
            <a:off x="1616289" y="6494111"/>
            <a:ext cx="5730900" cy="2847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s-ES" sz="1200" b="0" i="0" u="none" strike="noStrike" cap="none">
                <a:solidFill>
                  <a:srgbClr val="000000"/>
                </a:solidFill>
                <a:latin typeface="Helvetica Neue"/>
                <a:ea typeface="Helvetica Neue"/>
                <a:cs typeface="Helvetica Neue"/>
                <a:sym typeface="Helvetica Neue"/>
              </a:rPr>
              <a:t>** Cualquier otro sistema internacional</a:t>
            </a:r>
            <a:endParaRPr sz="1400" b="0" i="0" u="none" strike="noStrike" cap="none">
              <a:solidFill>
                <a:srgbClr val="000000"/>
              </a:solidFill>
              <a:latin typeface="Arial"/>
              <a:ea typeface="Arial"/>
              <a:cs typeface="Arial"/>
              <a:sym typeface="Arial"/>
            </a:endParaRPr>
          </a:p>
        </p:txBody>
      </p:sp>
      <p:sp>
        <p:nvSpPr>
          <p:cNvPr id="1089" name="Google Shape;1089;g7826bb8c5e_0_85"/>
          <p:cNvSpPr/>
          <p:nvPr/>
        </p:nvSpPr>
        <p:spPr>
          <a:xfrm>
            <a:off x="8026524" y="3405777"/>
            <a:ext cx="3212400" cy="9750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dk1"/>
              </a:buClr>
              <a:buSzPts val="2800"/>
              <a:buFont typeface="Arial"/>
              <a:buNone/>
            </a:pPr>
            <a:endParaRPr sz="2800" b="0" i="0" u="none" strike="noStrike" cap="none">
              <a:solidFill>
                <a:schemeClr val="dk1"/>
              </a:solidFill>
              <a:latin typeface="Arial"/>
              <a:ea typeface="Arial"/>
              <a:cs typeface="Arial"/>
              <a:sym typeface="Arial"/>
            </a:endParaRPr>
          </a:p>
        </p:txBody>
      </p:sp>
      <p:sp>
        <p:nvSpPr>
          <p:cNvPr id="1090" name="Google Shape;1090;g7826bb8c5e_0_85"/>
          <p:cNvSpPr/>
          <p:nvPr/>
        </p:nvSpPr>
        <p:spPr>
          <a:xfrm>
            <a:off x="1199333" y="2417895"/>
            <a:ext cx="1410900" cy="516300"/>
          </a:xfrm>
          <a:prstGeom prst="rect">
            <a:avLst/>
          </a:prstGeom>
          <a:solidFill>
            <a:srgbClr val="4A86E8"/>
          </a:solidFill>
          <a:ln>
            <a:noFill/>
          </a:ln>
          <a:effectLst>
            <a:reflection endPos="10000" fadeDir="5400012" sy="-100000" algn="bl" rotWithShape="0"/>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dk1"/>
              </a:buClr>
              <a:buSzPts val="1800"/>
              <a:buFont typeface="Arial"/>
              <a:buNone/>
            </a:pPr>
            <a:r>
              <a:rPr lang="es-ES" sz="1000" b="1" i="0" u="none" strike="noStrike" cap="none">
                <a:solidFill>
                  <a:srgbClr val="FFFFFF"/>
                </a:solidFill>
                <a:latin typeface="Arial"/>
                <a:ea typeface="Arial"/>
                <a:cs typeface="Arial"/>
                <a:sym typeface="Arial"/>
              </a:rPr>
              <a:t>Backend</a:t>
            </a:r>
            <a:r>
              <a:rPr lang="es-ES" sz="1000" b="0" i="0" u="none" strike="noStrike" cap="none">
                <a:solidFill>
                  <a:srgbClr val="FFFFFF"/>
                </a:solidFill>
                <a:latin typeface="Arial"/>
                <a:ea typeface="Arial"/>
                <a:cs typeface="Arial"/>
                <a:sym typeface="Arial"/>
              </a:rPr>
              <a:t> gestión de balizas para tracing Apps LOCAL</a:t>
            </a:r>
            <a:endParaRPr sz="1000" b="0" i="0" u="none" strike="noStrike" cap="none">
              <a:solidFill>
                <a:srgbClr val="FFFFFF"/>
              </a:solidFill>
              <a:latin typeface="Arial"/>
              <a:ea typeface="Arial"/>
              <a:cs typeface="Arial"/>
              <a:sym typeface="Arial"/>
            </a:endParaRPr>
          </a:p>
        </p:txBody>
      </p:sp>
      <p:sp>
        <p:nvSpPr>
          <p:cNvPr id="1091" name="Google Shape;1091;g7826bb8c5e_0_85"/>
          <p:cNvSpPr/>
          <p:nvPr/>
        </p:nvSpPr>
        <p:spPr>
          <a:xfrm>
            <a:off x="4645033" y="3270484"/>
            <a:ext cx="671700" cy="403500"/>
          </a:xfrm>
          <a:prstGeom prst="rect">
            <a:avLst/>
          </a:prstGeom>
          <a:noFill/>
          <a:ln w="9525" cap="flat" cmpd="sng">
            <a:solidFill>
              <a:schemeClr val="accent4"/>
            </a:solidFill>
            <a:prstDash val="solid"/>
            <a:round/>
            <a:headEnd type="none" w="sm" len="sm"/>
            <a:tailEnd type="none" w="sm" len="sm"/>
          </a:ln>
          <a:effectLst>
            <a:outerShdw blurRad="57150" dist="19050" dir="5400000" algn="bl" rotWithShape="0">
              <a:srgbClr val="000000">
                <a:alpha val="49019"/>
              </a:srgb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dk1"/>
              </a:buClr>
              <a:buSzPts val="900"/>
              <a:buFont typeface="Arial"/>
              <a:buNone/>
            </a:pPr>
            <a:r>
              <a:rPr lang="es-ES" sz="700" b="0" i="0" u="none" strike="noStrike" cap="none">
                <a:solidFill>
                  <a:schemeClr val="dk1"/>
                </a:solidFill>
                <a:latin typeface="Arial"/>
                <a:ea typeface="Arial"/>
                <a:cs typeface="Arial"/>
                <a:sym typeface="Arial"/>
              </a:rPr>
              <a:t>App1  ES</a:t>
            </a:r>
            <a:endParaRPr sz="7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chemeClr val="dk1"/>
              </a:buClr>
              <a:buSzPts val="900"/>
              <a:buFont typeface="Arial"/>
              <a:buNone/>
            </a:pPr>
            <a:endParaRPr sz="7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chemeClr val="dk1"/>
              </a:buClr>
              <a:buSzPts val="1200"/>
              <a:buFont typeface="Arial"/>
              <a:buNone/>
            </a:pPr>
            <a:r>
              <a:rPr lang="es-ES" sz="1000" b="0" i="0" u="none" strike="noStrike" cap="none">
                <a:solidFill>
                  <a:schemeClr val="dk1"/>
                </a:solidFill>
                <a:latin typeface="Arial"/>
                <a:ea typeface="Arial"/>
                <a:cs typeface="Arial"/>
                <a:sym typeface="Arial"/>
              </a:rPr>
              <a:t> User1</a:t>
            </a:r>
            <a:endParaRPr sz="1000" b="0" i="0" u="none" strike="noStrike" cap="none">
              <a:solidFill>
                <a:schemeClr val="dk1"/>
              </a:solidFill>
              <a:latin typeface="Arial"/>
              <a:ea typeface="Arial"/>
              <a:cs typeface="Arial"/>
              <a:sym typeface="Arial"/>
            </a:endParaRPr>
          </a:p>
        </p:txBody>
      </p:sp>
      <p:sp>
        <p:nvSpPr>
          <p:cNvPr id="1092" name="Google Shape;1092;g7826bb8c5e_0_85"/>
          <p:cNvSpPr/>
          <p:nvPr/>
        </p:nvSpPr>
        <p:spPr>
          <a:xfrm>
            <a:off x="6086679" y="2899575"/>
            <a:ext cx="801300" cy="403500"/>
          </a:xfrm>
          <a:prstGeom prst="rect">
            <a:avLst/>
          </a:prstGeom>
          <a:noFill/>
          <a:ln w="9525" cap="flat" cmpd="sng">
            <a:solidFill>
              <a:schemeClr val="accent6"/>
            </a:solidFill>
            <a:prstDash val="solid"/>
            <a:round/>
            <a:headEnd type="none" w="sm" len="sm"/>
            <a:tailEnd type="none" w="sm" len="sm"/>
          </a:ln>
          <a:effectLst>
            <a:outerShdw blurRad="57150" dist="19050" dir="5400000" algn="bl" rotWithShape="0">
              <a:srgbClr val="000000">
                <a:alpha val="49019"/>
              </a:srgb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dk1"/>
              </a:buClr>
              <a:buSzPts val="900"/>
              <a:buFont typeface="Arial"/>
              <a:buNone/>
            </a:pPr>
            <a:r>
              <a:rPr lang="es-ES" sz="700" b="0" i="0" u="none" strike="noStrike" cap="none">
                <a:solidFill>
                  <a:schemeClr val="dk1"/>
                </a:solidFill>
                <a:latin typeface="Arial"/>
                <a:ea typeface="Arial"/>
                <a:cs typeface="Arial"/>
                <a:sym typeface="Arial"/>
              </a:rPr>
              <a:t>App2  CCAA2</a:t>
            </a:r>
            <a:endParaRPr sz="7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chemeClr val="dk1"/>
              </a:buClr>
              <a:buSzPts val="900"/>
              <a:buFont typeface="Arial"/>
              <a:buNone/>
            </a:pPr>
            <a:endParaRPr sz="7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chemeClr val="dk1"/>
              </a:buClr>
              <a:buSzPts val="900"/>
              <a:buFont typeface="Arial"/>
              <a:buNone/>
            </a:pPr>
            <a:r>
              <a:rPr lang="es-ES" sz="700" b="0" i="0" u="none" strike="noStrike" cap="none">
                <a:solidFill>
                  <a:schemeClr val="dk1"/>
                </a:solidFill>
                <a:latin typeface="Arial"/>
                <a:ea typeface="Arial"/>
                <a:cs typeface="Arial"/>
                <a:sym typeface="Arial"/>
              </a:rPr>
              <a:t>   User1</a:t>
            </a:r>
            <a:endParaRPr sz="700" b="0" i="0" u="none" strike="noStrike" cap="none">
              <a:solidFill>
                <a:schemeClr val="dk1"/>
              </a:solidFill>
              <a:latin typeface="Arial"/>
              <a:ea typeface="Arial"/>
              <a:cs typeface="Arial"/>
              <a:sym typeface="Arial"/>
            </a:endParaRPr>
          </a:p>
        </p:txBody>
      </p:sp>
      <p:cxnSp>
        <p:nvCxnSpPr>
          <p:cNvPr id="1093" name="Google Shape;1093;g7826bb8c5e_0_85"/>
          <p:cNvCxnSpPr>
            <a:stCxn id="1090" idx="3"/>
            <a:endCxn id="1092" idx="1"/>
          </p:cNvCxnSpPr>
          <p:nvPr/>
        </p:nvCxnSpPr>
        <p:spPr>
          <a:xfrm>
            <a:off x="2610233" y="2676045"/>
            <a:ext cx="3476400" cy="425400"/>
          </a:xfrm>
          <a:prstGeom prst="straightConnector1">
            <a:avLst/>
          </a:prstGeom>
          <a:noFill/>
          <a:ln w="9525" cap="flat" cmpd="sng">
            <a:solidFill>
              <a:schemeClr val="accent5"/>
            </a:solidFill>
            <a:prstDash val="solid"/>
            <a:round/>
            <a:headEnd type="none" w="sm" len="sm"/>
            <a:tailEnd type="none" w="sm" len="sm"/>
          </a:ln>
        </p:spPr>
      </p:cxnSp>
      <p:cxnSp>
        <p:nvCxnSpPr>
          <p:cNvPr id="1094" name="Google Shape;1094;g7826bb8c5e_0_85"/>
          <p:cNvCxnSpPr>
            <a:stCxn id="1090" idx="3"/>
            <a:endCxn id="1091" idx="1"/>
          </p:cNvCxnSpPr>
          <p:nvPr/>
        </p:nvCxnSpPr>
        <p:spPr>
          <a:xfrm>
            <a:off x="2610233" y="2676045"/>
            <a:ext cx="2034900" cy="796200"/>
          </a:xfrm>
          <a:prstGeom prst="straightConnector1">
            <a:avLst/>
          </a:prstGeom>
          <a:noFill/>
          <a:ln w="9525" cap="flat" cmpd="sng">
            <a:solidFill>
              <a:schemeClr val="accent5"/>
            </a:solidFill>
            <a:prstDash val="solid"/>
            <a:round/>
            <a:headEnd type="none" w="sm" len="sm"/>
            <a:tailEnd type="none" w="sm" len="sm"/>
          </a:ln>
        </p:spPr>
      </p:cxnSp>
      <p:sp>
        <p:nvSpPr>
          <p:cNvPr id="1095" name="Google Shape;1095;g7826bb8c5e_0_85"/>
          <p:cNvSpPr/>
          <p:nvPr/>
        </p:nvSpPr>
        <p:spPr>
          <a:xfrm>
            <a:off x="4787458" y="1533091"/>
            <a:ext cx="801300" cy="403500"/>
          </a:xfrm>
          <a:prstGeom prst="rect">
            <a:avLst/>
          </a:prstGeom>
          <a:noFill/>
          <a:ln w="9525" cap="flat" cmpd="sng">
            <a:solidFill>
              <a:schemeClr val="accent6"/>
            </a:solidFill>
            <a:prstDash val="solid"/>
            <a:round/>
            <a:headEnd type="none" w="sm" len="sm"/>
            <a:tailEnd type="none" w="sm" len="sm"/>
          </a:ln>
          <a:effectLst>
            <a:outerShdw blurRad="57150" dist="19050" dir="5400000" algn="bl" rotWithShape="0">
              <a:srgbClr val="000000">
                <a:alpha val="49019"/>
              </a:srgb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dk1"/>
              </a:buClr>
              <a:buSzPts val="900"/>
              <a:buFont typeface="Arial"/>
              <a:buNone/>
            </a:pPr>
            <a:r>
              <a:rPr lang="es-ES" sz="700" b="0" i="0" u="none" strike="noStrike" cap="none">
                <a:solidFill>
                  <a:schemeClr val="dk1"/>
                </a:solidFill>
                <a:latin typeface="Arial"/>
                <a:ea typeface="Arial"/>
                <a:cs typeface="Arial"/>
                <a:sym typeface="Arial"/>
              </a:rPr>
              <a:t>App2  CCAA2</a:t>
            </a:r>
            <a:endParaRPr sz="7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chemeClr val="dk1"/>
              </a:buClr>
              <a:buSzPts val="900"/>
              <a:buFont typeface="Arial"/>
              <a:buNone/>
            </a:pPr>
            <a:endParaRPr sz="7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chemeClr val="dk1"/>
              </a:buClr>
              <a:buSzPts val="900"/>
              <a:buFont typeface="Arial"/>
              <a:buNone/>
            </a:pPr>
            <a:r>
              <a:rPr lang="es-ES" sz="700" b="0" i="0" u="none" strike="noStrike" cap="none">
                <a:solidFill>
                  <a:schemeClr val="dk1"/>
                </a:solidFill>
                <a:latin typeface="Arial"/>
                <a:ea typeface="Arial"/>
                <a:cs typeface="Arial"/>
                <a:sym typeface="Arial"/>
              </a:rPr>
              <a:t>   User2</a:t>
            </a:r>
            <a:endParaRPr sz="700" b="0" i="0" u="none" strike="noStrike" cap="none">
              <a:solidFill>
                <a:schemeClr val="dk1"/>
              </a:solidFill>
              <a:latin typeface="Arial"/>
              <a:ea typeface="Arial"/>
              <a:cs typeface="Arial"/>
              <a:sym typeface="Arial"/>
            </a:endParaRPr>
          </a:p>
        </p:txBody>
      </p:sp>
      <p:sp>
        <p:nvSpPr>
          <p:cNvPr id="1096" name="Google Shape;1096;g7826bb8c5e_0_85"/>
          <p:cNvSpPr/>
          <p:nvPr/>
        </p:nvSpPr>
        <p:spPr>
          <a:xfrm>
            <a:off x="6302662" y="2114814"/>
            <a:ext cx="592500" cy="403500"/>
          </a:xfrm>
          <a:prstGeom prst="rect">
            <a:avLst/>
          </a:prstGeom>
          <a:noFill/>
          <a:ln w="9525" cap="flat" cmpd="sng">
            <a:solidFill>
              <a:schemeClr val="accent4"/>
            </a:solidFill>
            <a:prstDash val="solid"/>
            <a:round/>
            <a:headEnd type="none" w="sm" len="sm"/>
            <a:tailEnd type="none" w="sm" len="sm"/>
          </a:ln>
          <a:effectLst>
            <a:outerShdw blurRad="57150" dist="19050" dir="5400000" algn="bl" rotWithShape="0">
              <a:srgbClr val="000000">
                <a:alpha val="49019"/>
              </a:srgb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dk1"/>
              </a:buClr>
              <a:buSzPts val="900"/>
              <a:buFont typeface="Arial"/>
              <a:buNone/>
            </a:pPr>
            <a:r>
              <a:rPr lang="es-ES" sz="700" b="0" i="0" u="none" strike="noStrike" cap="none">
                <a:solidFill>
                  <a:schemeClr val="dk1"/>
                </a:solidFill>
                <a:latin typeface="Arial"/>
                <a:ea typeface="Arial"/>
                <a:cs typeface="Arial"/>
                <a:sym typeface="Arial"/>
              </a:rPr>
              <a:t>App1  ES</a:t>
            </a:r>
            <a:endParaRPr sz="7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chemeClr val="dk1"/>
              </a:buClr>
              <a:buSzPts val="900"/>
              <a:buFont typeface="Arial"/>
              <a:buNone/>
            </a:pPr>
            <a:endParaRPr sz="7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chemeClr val="dk1"/>
              </a:buClr>
              <a:buSzPts val="900"/>
              <a:buFont typeface="Arial"/>
              <a:buNone/>
            </a:pPr>
            <a:r>
              <a:rPr lang="es-ES" sz="700" b="0" i="0" u="none" strike="noStrike" cap="none">
                <a:solidFill>
                  <a:schemeClr val="dk1"/>
                </a:solidFill>
                <a:latin typeface="Arial"/>
                <a:ea typeface="Arial"/>
                <a:cs typeface="Arial"/>
                <a:sym typeface="Arial"/>
              </a:rPr>
              <a:t>  User2</a:t>
            </a:r>
            <a:endParaRPr sz="700" b="0" i="0" u="none" strike="noStrike" cap="none">
              <a:solidFill>
                <a:schemeClr val="dk1"/>
              </a:solidFill>
              <a:latin typeface="Arial"/>
              <a:ea typeface="Arial"/>
              <a:cs typeface="Arial"/>
              <a:sym typeface="Arial"/>
            </a:endParaRPr>
          </a:p>
        </p:txBody>
      </p:sp>
      <p:cxnSp>
        <p:nvCxnSpPr>
          <p:cNvPr id="1097" name="Google Shape;1097;g7826bb8c5e_0_85"/>
          <p:cNvCxnSpPr>
            <a:stCxn id="1090" idx="0"/>
            <a:endCxn id="1095" idx="1"/>
          </p:cNvCxnSpPr>
          <p:nvPr/>
        </p:nvCxnSpPr>
        <p:spPr>
          <a:xfrm rot="10800000" flipH="1">
            <a:off x="1904783" y="1734795"/>
            <a:ext cx="2882700" cy="683100"/>
          </a:xfrm>
          <a:prstGeom prst="straightConnector1">
            <a:avLst/>
          </a:prstGeom>
          <a:noFill/>
          <a:ln w="9525" cap="flat" cmpd="sng">
            <a:solidFill>
              <a:srgbClr val="FF00FF"/>
            </a:solidFill>
            <a:prstDash val="dashDot"/>
            <a:round/>
            <a:headEnd type="none" w="sm" len="sm"/>
            <a:tailEnd type="none" w="sm" len="sm"/>
          </a:ln>
        </p:spPr>
      </p:cxnSp>
      <p:cxnSp>
        <p:nvCxnSpPr>
          <p:cNvPr id="1098" name="Google Shape;1098;g7826bb8c5e_0_85"/>
          <p:cNvCxnSpPr>
            <a:stCxn id="1096" idx="1"/>
            <a:endCxn id="1090" idx="3"/>
          </p:cNvCxnSpPr>
          <p:nvPr/>
        </p:nvCxnSpPr>
        <p:spPr>
          <a:xfrm flipH="1">
            <a:off x="2610262" y="2316564"/>
            <a:ext cx="3692400" cy="359400"/>
          </a:xfrm>
          <a:prstGeom prst="straightConnector1">
            <a:avLst/>
          </a:prstGeom>
          <a:noFill/>
          <a:ln w="9525" cap="flat" cmpd="sng">
            <a:solidFill>
              <a:schemeClr val="accent5"/>
            </a:solidFill>
            <a:prstDash val="solid"/>
            <a:round/>
            <a:headEnd type="none" w="sm" len="sm"/>
            <a:tailEnd type="none" w="sm" len="sm"/>
          </a:ln>
        </p:spPr>
      </p:cxnSp>
      <p:sp>
        <p:nvSpPr>
          <p:cNvPr id="1099" name="Google Shape;1099;g7826bb8c5e_0_85"/>
          <p:cNvSpPr/>
          <p:nvPr/>
        </p:nvSpPr>
        <p:spPr>
          <a:xfrm>
            <a:off x="2643012" y="1561675"/>
            <a:ext cx="801300" cy="443700"/>
          </a:xfrm>
          <a:prstGeom prst="rect">
            <a:avLst/>
          </a:prstGeom>
          <a:solidFill>
            <a:schemeClr val="accent4"/>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1100"/>
              <a:buFont typeface="Arial"/>
              <a:buNone/>
            </a:pPr>
            <a:r>
              <a:rPr lang="es-ES" sz="1100" b="1" i="0" u="none" strike="noStrike" cap="none">
                <a:solidFill>
                  <a:schemeClr val="lt1"/>
                </a:solidFill>
                <a:latin typeface="Arial"/>
                <a:ea typeface="Arial"/>
                <a:cs typeface="Arial"/>
                <a:sym typeface="Arial"/>
              </a:rPr>
              <a:t>Sistema Sanitario</a:t>
            </a:r>
            <a:endParaRPr sz="1800" b="1" i="0" u="none" strike="noStrike" cap="none">
              <a:solidFill>
                <a:schemeClr val="lt1"/>
              </a:solidFill>
              <a:latin typeface="Arial"/>
              <a:ea typeface="Arial"/>
              <a:cs typeface="Arial"/>
              <a:sym typeface="Arial"/>
            </a:endParaRPr>
          </a:p>
        </p:txBody>
      </p:sp>
      <p:cxnSp>
        <p:nvCxnSpPr>
          <p:cNvPr id="1100" name="Google Shape;1100;g7826bb8c5e_0_85"/>
          <p:cNvCxnSpPr>
            <a:stCxn id="1095" idx="2"/>
            <a:endCxn id="1091" idx="0"/>
          </p:cNvCxnSpPr>
          <p:nvPr/>
        </p:nvCxnSpPr>
        <p:spPr>
          <a:xfrm flipH="1">
            <a:off x="4980808" y="1936591"/>
            <a:ext cx="207300" cy="1333800"/>
          </a:xfrm>
          <a:prstGeom prst="straightConnector1">
            <a:avLst/>
          </a:prstGeom>
          <a:noFill/>
          <a:ln w="9525" cap="flat" cmpd="sng">
            <a:solidFill>
              <a:srgbClr val="4A86E8"/>
            </a:solidFill>
            <a:prstDash val="dot"/>
            <a:round/>
            <a:headEnd type="none" w="sm" len="sm"/>
            <a:tailEnd type="none" w="sm" len="sm"/>
          </a:ln>
        </p:spPr>
      </p:cxnSp>
      <p:cxnSp>
        <p:nvCxnSpPr>
          <p:cNvPr id="1101" name="Google Shape;1101;g7826bb8c5e_0_85"/>
          <p:cNvCxnSpPr>
            <a:stCxn id="1096" idx="2"/>
            <a:endCxn id="1091" idx="0"/>
          </p:cNvCxnSpPr>
          <p:nvPr/>
        </p:nvCxnSpPr>
        <p:spPr>
          <a:xfrm flipH="1">
            <a:off x="4981012" y="2518314"/>
            <a:ext cx="1617900" cy="752100"/>
          </a:xfrm>
          <a:prstGeom prst="straightConnector1">
            <a:avLst/>
          </a:prstGeom>
          <a:noFill/>
          <a:ln w="9525" cap="flat" cmpd="sng">
            <a:solidFill>
              <a:srgbClr val="4A86E8"/>
            </a:solidFill>
            <a:prstDash val="dot"/>
            <a:round/>
            <a:headEnd type="none" w="sm" len="sm"/>
            <a:tailEnd type="none" w="sm" len="sm"/>
          </a:ln>
        </p:spPr>
      </p:cxnSp>
      <p:cxnSp>
        <p:nvCxnSpPr>
          <p:cNvPr id="1102" name="Google Shape;1102;g7826bb8c5e_0_85"/>
          <p:cNvCxnSpPr>
            <a:stCxn id="1095" idx="2"/>
            <a:endCxn id="1092" idx="0"/>
          </p:cNvCxnSpPr>
          <p:nvPr/>
        </p:nvCxnSpPr>
        <p:spPr>
          <a:xfrm>
            <a:off x="5188108" y="1936591"/>
            <a:ext cx="1299300" cy="963000"/>
          </a:xfrm>
          <a:prstGeom prst="straightConnector1">
            <a:avLst/>
          </a:prstGeom>
          <a:noFill/>
          <a:ln w="9525" cap="flat" cmpd="sng">
            <a:solidFill>
              <a:srgbClr val="4A86E8"/>
            </a:solidFill>
            <a:prstDash val="dot"/>
            <a:round/>
            <a:headEnd type="none" w="sm" len="sm"/>
            <a:tailEnd type="none" w="sm" len="sm"/>
          </a:ln>
        </p:spPr>
      </p:cxnSp>
      <p:cxnSp>
        <p:nvCxnSpPr>
          <p:cNvPr id="1103" name="Google Shape;1103;g7826bb8c5e_0_85"/>
          <p:cNvCxnSpPr>
            <a:stCxn id="1096" idx="2"/>
            <a:endCxn id="1092" idx="0"/>
          </p:cNvCxnSpPr>
          <p:nvPr/>
        </p:nvCxnSpPr>
        <p:spPr>
          <a:xfrm flipH="1">
            <a:off x="6487312" y="2518314"/>
            <a:ext cx="111600" cy="381300"/>
          </a:xfrm>
          <a:prstGeom prst="straightConnector1">
            <a:avLst/>
          </a:prstGeom>
          <a:noFill/>
          <a:ln w="9525" cap="flat" cmpd="sng">
            <a:solidFill>
              <a:srgbClr val="4A86E8"/>
            </a:solidFill>
            <a:prstDash val="dot"/>
            <a:round/>
            <a:headEnd type="none" w="sm" len="sm"/>
            <a:tailEnd type="none" w="sm" len="sm"/>
          </a:ln>
        </p:spPr>
      </p:cxnSp>
      <p:cxnSp>
        <p:nvCxnSpPr>
          <p:cNvPr id="1104" name="Google Shape;1104;g7826bb8c5e_0_85"/>
          <p:cNvCxnSpPr>
            <a:stCxn id="1095" idx="2"/>
            <a:endCxn id="1096" idx="0"/>
          </p:cNvCxnSpPr>
          <p:nvPr/>
        </p:nvCxnSpPr>
        <p:spPr>
          <a:xfrm>
            <a:off x="5188108" y="1936591"/>
            <a:ext cx="1410900" cy="178200"/>
          </a:xfrm>
          <a:prstGeom prst="straightConnector1">
            <a:avLst/>
          </a:prstGeom>
          <a:noFill/>
          <a:ln w="9525" cap="flat" cmpd="sng">
            <a:solidFill>
              <a:srgbClr val="4A86E8"/>
            </a:solidFill>
            <a:prstDash val="dot"/>
            <a:round/>
            <a:headEnd type="none" w="sm" len="sm"/>
            <a:tailEnd type="none" w="sm" len="sm"/>
          </a:ln>
        </p:spPr>
      </p:cxnSp>
      <p:cxnSp>
        <p:nvCxnSpPr>
          <p:cNvPr id="1105" name="Google Shape;1105;g7826bb8c5e_0_85"/>
          <p:cNvCxnSpPr>
            <a:stCxn id="1091" idx="3"/>
            <a:endCxn id="1092" idx="2"/>
          </p:cNvCxnSpPr>
          <p:nvPr/>
        </p:nvCxnSpPr>
        <p:spPr>
          <a:xfrm rot="10800000" flipH="1">
            <a:off x="5316733" y="3303034"/>
            <a:ext cx="1170600" cy="169200"/>
          </a:xfrm>
          <a:prstGeom prst="straightConnector1">
            <a:avLst/>
          </a:prstGeom>
          <a:noFill/>
          <a:ln w="9525" cap="flat" cmpd="sng">
            <a:solidFill>
              <a:srgbClr val="4A86E8"/>
            </a:solidFill>
            <a:prstDash val="dot"/>
            <a:round/>
            <a:headEnd type="none" w="sm" len="sm"/>
            <a:tailEnd type="none" w="sm" len="sm"/>
          </a:ln>
        </p:spPr>
      </p:cxnSp>
      <p:cxnSp>
        <p:nvCxnSpPr>
          <p:cNvPr id="1106" name="Google Shape;1106;g7826bb8c5e_0_85"/>
          <p:cNvCxnSpPr>
            <a:stCxn id="1095" idx="1"/>
            <a:endCxn id="1099" idx="3"/>
          </p:cNvCxnSpPr>
          <p:nvPr/>
        </p:nvCxnSpPr>
        <p:spPr>
          <a:xfrm flipH="1">
            <a:off x="3444358" y="1734841"/>
            <a:ext cx="1343100" cy="48600"/>
          </a:xfrm>
          <a:prstGeom prst="straightConnector1">
            <a:avLst/>
          </a:prstGeom>
          <a:noFill/>
          <a:ln w="9525" cap="flat" cmpd="sng">
            <a:solidFill>
              <a:srgbClr val="FF0000"/>
            </a:solidFill>
            <a:prstDash val="dash"/>
            <a:round/>
            <a:headEnd type="none" w="sm" len="sm"/>
            <a:tailEnd type="none" w="sm" len="sm"/>
          </a:ln>
        </p:spPr>
      </p:cxnSp>
      <p:cxnSp>
        <p:nvCxnSpPr>
          <p:cNvPr id="1107" name="Google Shape;1107;g7826bb8c5e_0_85"/>
          <p:cNvCxnSpPr>
            <a:stCxn id="1090" idx="0"/>
            <a:endCxn id="1099" idx="1"/>
          </p:cNvCxnSpPr>
          <p:nvPr/>
        </p:nvCxnSpPr>
        <p:spPr>
          <a:xfrm rot="10800000" flipH="1">
            <a:off x="1904783" y="1783395"/>
            <a:ext cx="738300" cy="634500"/>
          </a:xfrm>
          <a:prstGeom prst="straightConnector1">
            <a:avLst/>
          </a:prstGeom>
          <a:noFill/>
          <a:ln w="9525" cap="flat" cmpd="sng">
            <a:solidFill>
              <a:srgbClr val="E69138"/>
            </a:solidFill>
            <a:prstDash val="dash"/>
            <a:round/>
            <a:headEnd type="none" w="sm" len="sm"/>
            <a:tailEnd type="none" w="sm" len="sm"/>
          </a:ln>
        </p:spPr>
      </p:cxnSp>
      <p:cxnSp>
        <p:nvCxnSpPr>
          <p:cNvPr id="1108" name="Google Shape;1108;g7826bb8c5e_0_85"/>
          <p:cNvCxnSpPr>
            <a:stCxn id="1095" idx="2"/>
            <a:endCxn id="1090" idx="3"/>
          </p:cNvCxnSpPr>
          <p:nvPr/>
        </p:nvCxnSpPr>
        <p:spPr>
          <a:xfrm flipH="1">
            <a:off x="2610208" y="1936591"/>
            <a:ext cx="2577900" cy="739500"/>
          </a:xfrm>
          <a:prstGeom prst="straightConnector1">
            <a:avLst/>
          </a:prstGeom>
          <a:noFill/>
          <a:ln w="9525" cap="flat" cmpd="sng">
            <a:solidFill>
              <a:schemeClr val="accent5"/>
            </a:solidFill>
            <a:prstDash val="solid"/>
            <a:round/>
            <a:headEnd type="none" w="sm" len="sm"/>
            <a:tailEnd type="none" w="sm" len="sm"/>
          </a:ln>
        </p:spPr>
      </p:cxnSp>
      <p:cxnSp>
        <p:nvCxnSpPr>
          <p:cNvPr id="1109" name="Google Shape;1109;g7826bb8c5e_0_85"/>
          <p:cNvCxnSpPr/>
          <p:nvPr/>
        </p:nvCxnSpPr>
        <p:spPr>
          <a:xfrm rot="10800000" flipH="1">
            <a:off x="8136598" y="2206771"/>
            <a:ext cx="584100" cy="4800"/>
          </a:xfrm>
          <a:prstGeom prst="straightConnector1">
            <a:avLst/>
          </a:prstGeom>
          <a:noFill/>
          <a:ln w="19050" cap="flat" cmpd="sng">
            <a:solidFill>
              <a:srgbClr val="4A86E8"/>
            </a:solidFill>
            <a:prstDash val="dot"/>
            <a:round/>
            <a:headEnd type="none" w="sm" len="sm"/>
            <a:tailEnd type="none" w="sm" len="sm"/>
          </a:ln>
        </p:spPr>
      </p:cxnSp>
      <p:sp>
        <p:nvSpPr>
          <p:cNvPr id="1110" name="Google Shape;1110;g7826bb8c5e_0_85"/>
          <p:cNvSpPr txBox="1"/>
          <p:nvPr/>
        </p:nvSpPr>
        <p:spPr>
          <a:xfrm>
            <a:off x="8892693" y="1896822"/>
            <a:ext cx="2374500" cy="5352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1"/>
              </a:buClr>
              <a:buSzPts val="1100"/>
              <a:buFont typeface="Arial"/>
              <a:buNone/>
            </a:pPr>
            <a:r>
              <a:rPr lang="es-ES" sz="1100" b="0" i="0" u="none" strike="noStrike" cap="none">
                <a:solidFill>
                  <a:schemeClr val="dk1"/>
                </a:solidFill>
                <a:latin typeface="Arial"/>
                <a:ea typeface="Arial"/>
                <a:cs typeface="Arial"/>
                <a:sym typeface="Arial"/>
              </a:rPr>
              <a:t>Protocolo Google/Apple Tracing </a:t>
            </a:r>
            <a:endParaRPr sz="11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chemeClr val="dk1"/>
              </a:buClr>
              <a:buSzPts val="1100"/>
              <a:buFont typeface="Arial"/>
              <a:buNone/>
            </a:pPr>
            <a:r>
              <a:rPr lang="es-ES" sz="1100" b="0" i="0" u="none" strike="noStrike" cap="none">
                <a:solidFill>
                  <a:schemeClr val="dk1"/>
                </a:solidFill>
                <a:latin typeface="Arial"/>
                <a:ea typeface="Arial"/>
                <a:cs typeface="Arial"/>
                <a:sym typeface="Arial"/>
              </a:rPr>
              <a:t>[Compatibilidad Apps]</a:t>
            </a:r>
            <a:endParaRPr sz="1100" b="0" i="0" u="none" strike="noStrike" cap="none">
              <a:solidFill>
                <a:schemeClr val="dk1"/>
              </a:solidFill>
              <a:latin typeface="Arial"/>
              <a:ea typeface="Arial"/>
              <a:cs typeface="Arial"/>
              <a:sym typeface="Arial"/>
            </a:endParaRPr>
          </a:p>
        </p:txBody>
      </p:sp>
      <p:cxnSp>
        <p:nvCxnSpPr>
          <p:cNvPr id="1111" name="Google Shape;1111;g7826bb8c5e_0_85"/>
          <p:cNvCxnSpPr/>
          <p:nvPr/>
        </p:nvCxnSpPr>
        <p:spPr>
          <a:xfrm rot="10800000">
            <a:off x="8136458" y="2617217"/>
            <a:ext cx="593400" cy="4800"/>
          </a:xfrm>
          <a:prstGeom prst="straightConnector1">
            <a:avLst/>
          </a:prstGeom>
          <a:noFill/>
          <a:ln w="19050" cap="flat" cmpd="sng">
            <a:solidFill>
              <a:schemeClr val="accent5"/>
            </a:solidFill>
            <a:prstDash val="solid"/>
            <a:round/>
            <a:headEnd type="none" w="sm" len="sm"/>
            <a:tailEnd type="none" w="sm" len="sm"/>
          </a:ln>
        </p:spPr>
      </p:cxnSp>
      <p:cxnSp>
        <p:nvCxnSpPr>
          <p:cNvPr id="1112" name="Google Shape;1112;g7826bb8c5e_0_85"/>
          <p:cNvCxnSpPr/>
          <p:nvPr/>
        </p:nvCxnSpPr>
        <p:spPr>
          <a:xfrm flipH="1">
            <a:off x="8127557" y="3923170"/>
            <a:ext cx="602400" cy="4800"/>
          </a:xfrm>
          <a:prstGeom prst="straightConnector1">
            <a:avLst/>
          </a:prstGeom>
          <a:noFill/>
          <a:ln w="19050" cap="flat" cmpd="sng">
            <a:solidFill>
              <a:srgbClr val="FF0000"/>
            </a:solidFill>
            <a:prstDash val="dash"/>
            <a:round/>
            <a:headEnd type="none" w="sm" len="sm"/>
            <a:tailEnd type="none" w="sm" len="sm"/>
          </a:ln>
        </p:spPr>
      </p:cxnSp>
      <p:cxnSp>
        <p:nvCxnSpPr>
          <p:cNvPr id="1113" name="Google Shape;1113;g7826bb8c5e_0_85"/>
          <p:cNvCxnSpPr/>
          <p:nvPr/>
        </p:nvCxnSpPr>
        <p:spPr>
          <a:xfrm flipH="1">
            <a:off x="8127557" y="3523621"/>
            <a:ext cx="602400" cy="4800"/>
          </a:xfrm>
          <a:prstGeom prst="straightConnector1">
            <a:avLst/>
          </a:prstGeom>
          <a:noFill/>
          <a:ln w="19050" cap="flat" cmpd="sng">
            <a:solidFill>
              <a:srgbClr val="E69138"/>
            </a:solidFill>
            <a:prstDash val="dash"/>
            <a:round/>
            <a:headEnd type="none" w="sm" len="sm"/>
            <a:tailEnd type="none" w="sm" len="sm"/>
          </a:ln>
        </p:spPr>
      </p:cxnSp>
      <p:cxnSp>
        <p:nvCxnSpPr>
          <p:cNvPr id="1114" name="Google Shape;1114;g7826bb8c5e_0_85"/>
          <p:cNvCxnSpPr/>
          <p:nvPr/>
        </p:nvCxnSpPr>
        <p:spPr>
          <a:xfrm flipH="1">
            <a:off x="8136874" y="4282540"/>
            <a:ext cx="602400" cy="4800"/>
          </a:xfrm>
          <a:prstGeom prst="straightConnector1">
            <a:avLst/>
          </a:prstGeom>
          <a:noFill/>
          <a:ln w="19050" cap="flat" cmpd="sng">
            <a:solidFill>
              <a:srgbClr val="FF00FF"/>
            </a:solidFill>
            <a:prstDash val="dashDot"/>
            <a:round/>
            <a:headEnd type="none" w="sm" len="sm"/>
            <a:tailEnd type="none" w="sm" len="sm"/>
          </a:ln>
        </p:spPr>
      </p:cxnSp>
      <p:sp>
        <p:nvSpPr>
          <p:cNvPr id="1115" name="Google Shape;1115;g7826bb8c5e_0_85"/>
          <p:cNvSpPr txBox="1"/>
          <p:nvPr/>
        </p:nvSpPr>
        <p:spPr>
          <a:xfrm>
            <a:off x="8864791" y="3248652"/>
            <a:ext cx="2773200" cy="3042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1"/>
              </a:buClr>
              <a:buSzPts val="1100"/>
              <a:buFont typeface="Arial"/>
              <a:buNone/>
            </a:pPr>
            <a:r>
              <a:rPr lang="es-ES" sz="1100" b="0" i="0" u="none" strike="noStrike" cap="none">
                <a:solidFill>
                  <a:schemeClr val="dk1"/>
                </a:solidFill>
                <a:latin typeface="Arial"/>
                <a:ea typeface="Arial"/>
                <a:cs typeface="Arial"/>
                <a:sym typeface="Arial"/>
              </a:rPr>
              <a:t>Sanitario solicita código autorización médico</a:t>
            </a:r>
            <a:endParaRPr sz="1100" b="0" i="0" u="none" strike="noStrike" cap="none">
              <a:solidFill>
                <a:schemeClr val="dk1"/>
              </a:solidFill>
              <a:latin typeface="Arial"/>
              <a:ea typeface="Arial"/>
              <a:cs typeface="Arial"/>
              <a:sym typeface="Arial"/>
            </a:endParaRPr>
          </a:p>
        </p:txBody>
      </p:sp>
      <p:sp>
        <p:nvSpPr>
          <p:cNvPr id="1116" name="Google Shape;1116;g7826bb8c5e_0_85"/>
          <p:cNvSpPr txBox="1"/>
          <p:nvPr/>
        </p:nvSpPr>
        <p:spPr>
          <a:xfrm>
            <a:off x="8864800" y="3629125"/>
            <a:ext cx="2985600" cy="5352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1"/>
              </a:buClr>
              <a:buSzPts val="1100"/>
              <a:buFont typeface="Arial"/>
              <a:buNone/>
            </a:pPr>
            <a:r>
              <a:rPr lang="es-ES" sz="1100" b="0" i="0" u="none" strike="noStrike" cap="none">
                <a:solidFill>
                  <a:schemeClr val="dk1"/>
                </a:solidFill>
                <a:latin typeface="Arial"/>
                <a:ea typeface="Arial"/>
                <a:cs typeface="Arial"/>
                <a:sym typeface="Arial"/>
              </a:rPr>
              <a:t>Sanitario Transmite codigo autorización paciente</a:t>
            </a:r>
            <a:endParaRPr sz="1100" b="0" i="0" u="none" strike="noStrike" cap="none">
              <a:solidFill>
                <a:schemeClr val="dk1"/>
              </a:solidFill>
              <a:latin typeface="Arial"/>
              <a:ea typeface="Arial"/>
              <a:cs typeface="Arial"/>
              <a:sym typeface="Arial"/>
            </a:endParaRPr>
          </a:p>
        </p:txBody>
      </p:sp>
      <p:sp>
        <p:nvSpPr>
          <p:cNvPr id="1117" name="Google Shape;1117;g7826bb8c5e_0_85"/>
          <p:cNvSpPr txBox="1"/>
          <p:nvPr/>
        </p:nvSpPr>
        <p:spPr>
          <a:xfrm>
            <a:off x="8864800" y="4014300"/>
            <a:ext cx="2862300" cy="5352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1"/>
              </a:buClr>
              <a:buSzPts val="1100"/>
              <a:buFont typeface="Arial"/>
              <a:buNone/>
            </a:pPr>
            <a:r>
              <a:rPr lang="es-ES" sz="1100" b="0" i="0" u="none" strike="noStrike" cap="none">
                <a:solidFill>
                  <a:schemeClr val="dk1"/>
                </a:solidFill>
                <a:latin typeface="Arial"/>
                <a:ea typeface="Arial"/>
                <a:cs typeface="Arial"/>
                <a:sym typeface="Arial"/>
              </a:rPr>
              <a:t>Ciudadano sube clave generadora de Ids</a:t>
            </a:r>
            <a:endParaRPr sz="1100" b="0" i="0" u="none" strike="noStrike" cap="none">
              <a:solidFill>
                <a:schemeClr val="dk1"/>
              </a:solidFill>
              <a:latin typeface="Arial"/>
              <a:ea typeface="Arial"/>
              <a:cs typeface="Arial"/>
              <a:sym typeface="Arial"/>
            </a:endParaRPr>
          </a:p>
        </p:txBody>
      </p:sp>
      <p:sp>
        <p:nvSpPr>
          <p:cNvPr id="1118" name="Google Shape;1118;g7826bb8c5e_0_85"/>
          <p:cNvSpPr txBox="1"/>
          <p:nvPr/>
        </p:nvSpPr>
        <p:spPr>
          <a:xfrm>
            <a:off x="8026524" y="2983225"/>
            <a:ext cx="3412500" cy="272400"/>
          </a:xfrm>
          <a:prstGeom prst="rect">
            <a:avLst/>
          </a:prstGeom>
          <a:solidFill>
            <a:schemeClr val="accent4"/>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lt1"/>
              </a:buClr>
              <a:buSzPts val="1100"/>
              <a:buFont typeface="Arial"/>
              <a:buNone/>
            </a:pPr>
            <a:r>
              <a:rPr lang="es-ES" sz="1100" b="1" i="0" u="none" strike="noStrike" cap="none">
                <a:solidFill>
                  <a:schemeClr val="lt1"/>
                </a:solidFill>
                <a:latin typeface="Arial"/>
                <a:ea typeface="Arial"/>
                <a:cs typeface="Arial"/>
                <a:sym typeface="Arial"/>
              </a:rPr>
              <a:t>Protocolo sanitario TBD</a:t>
            </a:r>
            <a:endParaRPr sz="1400" b="0" i="0" u="none" strike="noStrike" cap="none">
              <a:solidFill>
                <a:schemeClr val="lt1"/>
              </a:solidFill>
              <a:latin typeface="Arial"/>
              <a:ea typeface="Arial"/>
              <a:cs typeface="Arial"/>
              <a:sym typeface="Arial"/>
            </a:endParaRPr>
          </a:p>
        </p:txBody>
      </p:sp>
      <p:sp>
        <p:nvSpPr>
          <p:cNvPr id="1119" name="Google Shape;1119;g7826bb8c5e_0_85"/>
          <p:cNvSpPr/>
          <p:nvPr/>
        </p:nvSpPr>
        <p:spPr>
          <a:xfrm>
            <a:off x="1272023" y="4204929"/>
            <a:ext cx="1410900" cy="516300"/>
          </a:xfrm>
          <a:prstGeom prst="rect">
            <a:avLst/>
          </a:prstGeom>
          <a:solidFill>
            <a:srgbClr val="F6B26B"/>
          </a:solidFill>
          <a:ln>
            <a:noFill/>
          </a:ln>
          <a:effectLst>
            <a:reflection endPos="10000" fadeDir="5400012" sy="-100000" algn="bl" rotWithShape="0"/>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dk1"/>
              </a:buClr>
              <a:buSzPts val="1800"/>
              <a:buFont typeface="Arial"/>
              <a:buNone/>
            </a:pPr>
            <a:r>
              <a:rPr lang="es-ES" sz="1000" b="1" i="0" u="none" strike="noStrike" cap="none">
                <a:solidFill>
                  <a:srgbClr val="FFFFFF"/>
                </a:solidFill>
                <a:latin typeface="Arial"/>
                <a:ea typeface="Arial"/>
                <a:cs typeface="Arial"/>
                <a:sym typeface="Arial"/>
              </a:rPr>
              <a:t>Backend</a:t>
            </a:r>
            <a:r>
              <a:rPr lang="es-ES" sz="1000" b="0" i="0" u="none" strike="noStrike" cap="none">
                <a:solidFill>
                  <a:srgbClr val="FFFFFF"/>
                </a:solidFill>
                <a:latin typeface="Arial"/>
                <a:ea typeface="Arial"/>
                <a:cs typeface="Arial"/>
                <a:sym typeface="Arial"/>
              </a:rPr>
              <a:t> solution for tracing Apps **</a:t>
            </a:r>
            <a:endParaRPr sz="1000" b="0" i="0" u="none" strike="noStrike" cap="none">
              <a:solidFill>
                <a:srgbClr val="FFFFFF"/>
              </a:solidFill>
              <a:latin typeface="Arial"/>
              <a:ea typeface="Arial"/>
              <a:cs typeface="Arial"/>
              <a:sym typeface="Arial"/>
            </a:endParaRPr>
          </a:p>
        </p:txBody>
      </p:sp>
      <p:cxnSp>
        <p:nvCxnSpPr>
          <p:cNvPr id="1120" name="Google Shape;1120;g7826bb8c5e_0_85"/>
          <p:cNvCxnSpPr/>
          <p:nvPr/>
        </p:nvCxnSpPr>
        <p:spPr>
          <a:xfrm>
            <a:off x="1631950" y="2956275"/>
            <a:ext cx="0" cy="1235700"/>
          </a:xfrm>
          <a:prstGeom prst="straightConnector1">
            <a:avLst/>
          </a:prstGeom>
          <a:noFill/>
          <a:ln w="9525" cap="flat" cmpd="sng">
            <a:solidFill>
              <a:srgbClr val="000000"/>
            </a:solidFill>
            <a:prstDash val="solid"/>
            <a:round/>
            <a:headEnd type="triangle" w="med" len="med"/>
            <a:tailEnd type="triangle" w="med" len="med"/>
          </a:ln>
        </p:spPr>
      </p:cxnSp>
      <p:sp>
        <p:nvSpPr>
          <p:cNvPr id="1121" name="Google Shape;1121;g7826bb8c5e_0_85"/>
          <p:cNvSpPr txBox="1"/>
          <p:nvPr/>
        </p:nvSpPr>
        <p:spPr>
          <a:xfrm>
            <a:off x="1698151" y="3381900"/>
            <a:ext cx="2018700" cy="4515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1"/>
              </a:buClr>
              <a:buSzPts val="1100"/>
              <a:buFont typeface="Arial"/>
              <a:buNone/>
            </a:pPr>
            <a:r>
              <a:rPr lang="es-ES" sz="1100" b="0" i="0" u="sng" strike="noStrike" cap="none">
                <a:solidFill>
                  <a:schemeClr val="dk1"/>
                </a:solidFill>
                <a:latin typeface="Arial"/>
                <a:ea typeface="Arial"/>
                <a:cs typeface="Arial"/>
                <a:sym typeface="Arial"/>
              </a:rPr>
              <a:t>Protocolo interoperabilidad plataformas TBD</a:t>
            </a:r>
            <a:endParaRPr sz="1100" b="0" i="0" u="sng" strike="noStrike" cap="none">
              <a:solidFill>
                <a:schemeClr val="dk1"/>
              </a:solidFill>
              <a:latin typeface="Arial"/>
              <a:ea typeface="Arial"/>
              <a:cs typeface="Arial"/>
              <a:sym typeface="Arial"/>
            </a:endParaRPr>
          </a:p>
        </p:txBody>
      </p:sp>
      <p:sp>
        <p:nvSpPr>
          <p:cNvPr id="1122" name="Google Shape;1122;g7826bb8c5e_0_85"/>
          <p:cNvSpPr/>
          <p:nvPr/>
        </p:nvSpPr>
        <p:spPr>
          <a:xfrm>
            <a:off x="4269735" y="4224838"/>
            <a:ext cx="801300" cy="403500"/>
          </a:xfrm>
          <a:prstGeom prst="rect">
            <a:avLst/>
          </a:prstGeom>
          <a:noFill/>
          <a:ln w="9525" cap="flat" cmpd="sng">
            <a:solidFill>
              <a:srgbClr val="9900FF"/>
            </a:solidFill>
            <a:prstDash val="solid"/>
            <a:round/>
            <a:headEnd type="none" w="sm" len="sm"/>
            <a:tailEnd type="none" w="sm" len="sm"/>
          </a:ln>
          <a:effectLst>
            <a:outerShdw blurRad="57150" dist="19050" dir="5400000" algn="bl" rotWithShape="0">
              <a:srgbClr val="000000">
                <a:alpha val="49019"/>
              </a:srgbClr>
            </a:outerShdw>
          </a:effectLst>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dk1"/>
              </a:buClr>
              <a:buSzPts val="900"/>
              <a:buFont typeface="Arial"/>
              <a:buNone/>
            </a:pPr>
            <a:r>
              <a:rPr lang="es-ES" sz="700" b="0" i="0" u="none" strike="noStrike" cap="none">
                <a:solidFill>
                  <a:schemeClr val="dk1"/>
                </a:solidFill>
                <a:latin typeface="Arial"/>
                <a:ea typeface="Arial"/>
                <a:cs typeface="Arial"/>
                <a:sym typeface="Arial"/>
              </a:rPr>
              <a:t>AppEU  </a:t>
            </a:r>
            <a:endParaRPr sz="7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chemeClr val="dk1"/>
              </a:buClr>
              <a:buSzPts val="900"/>
              <a:buFont typeface="Arial"/>
              <a:buNone/>
            </a:pPr>
            <a:endParaRPr sz="7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chemeClr val="dk1"/>
              </a:buClr>
              <a:buSzPts val="1200"/>
              <a:buFont typeface="Arial"/>
              <a:buNone/>
            </a:pPr>
            <a:r>
              <a:rPr lang="es-ES" sz="1000" b="0" i="0" u="none" strike="noStrike" cap="none">
                <a:solidFill>
                  <a:schemeClr val="dk1"/>
                </a:solidFill>
                <a:latin typeface="Arial"/>
                <a:ea typeface="Arial"/>
                <a:cs typeface="Arial"/>
                <a:sym typeface="Arial"/>
              </a:rPr>
              <a:t>   User1</a:t>
            </a:r>
            <a:endParaRPr sz="1000" b="0" i="0" u="none" strike="noStrike" cap="none">
              <a:solidFill>
                <a:schemeClr val="dk1"/>
              </a:solidFill>
              <a:latin typeface="Arial"/>
              <a:ea typeface="Arial"/>
              <a:cs typeface="Arial"/>
              <a:sym typeface="Arial"/>
            </a:endParaRPr>
          </a:p>
        </p:txBody>
      </p:sp>
      <p:cxnSp>
        <p:nvCxnSpPr>
          <p:cNvPr id="1123" name="Google Shape;1123;g7826bb8c5e_0_85"/>
          <p:cNvCxnSpPr>
            <a:stCxn id="1091" idx="2"/>
            <a:endCxn id="1122" idx="0"/>
          </p:cNvCxnSpPr>
          <p:nvPr/>
        </p:nvCxnSpPr>
        <p:spPr>
          <a:xfrm flipH="1">
            <a:off x="4670383" y="3673984"/>
            <a:ext cx="310500" cy="550800"/>
          </a:xfrm>
          <a:prstGeom prst="straightConnector1">
            <a:avLst/>
          </a:prstGeom>
          <a:noFill/>
          <a:ln w="9525" cap="flat" cmpd="sng">
            <a:solidFill>
              <a:srgbClr val="4A86E8"/>
            </a:solidFill>
            <a:prstDash val="dot"/>
            <a:round/>
            <a:headEnd type="none" w="sm" len="sm"/>
            <a:tailEnd type="none" w="sm" len="sm"/>
          </a:ln>
        </p:spPr>
      </p:cxnSp>
      <p:cxnSp>
        <p:nvCxnSpPr>
          <p:cNvPr id="1124" name="Google Shape;1124;g7826bb8c5e_0_85"/>
          <p:cNvCxnSpPr>
            <a:stCxn id="1119" idx="3"/>
            <a:endCxn id="1122" idx="1"/>
          </p:cNvCxnSpPr>
          <p:nvPr/>
        </p:nvCxnSpPr>
        <p:spPr>
          <a:xfrm rot="10800000" flipH="1">
            <a:off x="2682923" y="4426479"/>
            <a:ext cx="1586700" cy="36600"/>
          </a:xfrm>
          <a:prstGeom prst="straightConnector1">
            <a:avLst/>
          </a:prstGeom>
          <a:noFill/>
          <a:ln w="9525" cap="flat" cmpd="sng">
            <a:solidFill>
              <a:schemeClr val="accent5"/>
            </a:solidFill>
            <a:prstDash val="solid"/>
            <a:round/>
            <a:headEnd type="none" w="sm" len="sm"/>
            <a:tailEnd type="none" w="sm" len="sm"/>
          </a:ln>
        </p:spPr>
      </p:cxnSp>
      <p:sp>
        <p:nvSpPr>
          <p:cNvPr id="1125" name="Google Shape;1125;g7826bb8c5e_0_85"/>
          <p:cNvSpPr txBox="1"/>
          <p:nvPr/>
        </p:nvSpPr>
        <p:spPr>
          <a:xfrm>
            <a:off x="8388103" y="2425349"/>
            <a:ext cx="3051000" cy="442200"/>
          </a:xfrm>
          <a:prstGeom prst="rect">
            <a:avLst/>
          </a:prstGeom>
          <a:noFill/>
          <a:ln>
            <a:noFill/>
          </a:ln>
        </p:spPr>
        <p:txBody>
          <a:bodyPr spcFirstLastPara="1" wrap="square" lIns="91425" tIns="91425" rIns="91425" bIns="91425" anchor="t" anchorCtr="0">
            <a:noAutofit/>
          </a:bodyPr>
          <a:lstStyle/>
          <a:p>
            <a:pPr marL="457200" marR="0" lvl="0" indent="0" algn="l" rtl="0">
              <a:lnSpc>
                <a:spcPct val="100000"/>
              </a:lnSpc>
              <a:spcBef>
                <a:spcPts val="0"/>
              </a:spcBef>
              <a:spcAft>
                <a:spcPts val="0"/>
              </a:spcAft>
              <a:buClr>
                <a:srgbClr val="000000"/>
              </a:buClr>
              <a:buSzPts val="1200"/>
              <a:buFont typeface="Arial"/>
              <a:buNone/>
            </a:pPr>
            <a:r>
              <a:rPr lang="es-ES" sz="1200" b="0" i="0" u="none" strike="noStrike" cap="none">
                <a:solidFill>
                  <a:schemeClr val="dk1"/>
                </a:solidFill>
                <a:latin typeface="Arial"/>
                <a:ea typeface="Arial"/>
                <a:cs typeface="Arial"/>
                <a:sym typeface="Arial"/>
              </a:rPr>
              <a:t>Propagación semillas contagiadas</a:t>
            </a:r>
            <a:endParaRPr sz="1200" b="0" i="0" u="none" strike="noStrike" cap="none">
              <a:solidFill>
                <a:schemeClr val="dk1"/>
              </a:solidFill>
              <a:latin typeface="Arial"/>
              <a:ea typeface="Arial"/>
              <a:cs typeface="Arial"/>
              <a:sym typeface="Arial"/>
            </a:endParaRPr>
          </a:p>
        </p:txBody>
      </p:sp>
      <p:sp>
        <p:nvSpPr>
          <p:cNvPr id="1126" name="Google Shape;1126;g7826bb8c5e_0_85"/>
          <p:cNvSpPr txBox="1">
            <a:spLocks noGrp="1"/>
          </p:cNvSpPr>
          <p:nvPr>
            <p:ph type="body" idx="1"/>
          </p:nvPr>
        </p:nvSpPr>
        <p:spPr>
          <a:xfrm>
            <a:off x="336000" y="128400"/>
            <a:ext cx="11519400" cy="251400"/>
          </a:xfrm>
          <a:prstGeom prst="rect">
            <a:avLst/>
          </a:prstGeom>
          <a:noFill/>
          <a:ln>
            <a:noFill/>
          </a:ln>
        </p:spPr>
        <p:txBody>
          <a:bodyPr spcFirstLastPara="1" wrap="square" lIns="0" tIns="45700" rIns="91425" bIns="45700" anchor="t" anchorCtr="0">
            <a:noAutofit/>
          </a:bodyPr>
          <a:lstStyle/>
          <a:p>
            <a:pPr marL="0" lvl="0" indent="0" algn="l" rtl="0">
              <a:lnSpc>
                <a:spcPct val="90000"/>
              </a:lnSpc>
              <a:spcBef>
                <a:spcPts val="0"/>
              </a:spcBef>
              <a:spcAft>
                <a:spcPts val="0"/>
              </a:spcAft>
              <a:buClr>
                <a:srgbClr val="1A3B47"/>
              </a:buClr>
              <a:buSzPts val="1400"/>
              <a:buNone/>
            </a:pPr>
            <a:r>
              <a:rPr lang="es-ES" sz="1400">
                <a:latin typeface="Playfair Display"/>
                <a:ea typeface="Playfair Display"/>
                <a:cs typeface="Playfair Display"/>
                <a:sym typeface="Playfair Display"/>
              </a:rPr>
              <a:t>Covid-19 app - Alcance y enfoque del trabajo propuesto</a:t>
            </a:r>
            <a:endParaRPr/>
          </a:p>
        </p:txBody>
      </p:sp>
      <p:grpSp>
        <p:nvGrpSpPr>
          <p:cNvPr id="1127" name="Google Shape;1127;g7826bb8c5e_0_85"/>
          <p:cNvGrpSpPr/>
          <p:nvPr/>
        </p:nvGrpSpPr>
        <p:grpSpPr>
          <a:xfrm>
            <a:off x="10992330" y="88959"/>
            <a:ext cx="1104735" cy="536493"/>
            <a:chOff x="508100" y="1640544"/>
            <a:chExt cx="11238400" cy="4620956"/>
          </a:xfrm>
        </p:grpSpPr>
        <p:grpSp>
          <p:nvGrpSpPr>
            <p:cNvPr id="1128" name="Google Shape;1128;g7826bb8c5e_0_85"/>
            <p:cNvGrpSpPr/>
            <p:nvPr/>
          </p:nvGrpSpPr>
          <p:grpSpPr>
            <a:xfrm>
              <a:off x="508106" y="1640544"/>
              <a:ext cx="11232175" cy="21551"/>
              <a:chOff x="431923" y="1640499"/>
              <a:chExt cx="9605075" cy="31800"/>
            </a:xfrm>
          </p:grpSpPr>
          <p:cxnSp>
            <p:nvCxnSpPr>
              <p:cNvPr id="1129" name="Google Shape;1129;g7826bb8c5e_0_85"/>
              <p:cNvCxnSpPr/>
              <p:nvPr/>
            </p:nvCxnSpPr>
            <p:spPr>
              <a:xfrm>
                <a:off x="431923" y="1640499"/>
                <a:ext cx="4651200" cy="15900"/>
              </a:xfrm>
              <a:prstGeom prst="straightConnector1">
                <a:avLst/>
              </a:prstGeom>
              <a:noFill/>
              <a:ln w="76200" cap="flat" cmpd="sng">
                <a:solidFill>
                  <a:schemeClr val="accent4"/>
                </a:solidFill>
                <a:prstDash val="solid"/>
                <a:round/>
                <a:headEnd type="none" w="sm" len="sm"/>
                <a:tailEnd type="none" w="sm" len="sm"/>
              </a:ln>
            </p:spPr>
          </p:cxnSp>
          <p:cxnSp>
            <p:nvCxnSpPr>
              <p:cNvPr id="1130" name="Google Shape;1130;g7826bb8c5e_0_85"/>
              <p:cNvCxnSpPr/>
              <p:nvPr/>
            </p:nvCxnSpPr>
            <p:spPr>
              <a:xfrm>
                <a:off x="5385798" y="1656399"/>
                <a:ext cx="4651200" cy="15900"/>
              </a:xfrm>
              <a:prstGeom prst="straightConnector1">
                <a:avLst/>
              </a:prstGeom>
              <a:noFill/>
              <a:ln w="76200" cap="flat" cmpd="sng">
                <a:solidFill>
                  <a:srgbClr val="CCCCCC"/>
                </a:solidFill>
                <a:prstDash val="solid"/>
                <a:round/>
                <a:headEnd type="none" w="sm" len="sm"/>
                <a:tailEnd type="none" w="sm" len="sm"/>
              </a:ln>
            </p:spPr>
          </p:cxnSp>
        </p:grpSp>
        <p:sp>
          <p:nvSpPr>
            <p:cNvPr id="1131" name="Google Shape;1131;g7826bb8c5e_0_85"/>
            <p:cNvSpPr/>
            <p:nvPr/>
          </p:nvSpPr>
          <p:spPr>
            <a:xfrm>
              <a:off x="508100" y="2035875"/>
              <a:ext cx="1390500" cy="4225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132" name="Google Shape;1132;g7826bb8c5e_0_85"/>
            <p:cNvSpPr/>
            <p:nvPr/>
          </p:nvSpPr>
          <p:spPr>
            <a:xfrm>
              <a:off x="2132113" y="5255000"/>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133" name="Google Shape;1133;g7826bb8c5e_0_85"/>
            <p:cNvSpPr/>
            <p:nvPr/>
          </p:nvSpPr>
          <p:spPr>
            <a:xfrm>
              <a:off x="2132113" y="3108917"/>
              <a:ext cx="3766200" cy="1006500"/>
            </a:xfrm>
            <a:prstGeom prst="rect">
              <a:avLst/>
            </a:prstGeom>
            <a:solidFill>
              <a:srgbClr val="E3F3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134" name="Google Shape;1134;g7826bb8c5e_0_85"/>
            <p:cNvSpPr/>
            <p:nvPr/>
          </p:nvSpPr>
          <p:spPr>
            <a:xfrm>
              <a:off x="2132113" y="4181958"/>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135" name="Google Shape;1135;g7826bb8c5e_0_85"/>
            <p:cNvSpPr/>
            <p:nvPr/>
          </p:nvSpPr>
          <p:spPr>
            <a:xfrm>
              <a:off x="6343925" y="2035875"/>
              <a:ext cx="5396400" cy="13503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136" name="Google Shape;1136;g7826bb8c5e_0_85"/>
            <p:cNvSpPr/>
            <p:nvPr/>
          </p:nvSpPr>
          <p:spPr>
            <a:xfrm>
              <a:off x="6350100" y="3481700"/>
              <a:ext cx="5396400" cy="13521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137" name="Google Shape;1137;g7826bb8c5e_0_85"/>
            <p:cNvSpPr/>
            <p:nvPr/>
          </p:nvSpPr>
          <p:spPr>
            <a:xfrm>
              <a:off x="6343925" y="4945700"/>
              <a:ext cx="5396400" cy="13158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138" name="Google Shape;1138;g7826bb8c5e_0_85"/>
            <p:cNvSpPr/>
            <p:nvPr/>
          </p:nvSpPr>
          <p:spPr>
            <a:xfrm>
              <a:off x="2132113" y="2035875"/>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grpSp>
      <p:pic>
        <p:nvPicPr>
          <p:cNvPr id="1139" name="Google Shape;1139;g7826bb8c5e_0_85"/>
          <p:cNvPicPr preferRelativeResize="0"/>
          <p:nvPr/>
        </p:nvPicPr>
        <p:blipFill rotWithShape="1">
          <a:blip r:embed="rId3">
            <a:alphaModFix/>
          </a:blip>
          <a:srcRect/>
          <a:stretch/>
        </p:blipFill>
        <p:spPr>
          <a:xfrm>
            <a:off x="5192828" y="3615273"/>
            <a:ext cx="510398" cy="119547"/>
          </a:xfrm>
          <a:prstGeom prst="rect">
            <a:avLst/>
          </a:prstGeom>
          <a:noFill/>
          <a:ln w="9525" cap="flat" cmpd="sng">
            <a:solidFill>
              <a:srgbClr val="4A86E8"/>
            </a:solidFill>
            <a:prstDash val="solid"/>
            <a:round/>
            <a:headEnd type="none" w="sm" len="sm"/>
            <a:tailEnd type="none" w="sm" len="sm"/>
          </a:ln>
        </p:spPr>
      </p:pic>
      <p:pic>
        <p:nvPicPr>
          <p:cNvPr id="1140" name="Google Shape;1140;g7826bb8c5e_0_85"/>
          <p:cNvPicPr preferRelativeResize="0"/>
          <p:nvPr/>
        </p:nvPicPr>
        <p:blipFill rotWithShape="1">
          <a:blip r:embed="rId3">
            <a:alphaModFix/>
          </a:blip>
          <a:srcRect/>
          <a:stretch/>
        </p:blipFill>
        <p:spPr>
          <a:xfrm>
            <a:off x="6725250" y="2449334"/>
            <a:ext cx="510398" cy="119547"/>
          </a:xfrm>
          <a:prstGeom prst="rect">
            <a:avLst/>
          </a:prstGeom>
          <a:noFill/>
          <a:ln w="9525" cap="flat" cmpd="sng">
            <a:solidFill>
              <a:srgbClr val="4A86E8"/>
            </a:solidFill>
            <a:prstDash val="solid"/>
            <a:round/>
            <a:headEnd type="none" w="sm" len="sm"/>
            <a:tailEnd type="none" w="sm" len="sm"/>
          </a:ln>
        </p:spPr>
      </p:pic>
      <p:pic>
        <p:nvPicPr>
          <p:cNvPr id="1141" name="Google Shape;1141;g7826bb8c5e_0_85"/>
          <p:cNvPicPr preferRelativeResize="0"/>
          <p:nvPr/>
        </p:nvPicPr>
        <p:blipFill rotWithShape="1">
          <a:blip r:embed="rId4">
            <a:alphaModFix/>
          </a:blip>
          <a:srcRect/>
          <a:stretch/>
        </p:blipFill>
        <p:spPr>
          <a:xfrm>
            <a:off x="5588727" y="1524600"/>
            <a:ext cx="207300" cy="229977"/>
          </a:xfrm>
          <a:prstGeom prst="rect">
            <a:avLst/>
          </a:prstGeom>
          <a:noFill/>
          <a:ln>
            <a:noFill/>
          </a:ln>
        </p:spPr>
      </p:pic>
      <p:pic>
        <p:nvPicPr>
          <p:cNvPr id="1142" name="Google Shape;1142;g7826bb8c5e_0_85"/>
          <p:cNvPicPr preferRelativeResize="0"/>
          <p:nvPr/>
        </p:nvPicPr>
        <p:blipFill rotWithShape="1">
          <a:blip r:embed="rId4">
            <a:alphaModFix/>
          </a:blip>
          <a:srcRect/>
          <a:stretch/>
        </p:blipFill>
        <p:spPr>
          <a:xfrm>
            <a:off x="6869115" y="2114813"/>
            <a:ext cx="207300" cy="229977"/>
          </a:xfrm>
          <a:prstGeom prst="rect">
            <a:avLst/>
          </a:prstGeom>
          <a:noFill/>
          <a:ln>
            <a:noFill/>
          </a:ln>
        </p:spPr>
      </p:pic>
      <p:pic>
        <p:nvPicPr>
          <p:cNvPr id="1143" name="Google Shape;1143;g7826bb8c5e_0_85"/>
          <p:cNvPicPr preferRelativeResize="0"/>
          <p:nvPr/>
        </p:nvPicPr>
        <p:blipFill rotWithShape="1">
          <a:blip r:embed="rId4">
            <a:alphaModFix/>
          </a:blip>
          <a:srcRect/>
          <a:stretch/>
        </p:blipFill>
        <p:spPr>
          <a:xfrm>
            <a:off x="6893277" y="2904600"/>
            <a:ext cx="207300" cy="229977"/>
          </a:xfrm>
          <a:prstGeom prst="rect">
            <a:avLst/>
          </a:prstGeom>
          <a:noFill/>
          <a:ln>
            <a:noFill/>
          </a:ln>
        </p:spPr>
      </p:pic>
      <p:pic>
        <p:nvPicPr>
          <p:cNvPr id="1144" name="Google Shape;1144;g7826bb8c5e_0_85"/>
          <p:cNvPicPr preferRelativeResize="0"/>
          <p:nvPr/>
        </p:nvPicPr>
        <p:blipFill rotWithShape="1">
          <a:blip r:embed="rId4">
            <a:alphaModFix/>
          </a:blip>
          <a:srcRect/>
          <a:stretch/>
        </p:blipFill>
        <p:spPr>
          <a:xfrm>
            <a:off x="5281127" y="3243325"/>
            <a:ext cx="207300" cy="229977"/>
          </a:xfrm>
          <a:prstGeom prst="rect">
            <a:avLst/>
          </a:prstGeom>
          <a:noFill/>
          <a:ln>
            <a:noFill/>
          </a:ln>
        </p:spPr>
      </p:pic>
      <p:pic>
        <p:nvPicPr>
          <p:cNvPr id="1145" name="Google Shape;1145;g7826bb8c5e_0_85"/>
          <p:cNvPicPr preferRelativeResize="0"/>
          <p:nvPr/>
        </p:nvPicPr>
        <p:blipFill rotWithShape="1">
          <a:blip r:embed="rId4">
            <a:alphaModFix/>
          </a:blip>
          <a:srcRect/>
          <a:stretch/>
        </p:blipFill>
        <p:spPr>
          <a:xfrm>
            <a:off x="5048077" y="4224850"/>
            <a:ext cx="207300" cy="229977"/>
          </a:xfrm>
          <a:prstGeom prst="rect">
            <a:avLst/>
          </a:prstGeom>
          <a:noFill/>
          <a:ln>
            <a:noFill/>
          </a:ln>
        </p:spPr>
      </p:pic>
      <p:grpSp>
        <p:nvGrpSpPr>
          <p:cNvPr id="1146" name="Google Shape;1146;g7826bb8c5e_0_85"/>
          <p:cNvGrpSpPr/>
          <p:nvPr/>
        </p:nvGrpSpPr>
        <p:grpSpPr>
          <a:xfrm>
            <a:off x="1024450" y="3958225"/>
            <a:ext cx="287925" cy="304200"/>
            <a:chOff x="894675" y="3492550"/>
            <a:chExt cx="287925" cy="304200"/>
          </a:xfrm>
        </p:grpSpPr>
        <p:sp>
          <p:nvSpPr>
            <p:cNvPr id="1147" name="Google Shape;1147;g7826bb8c5e_0_85"/>
            <p:cNvSpPr/>
            <p:nvPr/>
          </p:nvSpPr>
          <p:spPr>
            <a:xfrm>
              <a:off x="901500" y="3492550"/>
              <a:ext cx="281100" cy="304200"/>
            </a:xfrm>
            <a:prstGeom prst="roundRect">
              <a:avLst>
                <a:gd name="adj" fmla="val 29064"/>
              </a:avLst>
            </a:prstGeom>
            <a:solidFill>
              <a:srgbClr val="FFFFF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1148" name="Google Shape;1148;g7826bb8c5e_0_85"/>
            <p:cNvPicPr preferRelativeResize="0"/>
            <p:nvPr/>
          </p:nvPicPr>
          <p:blipFill rotWithShape="1">
            <a:blip r:embed="rId5">
              <a:alphaModFix/>
            </a:blip>
            <a:srcRect/>
            <a:stretch/>
          </p:blipFill>
          <p:spPr>
            <a:xfrm>
              <a:off x="894675" y="3504100"/>
              <a:ext cx="281100" cy="281100"/>
            </a:xfrm>
            <a:prstGeom prst="rect">
              <a:avLst/>
            </a:prstGeom>
            <a:noFill/>
            <a:ln>
              <a:noFill/>
            </a:ln>
          </p:spPr>
        </p:pic>
      </p:grpSp>
      <p:grpSp>
        <p:nvGrpSpPr>
          <p:cNvPr id="1149" name="Google Shape;1149;g7826bb8c5e_0_85"/>
          <p:cNvGrpSpPr/>
          <p:nvPr/>
        </p:nvGrpSpPr>
        <p:grpSpPr>
          <a:xfrm>
            <a:off x="945575" y="2154175"/>
            <a:ext cx="287925" cy="304200"/>
            <a:chOff x="894675" y="3492550"/>
            <a:chExt cx="287925" cy="304200"/>
          </a:xfrm>
        </p:grpSpPr>
        <p:sp>
          <p:nvSpPr>
            <p:cNvPr id="1150" name="Google Shape;1150;g7826bb8c5e_0_85"/>
            <p:cNvSpPr/>
            <p:nvPr/>
          </p:nvSpPr>
          <p:spPr>
            <a:xfrm>
              <a:off x="901500" y="3492550"/>
              <a:ext cx="281100" cy="304200"/>
            </a:xfrm>
            <a:prstGeom prst="roundRect">
              <a:avLst>
                <a:gd name="adj" fmla="val 29064"/>
              </a:avLst>
            </a:prstGeom>
            <a:solidFill>
              <a:srgbClr val="FFFFF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1151" name="Google Shape;1151;g7826bb8c5e_0_85"/>
            <p:cNvPicPr preferRelativeResize="0"/>
            <p:nvPr/>
          </p:nvPicPr>
          <p:blipFill rotWithShape="1">
            <a:blip r:embed="rId5">
              <a:alphaModFix/>
            </a:blip>
            <a:srcRect/>
            <a:stretch/>
          </p:blipFill>
          <p:spPr>
            <a:xfrm>
              <a:off x="894675" y="3504100"/>
              <a:ext cx="281100" cy="281100"/>
            </a:xfrm>
            <a:prstGeom prst="rect">
              <a:avLst/>
            </a:prstGeom>
            <a:noFill/>
            <a:ln>
              <a:noFill/>
            </a:ln>
          </p:spPr>
        </p:pic>
      </p:grpSp>
      <p:pic>
        <p:nvPicPr>
          <p:cNvPr id="1152" name="Google Shape;1152;g7826bb8c5e_0_85"/>
          <p:cNvPicPr preferRelativeResize="0"/>
          <p:nvPr/>
        </p:nvPicPr>
        <p:blipFill rotWithShape="1">
          <a:blip r:embed="rId4">
            <a:alphaModFix/>
          </a:blip>
          <a:srcRect/>
          <a:stretch/>
        </p:blipFill>
        <p:spPr>
          <a:xfrm>
            <a:off x="375719" y="5037175"/>
            <a:ext cx="343704" cy="381300"/>
          </a:xfrm>
          <a:prstGeom prst="rect">
            <a:avLst/>
          </a:prstGeom>
          <a:noFill/>
          <a:ln>
            <a:noFill/>
          </a:ln>
        </p:spPr>
      </p:pic>
      <p:sp>
        <p:nvSpPr>
          <p:cNvPr id="1153" name="Google Shape;1153;g7826bb8c5e_0_85"/>
          <p:cNvSpPr txBox="1"/>
          <p:nvPr/>
        </p:nvSpPr>
        <p:spPr>
          <a:xfrm>
            <a:off x="697725" y="5021138"/>
            <a:ext cx="3000000" cy="7962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s-ES" sz="1000" b="1" i="0" u="none" strike="noStrike" cap="none">
                <a:solidFill>
                  <a:schemeClr val="dk1"/>
                </a:solidFill>
                <a:latin typeface="Arial"/>
                <a:ea typeface="Arial"/>
                <a:cs typeface="Arial"/>
                <a:sym typeface="Arial"/>
              </a:rPr>
              <a:t>Aplicaciones Móviles para los ciudadanos:</a:t>
            </a:r>
            <a:endParaRPr sz="1000" b="1" i="0" u="none" strike="noStrike" cap="none">
              <a:solidFill>
                <a:schemeClr val="dk1"/>
              </a:solidFill>
              <a:latin typeface="Arial"/>
              <a:ea typeface="Arial"/>
              <a:cs typeface="Arial"/>
              <a:sym typeface="Arial"/>
            </a:endParaRPr>
          </a:p>
          <a:p>
            <a:pPr marL="457200" marR="0" lvl="0" indent="-285750" algn="l" rtl="0">
              <a:lnSpc>
                <a:spcPct val="100000"/>
              </a:lnSpc>
              <a:spcBef>
                <a:spcPts val="0"/>
              </a:spcBef>
              <a:spcAft>
                <a:spcPts val="0"/>
              </a:spcAft>
              <a:buClr>
                <a:schemeClr val="dk1"/>
              </a:buClr>
              <a:buSzPts val="900"/>
              <a:buFont typeface="Arial"/>
              <a:buChar char="●"/>
            </a:pPr>
            <a:r>
              <a:rPr lang="es-ES" sz="900" b="0" i="0" u="none" strike="noStrike" cap="none">
                <a:solidFill>
                  <a:schemeClr val="dk1"/>
                </a:solidFill>
                <a:latin typeface="Arial"/>
                <a:ea typeface="Arial"/>
                <a:cs typeface="Arial"/>
                <a:sym typeface="Arial"/>
              </a:rPr>
              <a:t>App Gobierno </a:t>
            </a:r>
            <a:endParaRPr sz="900" b="0" i="0" u="none" strike="noStrike" cap="none">
              <a:solidFill>
                <a:schemeClr val="dk1"/>
              </a:solidFill>
              <a:latin typeface="Arial"/>
              <a:ea typeface="Arial"/>
              <a:cs typeface="Arial"/>
              <a:sym typeface="Arial"/>
            </a:endParaRPr>
          </a:p>
          <a:p>
            <a:pPr marL="457200" marR="0" lvl="0" indent="-285750" algn="l" rtl="0">
              <a:lnSpc>
                <a:spcPct val="100000"/>
              </a:lnSpc>
              <a:spcBef>
                <a:spcPts val="0"/>
              </a:spcBef>
              <a:spcAft>
                <a:spcPts val="0"/>
              </a:spcAft>
              <a:buClr>
                <a:schemeClr val="dk1"/>
              </a:buClr>
              <a:buSzPts val="900"/>
              <a:buFont typeface="Arial"/>
              <a:buChar char="●"/>
            </a:pPr>
            <a:r>
              <a:rPr lang="es-ES" sz="900" b="0" i="0" u="none" strike="noStrike" cap="none">
                <a:solidFill>
                  <a:schemeClr val="dk1"/>
                </a:solidFill>
                <a:latin typeface="Arial"/>
                <a:ea typeface="Arial"/>
                <a:cs typeface="Arial"/>
                <a:sym typeface="Arial"/>
              </a:rPr>
              <a:t>Apps Comunidades Autónomas</a:t>
            </a:r>
            <a:endParaRPr sz="900" b="0" i="0" u="none" strike="noStrike" cap="none">
              <a:solidFill>
                <a:schemeClr val="dk1"/>
              </a:solidFill>
              <a:latin typeface="Arial"/>
              <a:ea typeface="Arial"/>
              <a:cs typeface="Arial"/>
              <a:sym typeface="Arial"/>
            </a:endParaRPr>
          </a:p>
          <a:p>
            <a:pPr marL="457200" marR="0" lvl="0" indent="-285750" algn="l" rtl="0">
              <a:lnSpc>
                <a:spcPct val="100000"/>
              </a:lnSpc>
              <a:spcBef>
                <a:spcPts val="0"/>
              </a:spcBef>
              <a:spcAft>
                <a:spcPts val="0"/>
              </a:spcAft>
              <a:buClr>
                <a:schemeClr val="dk1"/>
              </a:buClr>
              <a:buSzPts val="900"/>
              <a:buFont typeface="Arial"/>
              <a:buChar char="●"/>
            </a:pPr>
            <a:r>
              <a:rPr lang="es-ES" sz="900" b="0" i="0" u="none" strike="noStrike" cap="none">
                <a:solidFill>
                  <a:schemeClr val="dk1"/>
                </a:solidFill>
                <a:latin typeface="Arial"/>
                <a:ea typeface="Arial"/>
                <a:cs typeface="Arial"/>
                <a:sym typeface="Arial"/>
              </a:rPr>
              <a:t>Apps otros estados </a:t>
            </a:r>
            <a:endParaRPr sz="9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900"/>
              <a:buFont typeface="Arial"/>
              <a:buNone/>
            </a:pPr>
            <a:endParaRPr sz="9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900"/>
              <a:buFont typeface="Arial"/>
              <a:buNone/>
            </a:pPr>
            <a:r>
              <a:rPr lang="es-ES" sz="900" b="0" i="0" u="none" strike="noStrike" cap="none">
                <a:solidFill>
                  <a:schemeClr val="dk1"/>
                </a:solidFill>
                <a:latin typeface="Arial"/>
                <a:ea typeface="Arial"/>
                <a:cs typeface="Arial"/>
                <a:sym typeface="Arial"/>
              </a:rPr>
              <a:t>   Compatibilidad a través del SDK Google/Apple</a:t>
            </a:r>
            <a:endParaRPr sz="900" b="0" i="0" u="none" strike="noStrike" cap="none">
              <a:solidFill>
                <a:schemeClr val="dk1"/>
              </a:solidFill>
              <a:latin typeface="Arial"/>
              <a:ea typeface="Arial"/>
              <a:cs typeface="Arial"/>
              <a:sym typeface="Arial"/>
            </a:endParaRPr>
          </a:p>
        </p:txBody>
      </p:sp>
      <p:sp>
        <p:nvSpPr>
          <p:cNvPr id="1154" name="Google Shape;1154;g7826bb8c5e_0_85"/>
          <p:cNvSpPr txBox="1"/>
          <p:nvPr/>
        </p:nvSpPr>
        <p:spPr>
          <a:xfrm>
            <a:off x="285725" y="618475"/>
            <a:ext cx="3476400" cy="3594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2400"/>
              <a:buFont typeface="Playfair Display"/>
              <a:buNone/>
            </a:pPr>
            <a:r>
              <a:rPr lang="es-ES" sz="2500" b="1" i="0" u="none" strike="noStrike" cap="none">
                <a:solidFill>
                  <a:schemeClr val="dk1"/>
                </a:solidFill>
                <a:latin typeface="Playfair Display"/>
                <a:ea typeface="Playfair Display"/>
                <a:cs typeface="Playfair Display"/>
                <a:sym typeface="Playfair Display"/>
              </a:rPr>
              <a:t>Pre-piloto</a:t>
            </a:r>
            <a:r>
              <a:rPr lang="es-ES" sz="2400" b="1" i="0" u="none" strike="noStrike" cap="none">
                <a:solidFill>
                  <a:schemeClr val="dk1"/>
                </a:solidFill>
                <a:latin typeface="Playfair Display"/>
                <a:ea typeface="Playfair Display"/>
                <a:cs typeface="Playfair Display"/>
                <a:sym typeface="Playfair Display"/>
              </a:rPr>
              <a:t>: Desarrollo</a:t>
            </a:r>
            <a:r>
              <a:rPr lang="es-ES" sz="2400" b="0" i="0" u="none" strike="noStrike" cap="none">
                <a:solidFill>
                  <a:schemeClr val="dk1"/>
                </a:solidFill>
                <a:latin typeface="Playfair Display"/>
                <a:ea typeface="Playfair Display"/>
                <a:cs typeface="Playfair Display"/>
                <a:sym typeface="Playfair Display"/>
              </a:rPr>
              <a:t>.</a:t>
            </a:r>
            <a:endParaRPr sz="2400" b="0" i="0" u="none" strike="noStrike" cap="none">
              <a:solidFill>
                <a:schemeClr val="dk1"/>
              </a:solidFill>
              <a:latin typeface="Playfair Display"/>
              <a:ea typeface="Playfair Display"/>
              <a:cs typeface="Playfair Display"/>
              <a:sym typeface="Playfair Display"/>
            </a:endParaRPr>
          </a:p>
        </p:txBody>
      </p:sp>
      <p:pic>
        <p:nvPicPr>
          <p:cNvPr id="1155" name="Google Shape;1155;g7826bb8c5e_0_85"/>
          <p:cNvPicPr preferRelativeResize="0"/>
          <p:nvPr/>
        </p:nvPicPr>
        <p:blipFill rotWithShape="1">
          <a:blip r:embed="rId5">
            <a:alphaModFix/>
          </a:blip>
          <a:srcRect/>
          <a:stretch/>
        </p:blipFill>
        <p:spPr>
          <a:xfrm>
            <a:off x="4164450" y="5009675"/>
            <a:ext cx="343700" cy="343700"/>
          </a:xfrm>
          <a:prstGeom prst="rect">
            <a:avLst/>
          </a:prstGeom>
          <a:noFill/>
          <a:ln>
            <a:noFill/>
          </a:ln>
        </p:spPr>
      </p:pic>
      <p:sp>
        <p:nvSpPr>
          <p:cNvPr id="1156" name="Google Shape;1156;g7826bb8c5e_0_85"/>
          <p:cNvSpPr txBox="1"/>
          <p:nvPr/>
        </p:nvSpPr>
        <p:spPr>
          <a:xfrm>
            <a:off x="4507725" y="5021150"/>
            <a:ext cx="3692400" cy="7962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s-ES" sz="1000" b="1" i="0" u="none" strike="noStrike" cap="none">
                <a:solidFill>
                  <a:schemeClr val="dk1"/>
                </a:solidFill>
                <a:latin typeface="Arial"/>
                <a:ea typeface="Arial"/>
                <a:cs typeface="Arial"/>
                <a:sym typeface="Arial"/>
              </a:rPr>
              <a:t>Backends para solución tracing</a:t>
            </a:r>
            <a:endParaRPr sz="1000" b="1" i="0" u="none" strike="noStrike" cap="none">
              <a:solidFill>
                <a:schemeClr val="dk1"/>
              </a:solidFill>
              <a:latin typeface="Arial"/>
              <a:ea typeface="Arial"/>
              <a:cs typeface="Arial"/>
              <a:sym typeface="Arial"/>
            </a:endParaRPr>
          </a:p>
          <a:p>
            <a:pPr marL="457200" marR="0" lvl="0" indent="-285750" algn="l" rtl="0">
              <a:lnSpc>
                <a:spcPct val="100000"/>
              </a:lnSpc>
              <a:spcBef>
                <a:spcPts val="0"/>
              </a:spcBef>
              <a:spcAft>
                <a:spcPts val="0"/>
              </a:spcAft>
              <a:buClr>
                <a:schemeClr val="dk1"/>
              </a:buClr>
              <a:buSzPts val="900"/>
              <a:buFont typeface="Arial"/>
              <a:buChar char="●"/>
            </a:pPr>
            <a:r>
              <a:rPr lang="es-ES" sz="900" b="0" i="0" u="none" strike="noStrike" cap="none">
                <a:solidFill>
                  <a:schemeClr val="dk1"/>
                </a:solidFill>
                <a:latin typeface="Arial"/>
                <a:ea typeface="Arial"/>
                <a:cs typeface="Arial"/>
                <a:sym typeface="Arial"/>
              </a:rPr>
              <a:t>Backend LOCAL</a:t>
            </a:r>
            <a:endParaRPr sz="900" b="0" i="0" u="none" strike="noStrike" cap="none">
              <a:solidFill>
                <a:schemeClr val="dk1"/>
              </a:solidFill>
              <a:latin typeface="Arial"/>
              <a:ea typeface="Arial"/>
              <a:cs typeface="Arial"/>
              <a:sym typeface="Arial"/>
            </a:endParaRPr>
          </a:p>
          <a:p>
            <a:pPr marL="457200" marR="0" lvl="0" indent="-285750" algn="l" rtl="0">
              <a:lnSpc>
                <a:spcPct val="100000"/>
              </a:lnSpc>
              <a:spcBef>
                <a:spcPts val="0"/>
              </a:spcBef>
              <a:spcAft>
                <a:spcPts val="0"/>
              </a:spcAft>
              <a:buClr>
                <a:schemeClr val="dk1"/>
              </a:buClr>
              <a:buSzPts val="900"/>
              <a:buFont typeface="Arial"/>
              <a:buChar char="●"/>
            </a:pPr>
            <a:r>
              <a:rPr lang="es-ES" sz="900" b="0" i="0" u="none" strike="noStrike" cap="none">
                <a:solidFill>
                  <a:schemeClr val="dk1"/>
                </a:solidFill>
                <a:latin typeface="Arial"/>
                <a:ea typeface="Arial"/>
                <a:cs typeface="Arial"/>
                <a:sym typeface="Arial"/>
              </a:rPr>
              <a:t>Backend otro estado</a:t>
            </a:r>
            <a:endParaRPr sz="9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900"/>
              <a:buFont typeface="Arial"/>
              <a:buNone/>
            </a:pPr>
            <a:endParaRPr sz="900" b="0" i="0" u="none" strike="noStrike" cap="none">
              <a:solidFill>
                <a:schemeClr val="dk1"/>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900"/>
              <a:buFont typeface="Arial"/>
              <a:buNone/>
            </a:pPr>
            <a:r>
              <a:rPr lang="es-ES" sz="900" b="0" i="0" u="none" strike="noStrike" cap="none">
                <a:solidFill>
                  <a:schemeClr val="dk1"/>
                </a:solidFill>
                <a:latin typeface="Arial"/>
                <a:ea typeface="Arial"/>
                <a:cs typeface="Arial"/>
                <a:sym typeface="Arial"/>
              </a:rPr>
              <a:t>   Compatibilidad a través definición de estándares comunes</a:t>
            </a:r>
            <a:endParaRPr sz="900" b="0" i="0" u="none" strike="noStrike" cap="none">
              <a:solidFill>
                <a:schemeClr val="dk1"/>
              </a:solidFill>
              <a:latin typeface="Arial"/>
              <a:ea typeface="Arial"/>
              <a:cs typeface="Arial"/>
              <a:sym typeface="Arial"/>
            </a:endParaRPr>
          </a:p>
        </p:txBody>
      </p:sp>
      <p:pic>
        <p:nvPicPr>
          <p:cNvPr id="1157" name="Google Shape;1157;g7826bb8c5e_0_85"/>
          <p:cNvPicPr preferRelativeResize="0"/>
          <p:nvPr/>
        </p:nvPicPr>
        <p:blipFill rotWithShape="1">
          <a:blip r:embed="rId3">
            <a:alphaModFix/>
          </a:blip>
          <a:srcRect/>
          <a:stretch/>
        </p:blipFill>
        <p:spPr>
          <a:xfrm>
            <a:off x="2298278" y="2889473"/>
            <a:ext cx="510398" cy="119547"/>
          </a:xfrm>
          <a:prstGeom prst="rect">
            <a:avLst/>
          </a:prstGeom>
          <a:noFill/>
          <a:ln w="9525" cap="flat" cmpd="sng">
            <a:solidFill>
              <a:srgbClr val="4A86E8"/>
            </a:solidFill>
            <a:prstDash val="solid"/>
            <a:round/>
            <a:headEnd type="none" w="sm" len="sm"/>
            <a:tailEnd type="none" w="sm" len="sm"/>
          </a:ln>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161"/>
        <p:cNvGrpSpPr/>
        <p:nvPr/>
      </p:nvGrpSpPr>
      <p:grpSpPr>
        <a:xfrm>
          <a:off x="0" y="0"/>
          <a:ext cx="0" cy="0"/>
          <a:chOff x="0" y="0"/>
          <a:chExt cx="0" cy="0"/>
        </a:xfrm>
      </p:grpSpPr>
      <p:sp>
        <p:nvSpPr>
          <p:cNvPr id="1163" name="Google Shape;1163;g7826bb8c5e_1_8"/>
          <p:cNvSpPr txBox="1"/>
          <p:nvPr/>
        </p:nvSpPr>
        <p:spPr>
          <a:xfrm>
            <a:off x="3614057" y="652696"/>
            <a:ext cx="8120006" cy="177604"/>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2400"/>
              <a:buFont typeface="Playfair Display"/>
              <a:buNone/>
            </a:pPr>
            <a:r>
              <a:rPr lang="es-ES" sz="2400" b="0" i="0" u="none" strike="noStrike" cap="none" dirty="0">
                <a:solidFill>
                  <a:schemeClr val="dk1"/>
                </a:solidFill>
                <a:latin typeface="Playfair Display"/>
                <a:ea typeface="Playfair Display"/>
                <a:cs typeface="Playfair Display"/>
                <a:sym typeface="Playfair Display"/>
              </a:rPr>
              <a:t>Funcionalidad técnica app</a:t>
            </a:r>
            <a:endParaRPr sz="2400" b="0" i="0" u="none" strike="noStrike" cap="none" dirty="0">
              <a:solidFill>
                <a:schemeClr val="dk1"/>
              </a:solidFill>
              <a:latin typeface="Playfair Display"/>
              <a:ea typeface="Playfair Display"/>
              <a:cs typeface="Playfair Display"/>
              <a:sym typeface="Playfair Display"/>
            </a:endParaRPr>
          </a:p>
        </p:txBody>
      </p:sp>
      <p:sp>
        <p:nvSpPr>
          <p:cNvPr id="1164" name="Google Shape;1164;g7826bb8c5e_1_8"/>
          <p:cNvSpPr txBox="1">
            <a:spLocks noGrp="1"/>
          </p:cNvSpPr>
          <p:nvPr>
            <p:ph type="body" idx="1"/>
          </p:nvPr>
        </p:nvSpPr>
        <p:spPr>
          <a:xfrm>
            <a:off x="336000" y="128400"/>
            <a:ext cx="11519400" cy="251400"/>
          </a:xfrm>
          <a:prstGeom prst="rect">
            <a:avLst/>
          </a:prstGeom>
          <a:noFill/>
          <a:ln>
            <a:noFill/>
          </a:ln>
        </p:spPr>
        <p:txBody>
          <a:bodyPr spcFirstLastPara="1" wrap="square" lIns="0" tIns="45700" rIns="91425" bIns="45700" anchor="t" anchorCtr="0">
            <a:noAutofit/>
          </a:bodyPr>
          <a:lstStyle/>
          <a:p>
            <a:pPr marL="0" lvl="0" indent="0" algn="l" rtl="0">
              <a:lnSpc>
                <a:spcPct val="90000"/>
              </a:lnSpc>
              <a:spcBef>
                <a:spcPts val="0"/>
              </a:spcBef>
              <a:spcAft>
                <a:spcPts val="0"/>
              </a:spcAft>
              <a:buClr>
                <a:srgbClr val="1A3B47"/>
              </a:buClr>
              <a:buSzPts val="1400"/>
              <a:buNone/>
            </a:pPr>
            <a:r>
              <a:rPr lang="es-ES" sz="1400">
                <a:latin typeface="Playfair Display"/>
                <a:ea typeface="Playfair Display"/>
                <a:cs typeface="Playfair Display"/>
                <a:sym typeface="Playfair Display"/>
              </a:rPr>
              <a:t>Covid-19 app - Alcance y enfoque del trabajo propuesto</a:t>
            </a:r>
            <a:endParaRPr/>
          </a:p>
        </p:txBody>
      </p:sp>
      <p:grpSp>
        <p:nvGrpSpPr>
          <p:cNvPr id="1168" name="Google Shape;1168;g7826bb8c5e_1_8"/>
          <p:cNvGrpSpPr/>
          <p:nvPr/>
        </p:nvGrpSpPr>
        <p:grpSpPr>
          <a:xfrm>
            <a:off x="10992330" y="88959"/>
            <a:ext cx="1104735" cy="536493"/>
            <a:chOff x="508100" y="1640544"/>
            <a:chExt cx="11238400" cy="4620956"/>
          </a:xfrm>
        </p:grpSpPr>
        <p:grpSp>
          <p:nvGrpSpPr>
            <p:cNvPr id="1169" name="Google Shape;1169;g7826bb8c5e_1_8"/>
            <p:cNvGrpSpPr/>
            <p:nvPr/>
          </p:nvGrpSpPr>
          <p:grpSpPr>
            <a:xfrm>
              <a:off x="508106" y="1640544"/>
              <a:ext cx="11232175" cy="21551"/>
              <a:chOff x="431923" y="1640499"/>
              <a:chExt cx="9605075" cy="31800"/>
            </a:xfrm>
          </p:grpSpPr>
          <p:cxnSp>
            <p:nvCxnSpPr>
              <p:cNvPr id="1170" name="Google Shape;1170;g7826bb8c5e_1_8"/>
              <p:cNvCxnSpPr/>
              <p:nvPr/>
            </p:nvCxnSpPr>
            <p:spPr>
              <a:xfrm>
                <a:off x="431923" y="1640499"/>
                <a:ext cx="4651200" cy="15900"/>
              </a:xfrm>
              <a:prstGeom prst="straightConnector1">
                <a:avLst/>
              </a:prstGeom>
              <a:noFill/>
              <a:ln w="76200" cap="flat" cmpd="sng">
                <a:solidFill>
                  <a:schemeClr val="accent4"/>
                </a:solidFill>
                <a:prstDash val="solid"/>
                <a:round/>
                <a:headEnd type="none" w="sm" len="sm"/>
                <a:tailEnd type="none" w="sm" len="sm"/>
              </a:ln>
            </p:spPr>
          </p:cxnSp>
          <p:cxnSp>
            <p:nvCxnSpPr>
              <p:cNvPr id="1171" name="Google Shape;1171;g7826bb8c5e_1_8"/>
              <p:cNvCxnSpPr/>
              <p:nvPr/>
            </p:nvCxnSpPr>
            <p:spPr>
              <a:xfrm>
                <a:off x="5385798" y="1656399"/>
                <a:ext cx="4651200" cy="15900"/>
              </a:xfrm>
              <a:prstGeom prst="straightConnector1">
                <a:avLst/>
              </a:prstGeom>
              <a:noFill/>
              <a:ln w="76200" cap="flat" cmpd="sng">
                <a:solidFill>
                  <a:srgbClr val="CCCCCC"/>
                </a:solidFill>
                <a:prstDash val="solid"/>
                <a:round/>
                <a:headEnd type="none" w="sm" len="sm"/>
                <a:tailEnd type="none" w="sm" len="sm"/>
              </a:ln>
            </p:spPr>
          </p:cxnSp>
        </p:grpSp>
        <p:sp>
          <p:nvSpPr>
            <p:cNvPr id="1172" name="Google Shape;1172;g7826bb8c5e_1_8"/>
            <p:cNvSpPr/>
            <p:nvPr/>
          </p:nvSpPr>
          <p:spPr>
            <a:xfrm>
              <a:off x="508100" y="2035875"/>
              <a:ext cx="1390500" cy="4225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173" name="Google Shape;1173;g7826bb8c5e_1_8"/>
            <p:cNvSpPr/>
            <p:nvPr/>
          </p:nvSpPr>
          <p:spPr>
            <a:xfrm>
              <a:off x="2132113" y="5255000"/>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174" name="Google Shape;1174;g7826bb8c5e_1_8"/>
            <p:cNvSpPr/>
            <p:nvPr/>
          </p:nvSpPr>
          <p:spPr>
            <a:xfrm>
              <a:off x="2132113" y="3108917"/>
              <a:ext cx="3766200" cy="1006500"/>
            </a:xfrm>
            <a:prstGeom prst="rect">
              <a:avLst/>
            </a:prstGeom>
            <a:solidFill>
              <a:srgbClr val="E3F3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175" name="Google Shape;1175;g7826bb8c5e_1_8"/>
            <p:cNvSpPr/>
            <p:nvPr/>
          </p:nvSpPr>
          <p:spPr>
            <a:xfrm>
              <a:off x="2132113" y="4181958"/>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176" name="Google Shape;1176;g7826bb8c5e_1_8"/>
            <p:cNvSpPr/>
            <p:nvPr/>
          </p:nvSpPr>
          <p:spPr>
            <a:xfrm>
              <a:off x="6343925" y="2035875"/>
              <a:ext cx="5396400" cy="13503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177" name="Google Shape;1177;g7826bb8c5e_1_8"/>
            <p:cNvSpPr/>
            <p:nvPr/>
          </p:nvSpPr>
          <p:spPr>
            <a:xfrm>
              <a:off x="6350100" y="3481700"/>
              <a:ext cx="5396400" cy="13521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178" name="Google Shape;1178;g7826bb8c5e_1_8"/>
            <p:cNvSpPr/>
            <p:nvPr/>
          </p:nvSpPr>
          <p:spPr>
            <a:xfrm>
              <a:off x="6343925" y="4945700"/>
              <a:ext cx="5396400" cy="13158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179" name="Google Shape;1179;g7826bb8c5e_1_8"/>
            <p:cNvSpPr/>
            <p:nvPr/>
          </p:nvSpPr>
          <p:spPr>
            <a:xfrm>
              <a:off x="2132113" y="2035875"/>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grpSp>
      <p:sp>
        <p:nvSpPr>
          <p:cNvPr id="1180" name="Google Shape;1180;g7826bb8c5e_1_8"/>
          <p:cNvSpPr txBox="1"/>
          <p:nvPr/>
        </p:nvSpPr>
        <p:spPr>
          <a:xfrm>
            <a:off x="336000" y="649100"/>
            <a:ext cx="3389700" cy="3624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2400"/>
              <a:buFont typeface="Playfair Display"/>
              <a:buNone/>
            </a:pPr>
            <a:r>
              <a:rPr lang="es-ES" sz="2400" b="1" i="0" u="none" strike="noStrike" cap="none">
                <a:solidFill>
                  <a:schemeClr val="dk1"/>
                </a:solidFill>
                <a:latin typeface="Playfair Display"/>
                <a:ea typeface="Playfair Display"/>
                <a:cs typeface="Playfair Display"/>
                <a:sym typeface="Playfair Display"/>
              </a:rPr>
              <a:t>Pre-piloto: Desarrollo</a:t>
            </a:r>
            <a:r>
              <a:rPr lang="es-ES" sz="2400" b="0" i="0" u="none" strike="noStrike" cap="none">
                <a:solidFill>
                  <a:schemeClr val="dk1"/>
                </a:solidFill>
                <a:latin typeface="Playfair Display"/>
                <a:ea typeface="Playfair Display"/>
                <a:cs typeface="Playfair Display"/>
                <a:sym typeface="Playfair Display"/>
              </a:rPr>
              <a:t>.</a:t>
            </a:r>
            <a:endParaRPr sz="2400" b="0" i="0" u="none" strike="noStrike" cap="none">
              <a:solidFill>
                <a:schemeClr val="dk1"/>
              </a:solidFill>
              <a:latin typeface="Playfair Display"/>
              <a:ea typeface="Playfair Display"/>
              <a:cs typeface="Playfair Display"/>
              <a:sym typeface="Playfair Display"/>
            </a:endParaRPr>
          </a:p>
        </p:txBody>
      </p:sp>
      <p:sp>
        <p:nvSpPr>
          <p:cNvPr id="22" name="Google Shape;509;g8055afce9b_0_758"/>
          <p:cNvSpPr txBox="1"/>
          <p:nvPr/>
        </p:nvSpPr>
        <p:spPr>
          <a:xfrm>
            <a:off x="2179954" y="1204500"/>
            <a:ext cx="9916500" cy="50979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s-ES" sz="1600" b="0" i="0" u="none" strike="noStrike" cap="none" dirty="0">
                <a:solidFill>
                  <a:srgbClr val="000000"/>
                </a:solidFill>
                <a:latin typeface="Playfair Display"/>
                <a:ea typeface="Playfair Display"/>
                <a:cs typeface="Playfair Display"/>
                <a:sym typeface="Playfair Display"/>
              </a:rPr>
              <a:t>App Móvil</a:t>
            </a:r>
            <a:endParaRPr sz="1100" b="0" i="1" u="none" strike="noStrike" cap="none" dirty="0">
              <a:solidFill>
                <a:srgbClr val="000000"/>
              </a:solidFill>
              <a:latin typeface="Arial"/>
              <a:ea typeface="Arial"/>
              <a:cs typeface="Arial"/>
              <a:sym typeface="Arial"/>
            </a:endParaRPr>
          </a:p>
          <a:p>
            <a:pPr marL="457200" marR="0" lvl="0" indent="-298450" algn="l" rtl="0">
              <a:lnSpc>
                <a:spcPct val="100000"/>
              </a:lnSpc>
              <a:spcBef>
                <a:spcPts val="100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Verificar el código de autorización por parte de la autoridad sanitaria ante positivo por COVID-19</a:t>
            </a:r>
            <a:endParaRPr sz="1100" b="0" i="0" u="none" strike="sngStrike" cap="none" dirty="0">
              <a:solidFill>
                <a:srgbClr val="FF0000"/>
              </a:solidFill>
              <a:latin typeface="Arial"/>
              <a:ea typeface="Arial"/>
              <a:cs typeface="Arial"/>
              <a:sym typeface="Arial"/>
            </a:endParaRPr>
          </a:p>
          <a:p>
            <a:pPr marL="914400" marR="0" lvl="1" indent="-298450" algn="l" rtl="0">
              <a:lnSpc>
                <a:spcPct val="100000"/>
              </a:lnSpc>
              <a:spcBef>
                <a:spcPts val="0"/>
              </a:spcBef>
              <a:spcAft>
                <a:spcPts val="0"/>
              </a:spcAft>
              <a:buClr>
                <a:schemeClr val="dk1"/>
              </a:buClr>
              <a:buSzPts val="1100"/>
              <a:buFont typeface="Arial"/>
              <a:buChar char="○"/>
            </a:pPr>
            <a:r>
              <a:rPr lang="es-ES" sz="1100" b="0" i="0" u="none" strike="noStrike" cap="none" dirty="0">
                <a:solidFill>
                  <a:schemeClr val="dk1"/>
                </a:solidFill>
                <a:latin typeface="Arial"/>
                <a:ea typeface="Arial"/>
                <a:cs typeface="Arial"/>
                <a:sym typeface="Arial"/>
              </a:rPr>
              <a:t>Como no se dispone de servicio de la autoridad sanitaria se simulará la validación del positivo que desencadene el proceso de </a:t>
            </a:r>
            <a:r>
              <a:rPr lang="es-ES" sz="1100" b="0" i="0" u="none" strike="noStrike" cap="none" dirty="0" err="1">
                <a:solidFill>
                  <a:schemeClr val="dk1"/>
                </a:solidFill>
                <a:latin typeface="Arial"/>
                <a:ea typeface="Arial"/>
                <a:cs typeface="Arial"/>
                <a:sym typeface="Arial"/>
              </a:rPr>
              <a:t>tracing</a:t>
            </a:r>
            <a:r>
              <a:rPr lang="es-ES" sz="1100" b="0" i="0" u="none" strike="noStrike" cap="none" dirty="0">
                <a:solidFill>
                  <a:schemeClr val="dk1"/>
                </a:solidFill>
                <a:latin typeface="Arial"/>
                <a:ea typeface="Arial"/>
                <a:cs typeface="Arial"/>
                <a:sym typeface="Arial"/>
              </a:rPr>
              <a:t> y se pueda pilotar.</a:t>
            </a:r>
            <a:endParaRPr sz="1100" b="0" i="0" u="none" strike="sngStrike" cap="none" dirty="0">
              <a:solidFill>
                <a:schemeClr val="dk1"/>
              </a:solidFill>
              <a:latin typeface="Arial"/>
              <a:ea typeface="Arial"/>
              <a:cs typeface="Arial"/>
              <a:sym typeface="Arial"/>
            </a:endParaRPr>
          </a:p>
          <a:p>
            <a:pPr marL="457200" marR="0" lvl="0"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Permite al usuario la transmisión y recepción de identificadores aleatorios a través del Bluetooth </a:t>
            </a:r>
            <a:endParaRPr sz="1100" b="0" i="0" u="none" strike="noStrike" cap="none" dirty="0">
              <a:solidFill>
                <a:srgbClr val="000000"/>
              </a:solidFill>
              <a:latin typeface="Arial"/>
              <a:ea typeface="Arial"/>
              <a:cs typeface="Arial"/>
              <a:sym typeface="Arial"/>
            </a:endParaRPr>
          </a:p>
          <a:p>
            <a:pPr marL="457200" marR="0" lvl="0"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Envía al servidor su baliza generadora de claves efímeras en caso de positivo</a:t>
            </a:r>
            <a:endParaRPr sz="1100" b="0" i="0" u="none" strike="noStrike" cap="none" dirty="0">
              <a:solidFill>
                <a:srgbClr val="000000"/>
              </a:solidFill>
              <a:latin typeface="Arial"/>
              <a:ea typeface="Arial"/>
              <a:cs typeface="Arial"/>
              <a:sym typeface="Arial"/>
            </a:endParaRPr>
          </a:p>
          <a:p>
            <a:pPr marL="457200" marR="0" lvl="0"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Pide al servidor las claves anónimas de usuarios contagiados de manera periódica</a:t>
            </a:r>
            <a:endParaRPr sz="1100" b="0" i="0" u="none" strike="noStrike" cap="none" dirty="0">
              <a:solidFill>
                <a:srgbClr val="FF0000"/>
              </a:solidFill>
              <a:latin typeface="Arial"/>
              <a:ea typeface="Arial"/>
              <a:cs typeface="Arial"/>
              <a:sym typeface="Arial"/>
            </a:endParaRPr>
          </a:p>
          <a:p>
            <a:pPr marL="457200" marR="0" lvl="0"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Mostrar notificaciones al usuario con instrucciones de qué hacer en caso de que haya estado en contacto a otro usuario positivo COVID-19</a:t>
            </a:r>
            <a:endParaRPr sz="1100" b="0" i="0" u="none" strike="noStrike" cap="none" dirty="0">
              <a:solidFill>
                <a:srgbClr val="000000"/>
              </a:solidFill>
              <a:latin typeface="Arial"/>
              <a:ea typeface="Arial"/>
              <a:cs typeface="Arial"/>
              <a:sym typeface="Arial"/>
            </a:endParaRPr>
          </a:p>
          <a:p>
            <a:pPr marL="457200" marR="0" lvl="0"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Pantallas estáticas informativas</a:t>
            </a:r>
            <a:endParaRPr sz="1100" b="0" i="0" u="none" strike="noStrike" cap="none" dirty="0">
              <a:solidFill>
                <a:srgbClr val="000000"/>
              </a:solidFill>
              <a:latin typeface="Arial"/>
              <a:ea typeface="Arial"/>
              <a:cs typeface="Arial"/>
              <a:sym typeface="Arial"/>
            </a:endParaRPr>
          </a:p>
          <a:p>
            <a:pPr marL="0" marR="0" lvl="0" indent="0" algn="l" rtl="0">
              <a:lnSpc>
                <a:spcPct val="100000"/>
              </a:lnSpc>
              <a:spcBef>
                <a:spcPts val="1000"/>
              </a:spcBef>
              <a:spcAft>
                <a:spcPts val="0"/>
              </a:spcAft>
              <a:buClr>
                <a:srgbClr val="000000"/>
              </a:buClr>
              <a:buSzPts val="1600"/>
              <a:buFont typeface="Arial"/>
              <a:buNone/>
            </a:pPr>
            <a:r>
              <a:rPr lang="es-ES" sz="1600" b="0" i="0" u="none" strike="noStrike" cap="none" dirty="0">
                <a:solidFill>
                  <a:srgbClr val="000000"/>
                </a:solidFill>
                <a:latin typeface="Playfair Display"/>
                <a:ea typeface="Playfair Display"/>
                <a:cs typeface="Playfair Display"/>
                <a:sym typeface="Playfair Display"/>
              </a:rPr>
              <a:t>SDK google/</a:t>
            </a:r>
            <a:r>
              <a:rPr lang="es-ES" sz="1600" b="0" i="0" u="none" strike="noStrike" cap="none" dirty="0" err="1">
                <a:solidFill>
                  <a:srgbClr val="000000"/>
                </a:solidFill>
                <a:latin typeface="Playfair Display"/>
                <a:ea typeface="Playfair Display"/>
                <a:cs typeface="Playfair Display"/>
                <a:sym typeface="Playfair Display"/>
              </a:rPr>
              <a:t>apple</a:t>
            </a:r>
            <a:endParaRPr sz="1600" b="0" i="0" u="none" strike="noStrike" cap="none" dirty="0">
              <a:solidFill>
                <a:srgbClr val="000000"/>
              </a:solidFill>
              <a:latin typeface="Playfair Display"/>
              <a:ea typeface="Playfair Display"/>
              <a:cs typeface="Playfair Display"/>
              <a:sym typeface="Playfair Display"/>
            </a:endParaRPr>
          </a:p>
          <a:p>
            <a:pPr marL="0" marR="0" lvl="0" indent="0" algn="l" rtl="0">
              <a:lnSpc>
                <a:spcPct val="100000"/>
              </a:lnSpc>
              <a:spcBef>
                <a:spcPts val="1000"/>
              </a:spcBef>
              <a:spcAft>
                <a:spcPts val="0"/>
              </a:spcAft>
              <a:buClr>
                <a:srgbClr val="000000"/>
              </a:buClr>
              <a:buSzPts val="1100"/>
              <a:buFont typeface="Arial"/>
              <a:buNone/>
            </a:pPr>
            <a:r>
              <a:rPr lang="es-ES" sz="1100" b="0" i="0" u="none" strike="noStrike" cap="none" dirty="0">
                <a:solidFill>
                  <a:srgbClr val="000000"/>
                </a:solidFill>
                <a:latin typeface="Arial"/>
                <a:ea typeface="Arial"/>
                <a:cs typeface="Arial"/>
                <a:sym typeface="Arial"/>
              </a:rPr>
              <a:t>Funcionalidad proporcionada por el </a:t>
            </a:r>
            <a:r>
              <a:rPr lang="es-ES" sz="1100" b="0" i="0" u="none" strike="noStrike" cap="none" dirty="0" err="1">
                <a:solidFill>
                  <a:srgbClr val="000000"/>
                </a:solidFill>
                <a:latin typeface="Arial"/>
                <a:ea typeface="Arial"/>
                <a:cs typeface="Arial"/>
                <a:sym typeface="Arial"/>
              </a:rPr>
              <a:t>sdk</a:t>
            </a:r>
            <a:endParaRPr sz="1100" b="0" i="0" u="none" strike="noStrike" cap="none" dirty="0">
              <a:solidFill>
                <a:srgbClr val="000000"/>
              </a:solidFill>
              <a:latin typeface="Arial"/>
              <a:ea typeface="Arial"/>
              <a:cs typeface="Arial"/>
              <a:sym typeface="Arial"/>
            </a:endParaRPr>
          </a:p>
          <a:p>
            <a:pPr marL="457200" marR="0" lvl="0" indent="-298450" algn="l" rtl="0">
              <a:lnSpc>
                <a:spcPct val="100000"/>
              </a:lnSpc>
              <a:spcBef>
                <a:spcPts val="100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Gestionar las claves aleatorias diarias:</a:t>
            </a:r>
            <a:endParaRPr sz="1200" b="0" i="0" u="none" strike="noStrike" cap="none" dirty="0">
              <a:solidFill>
                <a:srgbClr val="000000"/>
              </a:solidFill>
              <a:latin typeface="Arial"/>
              <a:ea typeface="Arial"/>
              <a:cs typeface="Arial"/>
              <a:sym typeface="Arial"/>
            </a:endParaRPr>
          </a:p>
          <a:p>
            <a:pPr marL="914400" marR="0" lvl="1"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Generar diariamente las claves de exposición temporales y rotar los </a:t>
            </a:r>
            <a:r>
              <a:rPr lang="es-ES" sz="1100" b="0" i="0" u="none" strike="noStrike" cap="none" dirty="0" err="1">
                <a:solidFill>
                  <a:srgbClr val="000000"/>
                </a:solidFill>
                <a:latin typeface="Arial"/>
                <a:ea typeface="Arial"/>
                <a:cs typeface="Arial"/>
                <a:sym typeface="Arial"/>
              </a:rPr>
              <a:t>ids</a:t>
            </a:r>
            <a:r>
              <a:rPr lang="es-ES" sz="1100" b="0" i="0" u="none" strike="noStrike" cap="none" dirty="0">
                <a:solidFill>
                  <a:srgbClr val="000000"/>
                </a:solidFill>
                <a:latin typeface="Arial"/>
                <a:ea typeface="Arial"/>
                <a:cs typeface="Arial"/>
                <a:sym typeface="Arial"/>
              </a:rPr>
              <a:t> efímeros basados en ellos</a:t>
            </a:r>
            <a:endParaRPr sz="1100" b="0" i="0" u="none" strike="noStrike" cap="none" dirty="0">
              <a:solidFill>
                <a:srgbClr val="000000"/>
              </a:solidFill>
              <a:latin typeface="Arial"/>
              <a:ea typeface="Arial"/>
              <a:cs typeface="Arial"/>
              <a:sym typeface="Arial"/>
            </a:endParaRPr>
          </a:p>
          <a:p>
            <a:pPr marL="914400" marR="0" lvl="1"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Provee las claves a la aplicación para usuario diagnosticados, incluyendo los valores temporales</a:t>
            </a:r>
            <a:endParaRPr sz="1100" b="0" i="0" u="none" strike="noStrike" cap="none" dirty="0">
              <a:solidFill>
                <a:srgbClr val="000000"/>
              </a:solidFill>
              <a:latin typeface="Arial"/>
              <a:ea typeface="Arial"/>
              <a:cs typeface="Arial"/>
              <a:sym typeface="Arial"/>
            </a:endParaRPr>
          </a:p>
          <a:p>
            <a:pPr marL="914400" marR="0" lvl="1"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Acepta las claves de la app para la detección de exposición, incluyendo las fechas y los niveles de riesgo de transmisión</a:t>
            </a:r>
            <a:endParaRPr sz="1100" b="0" i="0" u="none" strike="noStrike" cap="none" dirty="0">
              <a:solidFill>
                <a:srgbClr val="000000"/>
              </a:solidFill>
              <a:latin typeface="Arial"/>
              <a:ea typeface="Arial"/>
              <a:cs typeface="Arial"/>
              <a:sym typeface="Arial"/>
            </a:endParaRPr>
          </a:p>
          <a:p>
            <a:pPr marL="914400" marR="0" lvl="1"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Almacena claves en el dispositivo</a:t>
            </a:r>
            <a:endParaRPr sz="1100" b="0" i="0" u="none" strike="noStrike" cap="none" dirty="0">
              <a:solidFill>
                <a:srgbClr val="000000"/>
              </a:solidFill>
              <a:latin typeface="Arial"/>
              <a:ea typeface="Arial"/>
              <a:cs typeface="Arial"/>
              <a:sym typeface="Arial"/>
            </a:endParaRPr>
          </a:p>
          <a:p>
            <a:pPr marL="457200" marR="0" lvl="0"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Gestiona el envío y escaneo Bluetooth:</a:t>
            </a:r>
            <a:endParaRPr sz="1100" b="0" i="0" u="none" strike="noStrike" cap="none" dirty="0">
              <a:solidFill>
                <a:srgbClr val="000000"/>
              </a:solidFill>
              <a:latin typeface="Arial"/>
              <a:ea typeface="Arial"/>
              <a:cs typeface="Arial"/>
              <a:sym typeface="Arial"/>
            </a:endParaRPr>
          </a:p>
          <a:p>
            <a:pPr marL="914400" marR="0" lvl="1"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Gestión el envío de claves</a:t>
            </a:r>
            <a:endParaRPr sz="1100" b="0" i="0" u="none" strike="noStrike" cap="none" dirty="0">
              <a:solidFill>
                <a:srgbClr val="000000"/>
              </a:solidFill>
              <a:latin typeface="Arial"/>
              <a:ea typeface="Arial"/>
              <a:cs typeface="Arial"/>
              <a:sym typeface="Arial"/>
            </a:endParaRPr>
          </a:p>
          <a:p>
            <a:pPr marL="914400" marR="0" lvl="1"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Escanea claves emitidas por otros dispositivos</a:t>
            </a:r>
            <a:endParaRPr sz="1100" b="0" i="0" u="none" strike="noStrike" cap="none" dirty="0">
              <a:solidFill>
                <a:srgbClr val="000000"/>
              </a:solidFill>
              <a:latin typeface="Arial"/>
              <a:ea typeface="Arial"/>
              <a:cs typeface="Arial"/>
              <a:sym typeface="Arial"/>
            </a:endParaRPr>
          </a:p>
          <a:p>
            <a:pPr marL="914400" marR="0" lvl="1"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Almacena las claves observadas en un almacenamiento en el dispositivo</a:t>
            </a:r>
            <a:endParaRPr sz="1100" b="0" i="0" u="none" strike="noStrike" cap="none" dirty="0">
              <a:solidFill>
                <a:srgbClr val="000000"/>
              </a:solidFill>
              <a:latin typeface="Arial"/>
              <a:ea typeface="Arial"/>
              <a:cs typeface="Arial"/>
              <a:sym typeface="Arial"/>
            </a:endParaRPr>
          </a:p>
          <a:p>
            <a:pPr marL="914400" marR="0" lvl="1"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Identifica cuando otro usuario en contacto ha sido un caso confirmado</a:t>
            </a:r>
            <a:endParaRPr sz="1100" b="0" i="0" u="none" strike="noStrike" cap="none" dirty="0">
              <a:solidFill>
                <a:srgbClr val="000000"/>
              </a:solidFill>
              <a:latin typeface="Arial"/>
              <a:ea typeface="Arial"/>
              <a:cs typeface="Arial"/>
              <a:sym typeface="Arial"/>
            </a:endParaRPr>
          </a:p>
          <a:p>
            <a:pPr marL="914400" marR="0" lvl="1"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Cálculo y provee el riesgo de exposición a la aplicación</a:t>
            </a:r>
            <a:endParaRPr sz="1100" b="0" i="0" u="none" strike="noStrike" cap="none" dirty="0">
              <a:solidFill>
                <a:srgbClr val="000000"/>
              </a:solidFill>
              <a:latin typeface="Arial"/>
              <a:ea typeface="Arial"/>
              <a:cs typeface="Arial"/>
              <a:sym typeface="Arial"/>
            </a:endParaRPr>
          </a:p>
          <a:p>
            <a:pPr marL="914400" marR="0" lvl="1"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Presenta las siguientes peticiones de permiso al usuario:</a:t>
            </a:r>
            <a:endParaRPr sz="1100" b="0" i="0" u="none" strike="noStrike" cap="none" dirty="0">
              <a:solidFill>
                <a:srgbClr val="000000"/>
              </a:solidFill>
              <a:latin typeface="Arial"/>
              <a:ea typeface="Arial"/>
              <a:cs typeface="Arial"/>
              <a:sym typeface="Arial"/>
            </a:endParaRPr>
          </a:p>
          <a:p>
            <a:pPr marL="1371600" marR="0" lvl="2"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Antes de empezar a escanear y enviar las claves</a:t>
            </a:r>
            <a:endParaRPr sz="1100" b="0" i="0" u="none" strike="noStrike" cap="none" dirty="0">
              <a:solidFill>
                <a:srgbClr val="000000"/>
              </a:solidFill>
              <a:latin typeface="Arial"/>
              <a:ea typeface="Arial"/>
              <a:cs typeface="Arial"/>
              <a:sym typeface="Arial"/>
            </a:endParaRPr>
          </a:p>
          <a:p>
            <a:pPr marL="1371600" marR="0" lvl="2"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Antes de proveer al servidor las claves al servidor central tras haber sido contagiado</a:t>
            </a:r>
            <a:endParaRPr sz="1100" b="0" i="0" u="none" strike="noStrike" cap="none" dirty="0">
              <a:solidFill>
                <a:srgbClr val="000000"/>
              </a:solidFill>
              <a:latin typeface="Arial"/>
              <a:ea typeface="Arial"/>
              <a:cs typeface="Arial"/>
              <a:sym typeface="Arial"/>
            </a:endParaRPr>
          </a:p>
        </p:txBody>
      </p:sp>
      <p:grpSp>
        <p:nvGrpSpPr>
          <p:cNvPr id="23" name="Google Shape;510;g8055afce9b_0_758"/>
          <p:cNvGrpSpPr/>
          <p:nvPr/>
        </p:nvGrpSpPr>
        <p:grpSpPr>
          <a:xfrm>
            <a:off x="35462" y="1904724"/>
            <a:ext cx="2144839" cy="2379536"/>
            <a:chOff x="4788125" y="2598892"/>
            <a:chExt cx="1905000" cy="1905000"/>
          </a:xfrm>
        </p:grpSpPr>
        <p:pic>
          <p:nvPicPr>
            <p:cNvPr id="24" name="Google Shape;511;g8055afce9b_0_758"/>
            <p:cNvPicPr preferRelativeResize="0"/>
            <p:nvPr/>
          </p:nvPicPr>
          <p:blipFill rotWithShape="1">
            <a:blip r:embed="rId3">
              <a:alphaModFix/>
            </a:blip>
            <a:srcRect/>
            <a:stretch/>
          </p:blipFill>
          <p:spPr>
            <a:xfrm>
              <a:off x="4788125" y="2598892"/>
              <a:ext cx="1905000" cy="1905000"/>
            </a:xfrm>
            <a:prstGeom prst="rect">
              <a:avLst/>
            </a:prstGeom>
            <a:noFill/>
            <a:ln>
              <a:noFill/>
            </a:ln>
          </p:spPr>
        </p:pic>
        <p:sp>
          <p:nvSpPr>
            <p:cNvPr id="25" name="Google Shape;512;g8055afce9b_0_758"/>
            <p:cNvSpPr txBox="1"/>
            <p:nvPr/>
          </p:nvSpPr>
          <p:spPr>
            <a:xfrm>
              <a:off x="5238875" y="3190350"/>
              <a:ext cx="1003500" cy="722100"/>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s-ES" sz="1400" b="0" i="0" u="none" strike="noStrike" cap="none">
                  <a:solidFill>
                    <a:srgbClr val="000000"/>
                  </a:solidFill>
                  <a:latin typeface="Arial"/>
                  <a:ea typeface="Arial"/>
                  <a:cs typeface="Arial"/>
                  <a:sym typeface="Arial"/>
                </a:rPr>
                <a:t>Covid-19 App</a:t>
              </a:r>
              <a:endParaRPr sz="1400" b="0" i="0" u="none" strike="noStrike" cap="none">
                <a:solidFill>
                  <a:srgbClr val="000000"/>
                </a:solidFill>
                <a:latin typeface="Arial"/>
                <a:ea typeface="Arial"/>
                <a:cs typeface="Arial"/>
                <a:sym typeface="Arial"/>
              </a:endParaRPr>
            </a:p>
          </p:txBody>
        </p:sp>
      </p:gr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185"/>
        <p:cNvGrpSpPr/>
        <p:nvPr/>
      </p:nvGrpSpPr>
      <p:grpSpPr>
        <a:xfrm>
          <a:off x="0" y="0"/>
          <a:ext cx="0" cy="0"/>
          <a:chOff x="0" y="0"/>
          <a:chExt cx="0" cy="0"/>
        </a:xfrm>
      </p:grpSpPr>
      <p:sp>
        <p:nvSpPr>
          <p:cNvPr id="1186" name="Google Shape;1186;g7826bb8c5e_1_85"/>
          <p:cNvSpPr txBox="1"/>
          <p:nvPr/>
        </p:nvSpPr>
        <p:spPr>
          <a:xfrm>
            <a:off x="3593006" y="649100"/>
            <a:ext cx="5352900" cy="3879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2400"/>
              <a:buFont typeface="Playfair Display"/>
              <a:buNone/>
            </a:pPr>
            <a:r>
              <a:rPr lang="es-ES" sz="2400" b="0" i="0" u="none" strike="noStrike" cap="none" dirty="0">
                <a:solidFill>
                  <a:schemeClr val="dk1"/>
                </a:solidFill>
                <a:latin typeface="Playfair Display"/>
                <a:ea typeface="Playfair Display"/>
                <a:cs typeface="Playfair Display"/>
                <a:sym typeface="Playfair Display"/>
              </a:rPr>
              <a:t>Funcionalidad técnica </a:t>
            </a:r>
            <a:r>
              <a:rPr lang="es-ES" sz="2400" b="0" i="0" u="none" strike="noStrike" cap="none" dirty="0" err="1">
                <a:solidFill>
                  <a:schemeClr val="dk1"/>
                </a:solidFill>
                <a:latin typeface="Playfair Display"/>
                <a:ea typeface="Playfair Display"/>
                <a:cs typeface="Playfair Display"/>
                <a:sym typeface="Playfair Display"/>
              </a:rPr>
              <a:t>Backend</a:t>
            </a:r>
            <a:endParaRPr sz="2400" b="0" i="0" u="none" strike="noStrike" cap="none" dirty="0">
              <a:solidFill>
                <a:schemeClr val="dk1"/>
              </a:solidFill>
              <a:latin typeface="Playfair Display"/>
              <a:ea typeface="Playfair Display"/>
              <a:cs typeface="Playfair Display"/>
              <a:sym typeface="Playfair Display"/>
            </a:endParaRPr>
          </a:p>
        </p:txBody>
      </p:sp>
      <p:sp>
        <p:nvSpPr>
          <p:cNvPr id="1188" name="Google Shape;1188;g7826bb8c5e_1_85"/>
          <p:cNvSpPr txBox="1">
            <a:spLocks noGrp="1"/>
          </p:cNvSpPr>
          <p:nvPr>
            <p:ph type="body" idx="1"/>
          </p:nvPr>
        </p:nvSpPr>
        <p:spPr>
          <a:xfrm>
            <a:off x="336000" y="128400"/>
            <a:ext cx="11519400" cy="251400"/>
          </a:xfrm>
          <a:prstGeom prst="rect">
            <a:avLst/>
          </a:prstGeom>
          <a:noFill/>
          <a:ln>
            <a:noFill/>
          </a:ln>
        </p:spPr>
        <p:txBody>
          <a:bodyPr spcFirstLastPara="1" wrap="square" lIns="0" tIns="45700" rIns="91425" bIns="45700" anchor="t" anchorCtr="0">
            <a:noAutofit/>
          </a:bodyPr>
          <a:lstStyle/>
          <a:p>
            <a:pPr marL="0" lvl="0" indent="0" algn="l" rtl="0">
              <a:lnSpc>
                <a:spcPct val="90000"/>
              </a:lnSpc>
              <a:spcBef>
                <a:spcPts val="0"/>
              </a:spcBef>
              <a:spcAft>
                <a:spcPts val="0"/>
              </a:spcAft>
              <a:buClr>
                <a:srgbClr val="1A3B47"/>
              </a:buClr>
              <a:buSzPts val="1400"/>
              <a:buNone/>
            </a:pPr>
            <a:r>
              <a:rPr lang="es-ES" sz="1400">
                <a:latin typeface="Playfair Display"/>
                <a:ea typeface="Playfair Display"/>
                <a:cs typeface="Playfair Display"/>
                <a:sym typeface="Playfair Display"/>
              </a:rPr>
              <a:t>Covid-19 app - Alcance y enfoque del trabajo propuesto</a:t>
            </a:r>
            <a:endParaRPr/>
          </a:p>
        </p:txBody>
      </p:sp>
      <p:grpSp>
        <p:nvGrpSpPr>
          <p:cNvPr id="1191" name="Google Shape;1191;g7826bb8c5e_1_85"/>
          <p:cNvGrpSpPr/>
          <p:nvPr/>
        </p:nvGrpSpPr>
        <p:grpSpPr>
          <a:xfrm>
            <a:off x="10992330" y="88959"/>
            <a:ext cx="1104735" cy="536493"/>
            <a:chOff x="508100" y="1640544"/>
            <a:chExt cx="11238400" cy="4620956"/>
          </a:xfrm>
        </p:grpSpPr>
        <p:grpSp>
          <p:nvGrpSpPr>
            <p:cNvPr id="1192" name="Google Shape;1192;g7826bb8c5e_1_85"/>
            <p:cNvGrpSpPr/>
            <p:nvPr/>
          </p:nvGrpSpPr>
          <p:grpSpPr>
            <a:xfrm>
              <a:off x="508106" y="1640544"/>
              <a:ext cx="11232175" cy="21551"/>
              <a:chOff x="431923" y="1640499"/>
              <a:chExt cx="9605075" cy="31800"/>
            </a:xfrm>
          </p:grpSpPr>
          <p:cxnSp>
            <p:nvCxnSpPr>
              <p:cNvPr id="1193" name="Google Shape;1193;g7826bb8c5e_1_85"/>
              <p:cNvCxnSpPr/>
              <p:nvPr/>
            </p:nvCxnSpPr>
            <p:spPr>
              <a:xfrm>
                <a:off x="431923" y="1640499"/>
                <a:ext cx="4651200" cy="15900"/>
              </a:xfrm>
              <a:prstGeom prst="straightConnector1">
                <a:avLst/>
              </a:prstGeom>
              <a:noFill/>
              <a:ln w="76200" cap="flat" cmpd="sng">
                <a:solidFill>
                  <a:schemeClr val="accent4"/>
                </a:solidFill>
                <a:prstDash val="solid"/>
                <a:round/>
                <a:headEnd type="none" w="sm" len="sm"/>
                <a:tailEnd type="none" w="sm" len="sm"/>
              </a:ln>
            </p:spPr>
          </p:cxnSp>
          <p:cxnSp>
            <p:nvCxnSpPr>
              <p:cNvPr id="1194" name="Google Shape;1194;g7826bb8c5e_1_85"/>
              <p:cNvCxnSpPr/>
              <p:nvPr/>
            </p:nvCxnSpPr>
            <p:spPr>
              <a:xfrm>
                <a:off x="5385798" y="1656399"/>
                <a:ext cx="4651200" cy="15900"/>
              </a:xfrm>
              <a:prstGeom prst="straightConnector1">
                <a:avLst/>
              </a:prstGeom>
              <a:noFill/>
              <a:ln w="76200" cap="flat" cmpd="sng">
                <a:solidFill>
                  <a:srgbClr val="CCCCCC"/>
                </a:solidFill>
                <a:prstDash val="solid"/>
                <a:round/>
                <a:headEnd type="none" w="sm" len="sm"/>
                <a:tailEnd type="none" w="sm" len="sm"/>
              </a:ln>
            </p:spPr>
          </p:cxnSp>
        </p:grpSp>
        <p:sp>
          <p:nvSpPr>
            <p:cNvPr id="1195" name="Google Shape;1195;g7826bb8c5e_1_85"/>
            <p:cNvSpPr/>
            <p:nvPr/>
          </p:nvSpPr>
          <p:spPr>
            <a:xfrm>
              <a:off x="508100" y="2035875"/>
              <a:ext cx="1390500" cy="4225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196" name="Google Shape;1196;g7826bb8c5e_1_85"/>
            <p:cNvSpPr/>
            <p:nvPr/>
          </p:nvSpPr>
          <p:spPr>
            <a:xfrm>
              <a:off x="2132113" y="5255000"/>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197" name="Google Shape;1197;g7826bb8c5e_1_85"/>
            <p:cNvSpPr/>
            <p:nvPr/>
          </p:nvSpPr>
          <p:spPr>
            <a:xfrm>
              <a:off x="2132113" y="3108917"/>
              <a:ext cx="3766200" cy="1006500"/>
            </a:xfrm>
            <a:prstGeom prst="rect">
              <a:avLst/>
            </a:prstGeom>
            <a:solidFill>
              <a:srgbClr val="E3F3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198" name="Google Shape;1198;g7826bb8c5e_1_85"/>
            <p:cNvSpPr/>
            <p:nvPr/>
          </p:nvSpPr>
          <p:spPr>
            <a:xfrm>
              <a:off x="2132113" y="4181958"/>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199" name="Google Shape;1199;g7826bb8c5e_1_85"/>
            <p:cNvSpPr/>
            <p:nvPr/>
          </p:nvSpPr>
          <p:spPr>
            <a:xfrm>
              <a:off x="6343925" y="2035875"/>
              <a:ext cx="5396400" cy="13503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200" name="Google Shape;1200;g7826bb8c5e_1_85"/>
            <p:cNvSpPr/>
            <p:nvPr/>
          </p:nvSpPr>
          <p:spPr>
            <a:xfrm>
              <a:off x="6350100" y="3481700"/>
              <a:ext cx="5396400" cy="13521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201" name="Google Shape;1201;g7826bb8c5e_1_85"/>
            <p:cNvSpPr/>
            <p:nvPr/>
          </p:nvSpPr>
          <p:spPr>
            <a:xfrm>
              <a:off x="6343925" y="4945700"/>
              <a:ext cx="5396400" cy="13158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202" name="Google Shape;1202;g7826bb8c5e_1_85"/>
            <p:cNvSpPr/>
            <p:nvPr/>
          </p:nvSpPr>
          <p:spPr>
            <a:xfrm>
              <a:off x="2132113" y="2035875"/>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grpSp>
      <p:sp>
        <p:nvSpPr>
          <p:cNvPr id="1203" name="Google Shape;1203;g7826bb8c5e_1_85"/>
          <p:cNvSpPr txBox="1"/>
          <p:nvPr/>
        </p:nvSpPr>
        <p:spPr>
          <a:xfrm>
            <a:off x="336000" y="649100"/>
            <a:ext cx="3389700" cy="3624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2400"/>
              <a:buFont typeface="Playfair Display"/>
              <a:buNone/>
            </a:pPr>
            <a:r>
              <a:rPr lang="es-ES" sz="2400" b="1" i="0" u="none" strike="noStrike" cap="none">
                <a:solidFill>
                  <a:schemeClr val="dk1"/>
                </a:solidFill>
                <a:latin typeface="Playfair Display"/>
                <a:ea typeface="Playfair Display"/>
                <a:cs typeface="Playfair Display"/>
                <a:sym typeface="Playfair Display"/>
              </a:rPr>
              <a:t>Pre-piloto: Desarrollo</a:t>
            </a:r>
            <a:r>
              <a:rPr lang="es-ES" sz="2400" b="0" i="0" u="none" strike="noStrike" cap="none">
                <a:solidFill>
                  <a:schemeClr val="dk1"/>
                </a:solidFill>
                <a:latin typeface="Playfair Display"/>
                <a:ea typeface="Playfair Display"/>
                <a:cs typeface="Playfair Display"/>
                <a:sym typeface="Playfair Display"/>
              </a:rPr>
              <a:t>.</a:t>
            </a:r>
            <a:endParaRPr sz="2400" b="0" i="0" u="none" strike="noStrike" cap="none">
              <a:solidFill>
                <a:schemeClr val="dk1"/>
              </a:solidFill>
              <a:latin typeface="Playfair Display"/>
              <a:ea typeface="Playfair Display"/>
              <a:cs typeface="Playfair Display"/>
              <a:sym typeface="Playfair Display"/>
            </a:endParaRPr>
          </a:p>
        </p:txBody>
      </p:sp>
      <p:sp>
        <p:nvSpPr>
          <p:cNvPr id="20" name="Google Shape;519;g8055afce9b_0_767"/>
          <p:cNvSpPr txBox="1"/>
          <p:nvPr/>
        </p:nvSpPr>
        <p:spPr>
          <a:xfrm>
            <a:off x="1888959" y="1161969"/>
            <a:ext cx="9966300" cy="51501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800"/>
              <a:buFont typeface="Arial"/>
              <a:buNone/>
            </a:pPr>
            <a:r>
              <a:rPr lang="es-ES" sz="1800" b="0" i="0" u="none" strike="noStrike" cap="none" dirty="0">
                <a:solidFill>
                  <a:srgbClr val="000000"/>
                </a:solidFill>
                <a:latin typeface="Playfair Display"/>
                <a:ea typeface="Playfair Display"/>
                <a:cs typeface="Playfair Display"/>
                <a:sym typeface="Playfair Display"/>
              </a:rPr>
              <a:t>Servicio central de Gestión de balizas</a:t>
            </a:r>
            <a:endParaRPr dirty="0"/>
          </a:p>
          <a:p>
            <a:pPr marL="0" marR="0" lvl="0" indent="0" algn="l" rtl="0">
              <a:lnSpc>
                <a:spcPct val="100000"/>
              </a:lnSpc>
              <a:spcBef>
                <a:spcPts val="0"/>
              </a:spcBef>
              <a:spcAft>
                <a:spcPts val="0"/>
              </a:spcAft>
              <a:buClr>
                <a:srgbClr val="000000"/>
              </a:buClr>
              <a:buSzPts val="1800"/>
              <a:buFont typeface="Arial"/>
              <a:buNone/>
            </a:pPr>
            <a:endParaRPr sz="13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800"/>
              <a:buFont typeface="Arial"/>
              <a:buNone/>
            </a:pPr>
            <a:r>
              <a:rPr lang="es-ES" sz="1300" b="0" i="0" u="none" strike="noStrike" cap="none" dirty="0">
                <a:solidFill>
                  <a:srgbClr val="000000"/>
                </a:solidFill>
                <a:latin typeface="Arial"/>
                <a:ea typeface="Arial"/>
                <a:cs typeface="Arial"/>
                <a:sym typeface="Arial"/>
              </a:rPr>
              <a:t>La aplicación debe comunicarse con un servidor externo que provea la siguiente funcionalidad:</a:t>
            </a:r>
            <a:endParaRPr sz="1300" b="0" i="0" u="none" strike="noStrike" cap="none" dirty="0">
              <a:solidFill>
                <a:srgbClr val="000000"/>
              </a:solidFill>
              <a:latin typeface="Arial"/>
              <a:ea typeface="Arial"/>
              <a:cs typeface="Arial"/>
              <a:sym typeface="Arial"/>
            </a:endParaRPr>
          </a:p>
          <a:p>
            <a:pPr marL="914400" marR="0" lvl="0" indent="-311150" algn="l" rtl="0">
              <a:lnSpc>
                <a:spcPct val="100000"/>
              </a:lnSpc>
              <a:spcBef>
                <a:spcPts val="1000"/>
              </a:spcBef>
              <a:spcAft>
                <a:spcPts val="0"/>
              </a:spcAft>
              <a:buClr>
                <a:srgbClr val="000000"/>
              </a:buClr>
              <a:buSzPts val="1300"/>
              <a:buFont typeface="Arial"/>
              <a:buChar char="●"/>
            </a:pPr>
            <a:r>
              <a:rPr lang="es-ES" sz="1300" b="0" i="0" u="none" strike="noStrike" cap="none" dirty="0">
                <a:solidFill>
                  <a:srgbClr val="000000"/>
                </a:solidFill>
                <a:latin typeface="Arial"/>
                <a:ea typeface="Arial"/>
                <a:cs typeface="Arial"/>
                <a:sym typeface="Arial"/>
              </a:rPr>
              <a:t>Recolectar las balizas de los usuarios que hayan sido diagnosticados de COVID-19</a:t>
            </a:r>
            <a:endParaRPr sz="1300" b="0" i="0" u="none" strike="noStrike" cap="none" dirty="0">
              <a:solidFill>
                <a:srgbClr val="000000"/>
              </a:solidFill>
              <a:latin typeface="Arial"/>
              <a:ea typeface="Arial"/>
              <a:cs typeface="Arial"/>
              <a:sym typeface="Arial"/>
            </a:endParaRPr>
          </a:p>
          <a:p>
            <a:pPr marL="914400" marR="0" lvl="0" indent="-311150" algn="l" rtl="0">
              <a:lnSpc>
                <a:spcPct val="100000"/>
              </a:lnSpc>
              <a:spcBef>
                <a:spcPts val="0"/>
              </a:spcBef>
              <a:spcAft>
                <a:spcPts val="0"/>
              </a:spcAft>
              <a:buClr>
                <a:srgbClr val="000000"/>
              </a:buClr>
              <a:buSzPts val="1300"/>
              <a:buFont typeface="Arial"/>
              <a:buChar char="●"/>
            </a:pPr>
            <a:r>
              <a:rPr lang="es-ES" sz="1300" b="0" i="0" u="none" strike="noStrike" cap="none" dirty="0">
                <a:solidFill>
                  <a:srgbClr val="000000"/>
                </a:solidFill>
                <a:latin typeface="Arial"/>
                <a:ea typeface="Arial"/>
                <a:cs typeface="Arial"/>
                <a:sym typeface="Arial"/>
              </a:rPr>
              <a:t>Distribuir las balizas de los casos confirmados hacia los dispositivos</a:t>
            </a:r>
            <a:endParaRPr sz="1300" b="0" i="0" u="none" strike="noStrike" cap="none" dirty="0">
              <a:solidFill>
                <a:srgbClr val="000000"/>
              </a:solidFill>
              <a:latin typeface="Arial"/>
              <a:ea typeface="Arial"/>
              <a:cs typeface="Arial"/>
              <a:sym typeface="Arial"/>
            </a:endParaRPr>
          </a:p>
          <a:p>
            <a:pPr marL="914400" marR="0" lvl="0" indent="-311150" algn="l" rtl="0">
              <a:lnSpc>
                <a:spcPct val="100000"/>
              </a:lnSpc>
              <a:spcBef>
                <a:spcPts val="0"/>
              </a:spcBef>
              <a:spcAft>
                <a:spcPts val="0"/>
              </a:spcAft>
              <a:buClr>
                <a:srgbClr val="000000"/>
              </a:buClr>
              <a:buSzPts val="1300"/>
              <a:buFont typeface="Arial"/>
              <a:buChar char="●"/>
            </a:pPr>
            <a:r>
              <a:rPr lang="es-ES" sz="1300" b="0" i="0" u="none" strike="noStrike" cap="none" dirty="0">
                <a:solidFill>
                  <a:srgbClr val="000000"/>
                </a:solidFill>
                <a:latin typeface="Arial"/>
                <a:ea typeface="Arial"/>
                <a:cs typeface="Arial"/>
                <a:sym typeface="Arial"/>
              </a:rPr>
              <a:t>Integración servicio autorización positivos</a:t>
            </a:r>
            <a:endParaRPr sz="1300" b="0" i="0" u="none" strike="noStrike" cap="none" dirty="0">
              <a:solidFill>
                <a:srgbClr val="000000"/>
              </a:solidFill>
              <a:latin typeface="Arial"/>
              <a:ea typeface="Arial"/>
              <a:cs typeface="Arial"/>
              <a:sym typeface="Arial"/>
            </a:endParaRPr>
          </a:p>
          <a:p>
            <a:pPr marL="0" marR="0" lvl="0" indent="0" algn="l" rtl="0">
              <a:lnSpc>
                <a:spcPct val="100000"/>
              </a:lnSpc>
              <a:spcBef>
                <a:spcPts val="1000"/>
              </a:spcBef>
              <a:spcAft>
                <a:spcPts val="0"/>
              </a:spcAft>
              <a:buClr>
                <a:srgbClr val="000000"/>
              </a:buClr>
              <a:buSzPts val="1800"/>
              <a:buFont typeface="Arial"/>
              <a:buNone/>
            </a:pPr>
            <a:r>
              <a:rPr lang="es-ES" sz="1800" b="0" i="0" u="none" strike="noStrike" cap="none" dirty="0">
                <a:solidFill>
                  <a:srgbClr val="000000"/>
                </a:solidFill>
                <a:latin typeface="Playfair Display"/>
                <a:ea typeface="Playfair Display"/>
                <a:cs typeface="Playfair Display"/>
                <a:sym typeface="Playfair Display"/>
              </a:rPr>
              <a:t>Servicio central de Validación de positivos - Proporcionado por el Estado </a:t>
            </a:r>
            <a:endParaRPr dirty="0"/>
          </a:p>
          <a:p>
            <a:pPr marL="0" marR="0" lvl="0" indent="0" algn="l" rtl="0">
              <a:lnSpc>
                <a:spcPct val="100000"/>
              </a:lnSpc>
              <a:spcBef>
                <a:spcPts val="1000"/>
              </a:spcBef>
              <a:spcAft>
                <a:spcPts val="0"/>
              </a:spcAft>
              <a:buClr>
                <a:srgbClr val="000000"/>
              </a:buClr>
              <a:buSzPts val="1800"/>
              <a:buFont typeface="Arial"/>
              <a:buNone/>
            </a:pPr>
            <a:r>
              <a:rPr lang="es-ES" sz="1300" b="0" i="0" u="none" strike="noStrike" cap="none" dirty="0">
                <a:solidFill>
                  <a:srgbClr val="000000"/>
                </a:solidFill>
                <a:latin typeface="Arial"/>
                <a:ea typeface="Arial"/>
                <a:cs typeface="Arial"/>
                <a:sym typeface="Arial"/>
              </a:rPr>
              <a:t>La aplicación debe comunicarse con un servidor externo que te provea el código de autorización que confirme el positivo y pueda autorizar a subir las balizas al servicio en función del siguiente ciclo propuesto:</a:t>
            </a:r>
            <a:endParaRPr sz="1300" b="0" i="0" u="none" strike="noStrike" cap="none" dirty="0">
              <a:solidFill>
                <a:srgbClr val="000000"/>
              </a:solidFill>
              <a:latin typeface="Arial"/>
              <a:ea typeface="Arial"/>
              <a:cs typeface="Arial"/>
              <a:sym typeface="Arial"/>
            </a:endParaRPr>
          </a:p>
          <a:p>
            <a:pPr marL="914400" marR="0" lvl="0" indent="-311150" algn="l" rtl="0">
              <a:lnSpc>
                <a:spcPct val="100000"/>
              </a:lnSpc>
              <a:spcBef>
                <a:spcPts val="1000"/>
              </a:spcBef>
              <a:spcAft>
                <a:spcPts val="0"/>
              </a:spcAft>
              <a:buClr>
                <a:srgbClr val="000000"/>
              </a:buClr>
              <a:buSzPts val="1300"/>
              <a:buFont typeface="Arial"/>
              <a:buChar char="●"/>
            </a:pPr>
            <a:r>
              <a:rPr lang="es-ES" sz="1300" b="0" i="0" u="none" strike="noStrike" cap="none" dirty="0">
                <a:solidFill>
                  <a:srgbClr val="000000"/>
                </a:solidFill>
                <a:latin typeface="Arial"/>
                <a:ea typeface="Arial"/>
                <a:cs typeface="Arial"/>
                <a:sym typeface="Arial"/>
              </a:rPr>
              <a:t>Sistema médico solicita </a:t>
            </a:r>
            <a:r>
              <a:rPr lang="es-ES" sz="1300" b="0" i="0" u="none" strike="noStrike" cap="none" dirty="0" err="1">
                <a:solidFill>
                  <a:srgbClr val="000000"/>
                </a:solidFill>
                <a:latin typeface="Arial"/>
                <a:ea typeface="Arial"/>
                <a:cs typeface="Arial"/>
                <a:sym typeface="Arial"/>
              </a:rPr>
              <a:t>token</a:t>
            </a:r>
            <a:r>
              <a:rPr lang="es-ES" sz="1300" b="0" i="0" u="none" strike="noStrike" cap="none" dirty="0">
                <a:solidFill>
                  <a:srgbClr val="000000"/>
                </a:solidFill>
                <a:latin typeface="Arial"/>
                <a:ea typeface="Arial"/>
                <a:cs typeface="Arial"/>
                <a:sym typeface="Arial"/>
              </a:rPr>
              <a:t>/QR autenticación al </a:t>
            </a:r>
            <a:r>
              <a:rPr lang="es-ES" sz="1300" b="0" i="0" u="none" strike="noStrike" cap="none" dirty="0" err="1">
                <a:solidFill>
                  <a:srgbClr val="000000"/>
                </a:solidFill>
                <a:latin typeface="Arial"/>
                <a:ea typeface="Arial"/>
                <a:cs typeface="Arial"/>
                <a:sym typeface="Arial"/>
              </a:rPr>
              <a:t>backend</a:t>
            </a:r>
            <a:r>
              <a:rPr lang="es-ES" sz="1300" b="0" i="0" u="none" strike="noStrike" cap="none" dirty="0">
                <a:solidFill>
                  <a:srgbClr val="000000"/>
                </a:solidFill>
                <a:latin typeface="Arial"/>
                <a:ea typeface="Arial"/>
                <a:cs typeface="Arial"/>
                <a:sym typeface="Arial"/>
              </a:rPr>
              <a:t> para confirmar positivo COVID-19</a:t>
            </a:r>
            <a:endParaRPr sz="1300" b="0" i="0" u="none" strike="noStrike" cap="none" dirty="0">
              <a:solidFill>
                <a:srgbClr val="000000"/>
              </a:solidFill>
              <a:latin typeface="Arial"/>
              <a:ea typeface="Arial"/>
              <a:cs typeface="Arial"/>
              <a:sym typeface="Arial"/>
            </a:endParaRPr>
          </a:p>
          <a:p>
            <a:pPr marL="914400" marR="0" lvl="0" indent="-311150" algn="l" rtl="0">
              <a:lnSpc>
                <a:spcPct val="100000"/>
              </a:lnSpc>
              <a:spcBef>
                <a:spcPts val="0"/>
              </a:spcBef>
              <a:spcAft>
                <a:spcPts val="0"/>
              </a:spcAft>
              <a:buClr>
                <a:srgbClr val="000000"/>
              </a:buClr>
              <a:buSzPts val="1300"/>
              <a:buFont typeface="Arial"/>
              <a:buChar char="●"/>
            </a:pPr>
            <a:r>
              <a:rPr lang="es-ES" sz="1300" b="0" i="0" u="none" strike="noStrike" cap="none" dirty="0">
                <a:solidFill>
                  <a:srgbClr val="000000"/>
                </a:solidFill>
                <a:latin typeface="Arial"/>
                <a:ea typeface="Arial"/>
                <a:cs typeface="Arial"/>
                <a:sym typeface="Arial"/>
              </a:rPr>
              <a:t>Paciente recibe </a:t>
            </a:r>
            <a:r>
              <a:rPr lang="es-ES" sz="1300" b="0" i="0" u="none" strike="noStrike" cap="none" dirty="0" err="1">
                <a:solidFill>
                  <a:srgbClr val="000000"/>
                </a:solidFill>
                <a:latin typeface="Arial"/>
                <a:ea typeface="Arial"/>
                <a:cs typeface="Arial"/>
                <a:sym typeface="Arial"/>
              </a:rPr>
              <a:t>token</a:t>
            </a:r>
            <a:r>
              <a:rPr lang="es-ES" sz="1300" b="0" i="0" u="none" strike="noStrike" cap="none" dirty="0">
                <a:solidFill>
                  <a:srgbClr val="000000"/>
                </a:solidFill>
                <a:latin typeface="Arial"/>
                <a:ea typeface="Arial"/>
                <a:cs typeface="Arial"/>
                <a:sym typeface="Arial"/>
              </a:rPr>
              <a:t>/QR autenticación para confirmar el positivo COVID-19</a:t>
            </a:r>
            <a:endParaRPr sz="1300" b="0" i="0" u="none" strike="noStrike" cap="none" dirty="0">
              <a:solidFill>
                <a:srgbClr val="000000"/>
              </a:solidFill>
              <a:latin typeface="Arial"/>
              <a:ea typeface="Arial"/>
              <a:cs typeface="Arial"/>
              <a:sym typeface="Arial"/>
            </a:endParaRPr>
          </a:p>
          <a:p>
            <a:pPr marL="914400" marR="0" lvl="0" indent="-311150" algn="l" rtl="0">
              <a:lnSpc>
                <a:spcPct val="100000"/>
              </a:lnSpc>
              <a:spcBef>
                <a:spcPts val="0"/>
              </a:spcBef>
              <a:spcAft>
                <a:spcPts val="0"/>
              </a:spcAft>
              <a:buClr>
                <a:srgbClr val="000000"/>
              </a:buClr>
              <a:buSzPts val="1300"/>
              <a:buFont typeface="Arial"/>
              <a:buChar char="●"/>
            </a:pPr>
            <a:r>
              <a:rPr lang="es-ES" sz="1300" b="0" i="0" u="none" strike="noStrike" cap="none" dirty="0">
                <a:solidFill>
                  <a:srgbClr val="000000"/>
                </a:solidFill>
                <a:latin typeface="Arial"/>
                <a:ea typeface="Arial"/>
                <a:cs typeface="Arial"/>
                <a:sym typeface="Arial"/>
              </a:rPr>
              <a:t>Paciente envía el </a:t>
            </a:r>
            <a:r>
              <a:rPr lang="es-ES" sz="1300" b="0" i="0" u="none" strike="noStrike" cap="none" dirty="0" err="1">
                <a:solidFill>
                  <a:srgbClr val="000000"/>
                </a:solidFill>
                <a:latin typeface="Arial"/>
                <a:ea typeface="Arial"/>
                <a:cs typeface="Arial"/>
                <a:sym typeface="Arial"/>
              </a:rPr>
              <a:t>token</a:t>
            </a:r>
            <a:r>
              <a:rPr lang="es-ES" sz="1300" b="0" i="0" u="none" strike="noStrike" cap="none" dirty="0">
                <a:solidFill>
                  <a:srgbClr val="000000"/>
                </a:solidFill>
                <a:latin typeface="Arial"/>
                <a:ea typeface="Arial"/>
                <a:cs typeface="Arial"/>
                <a:sym typeface="Arial"/>
              </a:rPr>
              <a:t>/QR autorizado al </a:t>
            </a:r>
            <a:r>
              <a:rPr lang="es-ES" sz="1300" b="0" i="0" u="none" strike="noStrike" cap="none" dirty="0" err="1">
                <a:solidFill>
                  <a:srgbClr val="000000"/>
                </a:solidFill>
                <a:latin typeface="Arial"/>
                <a:ea typeface="Arial"/>
                <a:cs typeface="Arial"/>
                <a:sym typeface="Arial"/>
              </a:rPr>
              <a:t>backend</a:t>
            </a:r>
            <a:r>
              <a:rPr lang="es-ES" sz="1300" b="0" i="0" u="none" strike="noStrike" cap="none" dirty="0">
                <a:solidFill>
                  <a:srgbClr val="000000"/>
                </a:solidFill>
                <a:latin typeface="Arial"/>
                <a:ea typeface="Arial"/>
                <a:cs typeface="Arial"/>
                <a:sym typeface="Arial"/>
              </a:rPr>
              <a:t> para subir su histórico de contactos</a:t>
            </a:r>
            <a:endParaRPr sz="1300" b="0" i="0" u="none" strike="noStrike" cap="none" dirty="0">
              <a:solidFill>
                <a:srgbClr val="000000"/>
              </a:solidFill>
              <a:latin typeface="Arial"/>
              <a:ea typeface="Arial"/>
              <a:cs typeface="Arial"/>
              <a:sym typeface="Arial"/>
            </a:endParaRPr>
          </a:p>
          <a:p>
            <a:pPr marL="914400" marR="0" lvl="0" indent="-311150" algn="l" rtl="0">
              <a:lnSpc>
                <a:spcPct val="100000"/>
              </a:lnSpc>
              <a:spcBef>
                <a:spcPts val="0"/>
              </a:spcBef>
              <a:spcAft>
                <a:spcPts val="0"/>
              </a:spcAft>
              <a:buClr>
                <a:srgbClr val="000000"/>
              </a:buClr>
              <a:buSzPts val="1300"/>
              <a:buFont typeface="Arial"/>
              <a:buChar char="●"/>
            </a:pPr>
            <a:r>
              <a:rPr lang="es-ES" sz="1300" b="0" i="0" u="none" strike="noStrike" cap="none" dirty="0">
                <a:solidFill>
                  <a:srgbClr val="000000"/>
                </a:solidFill>
                <a:latin typeface="Arial"/>
                <a:ea typeface="Arial"/>
                <a:cs typeface="Arial"/>
                <a:sym typeface="Arial"/>
              </a:rPr>
              <a:t>Pendiente por definir por parte Gobierno 	</a:t>
            </a:r>
            <a:endParaRPr sz="1300" b="0" i="0" u="none" strike="noStrike" cap="none" dirty="0">
              <a:solidFill>
                <a:srgbClr val="000000"/>
              </a:solidFill>
              <a:latin typeface="Arial"/>
              <a:ea typeface="Arial"/>
              <a:cs typeface="Arial"/>
              <a:sym typeface="Arial"/>
            </a:endParaRPr>
          </a:p>
          <a:p>
            <a:pPr marL="0" marR="0" lvl="0" indent="0" algn="l" rtl="0">
              <a:lnSpc>
                <a:spcPct val="100000"/>
              </a:lnSpc>
              <a:spcBef>
                <a:spcPts val="1000"/>
              </a:spcBef>
              <a:spcAft>
                <a:spcPts val="0"/>
              </a:spcAft>
              <a:buNone/>
            </a:pPr>
            <a:r>
              <a:rPr lang="es-ES" sz="1300" b="0" i="0" u="none" strike="noStrike" cap="none" dirty="0">
                <a:solidFill>
                  <a:schemeClr val="dk1"/>
                </a:solidFill>
                <a:latin typeface="Arial"/>
                <a:ea typeface="Arial"/>
                <a:cs typeface="Arial"/>
                <a:sym typeface="Arial"/>
              </a:rPr>
              <a:t>Como no se dispone de servicio de la autoridad sanitaria en el alcance inicial se simulará la validación del positivo que desencadene el proceso de </a:t>
            </a:r>
            <a:r>
              <a:rPr lang="es-ES" sz="1300" b="0" i="0" u="none" strike="noStrike" cap="none" dirty="0" err="1">
                <a:solidFill>
                  <a:schemeClr val="dk1"/>
                </a:solidFill>
                <a:latin typeface="Arial"/>
                <a:ea typeface="Arial"/>
                <a:cs typeface="Arial"/>
                <a:sym typeface="Arial"/>
              </a:rPr>
              <a:t>tracing</a:t>
            </a:r>
            <a:r>
              <a:rPr lang="es-ES" sz="1300" b="0" i="0" u="none" strike="noStrike" cap="none" dirty="0">
                <a:solidFill>
                  <a:schemeClr val="dk1"/>
                </a:solidFill>
                <a:latin typeface="Arial"/>
                <a:ea typeface="Arial"/>
                <a:cs typeface="Arial"/>
                <a:sym typeface="Arial"/>
              </a:rPr>
              <a:t> para que se pueda probar su funcionamiento.</a:t>
            </a:r>
            <a:endParaRPr dirty="0"/>
          </a:p>
          <a:p>
            <a:pPr marL="0" marR="0" lvl="0" indent="0" algn="l" rtl="0">
              <a:lnSpc>
                <a:spcPct val="100000"/>
              </a:lnSpc>
              <a:spcBef>
                <a:spcPts val="1000"/>
              </a:spcBef>
              <a:spcAft>
                <a:spcPts val="0"/>
              </a:spcAft>
              <a:buClr>
                <a:srgbClr val="000000"/>
              </a:buClr>
              <a:buSzPts val="1800"/>
              <a:buFont typeface="Arial"/>
              <a:buNone/>
            </a:pPr>
            <a:r>
              <a:rPr lang="es-ES" sz="1800" b="0" i="0" u="none" strike="noStrike" cap="none" dirty="0">
                <a:solidFill>
                  <a:srgbClr val="000000"/>
                </a:solidFill>
                <a:latin typeface="Playfair Display"/>
                <a:ea typeface="Playfair Display"/>
                <a:cs typeface="Playfair Display"/>
                <a:sym typeface="Playfair Display"/>
              </a:rPr>
              <a:t>Integración con sistemas Terceros - Proporcionado por el Estado</a:t>
            </a:r>
            <a:endParaRPr sz="1300" b="0" i="0" u="none" strike="noStrike" cap="none" dirty="0">
              <a:solidFill>
                <a:srgbClr val="000000"/>
              </a:solidFill>
              <a:latin typeface="Arial"/>
              <a:ea typeface="Arial"/>
              <a:cs typeface="Arial"/>
              <a:sym typeface="Arial"/>
            </a:endParaRPr>
          </a:p>
          <a:p>
            <a:pPr marL="0" marR="0" lvl="0" indent="0" algn="l" rtl="0">
              <a:lnSpc>
                <a:spcPct val="100000"/>
              </a:lnSpc>
              <a:spcBef>
                <a:spcPts val="1000"/>
              </a:spcBef>
              <a:spcAft>
                <a:spcPts val="0"/>
              </a:spcAft>
              <a:buClr>
                <a:srgbClr val="000000"/>
              </a:buClr>
              <a:buSzPts val="1800"/>
              <a:buFont typeface="Arial"/>
              <a:buNone/>
            </a:pPr>
            <a:r>
              <a:rPr lang="es-ES" sz="1300" b="0" i="0" u="none" strike="noStrike" cap="none" dirty="0">
                <a:solidFill>
                  <a:srgbClr val="000000"/>
                </a:solidFill>
                <a:latin typeface="Arial"/>
                <a:ea typeface="Arial"/>
                <a:cs typeface="Arial"/>
                <a:sym typeface="Arial"/>
              </a:rPr>
              <a:t>Interoperabilidad con </a:t>
            </a:r>
            <a:r>
              <a:rPr lang="es-ES" sz="1300" b="1" i="0" u="none" strike="noStrike" cap="none" dirty="0" err="1">
                <a:solidFill>
                  <a:srgbClr val="000000"/>
                </a:solidFill>
                <a:latin typeface="Arial"/>
                <a:ea typeface="Arial"/>
                <a:cs typeface="Arial"/>
                <a:sym typeface="Arial"/>
              </a:rPr>
              <a:t>backends</a:t>
            </a:r>
            <a:r>
              <a:rPr lang="es-ES" sz="1300" b="1" i="0" u="none" strike="noStrike" cap="none" dirty="0">
                <a:solidFill>
                  <a:srgbClr val="000000"/>
                </a:solidFill>
                <a:latin typeface="Arial"/>
                <a:ea typeface="Arial"/>
                <a:cs typeface="Arial"/>
                <a:sym typeface="Arial"/>
              </a:rPr>
              <a:t> de otros Estados </a:t>
            </a:r>
            <a:r>
              <a:rPr lang="es-ES" sz="1300" b="0" i="0" u="none" strike="noStrike" cap="none" dirty="0">
                <a:solidFill>
                  <a:srgbClr val="000000"/>
                </a:solidFill>
                <a:latin typeface="Arial"/>
                <a:ea typeface="Arial"/>
                <a:cs typeface="Arial"/>
                <a:sym typeface="Arial"/>
              </a:rPr>
              <a:t>para asegurar funcionalidad </a:t>
            </a:r>
            <a:r>
              <a:rPr lang="es-ES" sz="1300" b="0" i="0" u="none" strike="noStrike" cap="none" dirty="0" err="1">
                <a:solidFill>
                  <a:srgbClr val="000000"/>
                </a:solidFill>
                <a:latin typeface="Arial"/>
                <a:ea typeface="Arial"/>
                <a:cs typeface="Arial"/>
                <a:sym typeface="Arial"/>
              </a:rPr>
              <a:t>cross</a:t>
            </a:r>
            <a:r>
              <a:rPr lang="es-ES" sz="1300" b="0" i="0" u="none" strike="noStrike" cap="none" dirty="0">
                <a:solidFill>
                  <a:srgbClr val="000000"/>
                </a:solidFill>
                <a:latin typeface="Arial"/>
                <a:ea typeface="Arial"/>
                <a:cs typeface="Arial"/>
                <a:sym typeface="Arial"/>
              </a:rPr>
              <a:t> fronteras : Pendiente por definir por parte del Gobierno</a:t>
            </a:r>
            <a:endParaRPr sz="1300" b="0" i="0" u="none" strike="noStrike" cap="none" dirty="0">
              <a:solidFill>
                <a:srgbClr val="000000"/>
              </a:solidFill>
              <a:latin typeface="Arial"/>
              <a:ea typeface="Arial"/>
              <a:cs typeface="Arial"/>
              <a:sym typeface="Arial"/>
            </a:endParaRPr>
          </a:p>
        </p:txBody>
      </p:sp>
      <p:pic>
        <p:nvPicPr>
          <p:cNvPr id="21" name="Google Shape;520;g8055afce9b_0_767"/>
          <p:cNvPicPr preferRelativeResize="0"/>
          <p:nvPr/>
        </p:nvPicPr>
        <p:blipFill rotWithShape="1">
          <a:blip r:embed="rId3">
            <a:alphaModFix/>
          </a:blip>
          <a:srcRect/>
          <a:stretch/>
        </p:blipFill>
        <p:spPr>
          <a:xfrm>
            <a:off x="251218" y="1773539"/>
            <a:ext cx="1457125" cy="1457125"/>
          </a:xfrm>
          <a:prstGeom prst="rect">
            <a:avLst/>
          </a:prstGeom>
          <a:noFill/>
          <a:ln>
            <a:noFill/>
          </a:ln>
        </p:spPr>
      </p:pic>
      <p:sp>
        <p:nvSpPr>
          <p:cNvPr id="22" name="Google Shape;521;g8055afce9b_0_767"/>
          <p:cNvSpPr/>
          <p:nvPr/>
        </p:nvSpPr>
        <p:spPr>
          <a:xfrm>
            <a:off x="1888959" y="6030580"/>
            <a:ext cx="9144000" cy="7386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s-ES" sz="1400" b="0" i="0" u="none" strike="noStrike" cap="none" dirty="0">
                <a:solidFill>
                  <a:schemeClr val="tx1"/>
                </a:solidFill>
                <a:latin typeface="Arial"/>
                <a:ea typeface="Arial"/>
                <a:cs typeface="Arial"/>
                <a:sym typeface="Arial"/>
              </a:rPr>
              <a:t>Se propone un soporte funcional para apoyar a </a:t>
            </a:r>
            <a:r>
              <a:rPr lang="es-ES" sz="1400" b="0" i="0" u="none" strike="noStrike" cap="none">
                <a:solidFill>
                  <a:schemeClr val="tx1"/>
                </a:solidFill>
                <a:latin typeface="Arial"/>
                <a:ea typeface="Arial"/>
                <a:cs typeface="Arial"/>
                <a:sym typeface="Arial"/>
              </a:rPr>
              <a:t>la </a:t>
            </a:r>
            <a:r>
              <a:rPr lang="es-ES" sz="1400" b="0" i="0" u="none" strike="noStrike" cap="none" smtClean="0">
                <a:solidFill>
                  <a:schemeClr val="tx1"/>
                </a:solidFill>
                <a:latin typeface="Arial"/>
                <a:ea typeface="Arial"/>
                <a:cs typeface="Arial"/>
                <a:sym typeface="Arial"/>
              </a:rPr>
              <a:t>SGAD </a:t>
            </a:r>
            <a:r>
              <a:rPr lang="es-ES" sz="1400" b="0" i="0" u="none" strike="noStrike" cap="none" dirty="0">
                <a:solidFill>
                  <a:schemeClr val="tx1"/>
                </a:solidFill>
                <a:latin typeface="Arial"/>
                <a:ea typeface="Arial"/>
                <a:cs typeface="Arial"/>
                <a:sym typeface="Arial"/>
              </a:rPr>
              <a:t>en el diseño de los servicios de sanidad e interoperabilidad que actualmente están en fase de </a:t>
            </a:r>
            <a:r>
              <a:rPr lang="es-ES" sz="1400" b="0" i="0" u="none" strike="noStrike" cap="none" dirty="0" smtClean="0">
                <a:solidFill>
                  <a:schemeClr val="tx1"/>
                </a:solidFill>
                <a:latin typeface="Arial"/>
                <a:ea typeface="Arial"/>
                <a:cs typeface="Arial"/>
                <a:sym typeface="Arial"/>
              </a:rPr>
              <a:t>definición, planteando alternativas</a:t>
            </a:r>
            <a:r>
              <a:rPr lang="es-ES" dirty="0">
                <a:solidFill>
                  <a:schemeClr val="tx1"/>
                </a:solidFill>
              </a:rPr>
              <a:t>,</a:t>
            </a:r>
            <a:r>
              <a:rPr lang="es-ES" sz="1400" b="0" i="0" u="none" strike="noStrike" cap="none" dirty="0" smtClean="0">
                <a:solidFill>
                  <a:schemeClr val="tx1"/>
                </a:solidFill>
                <a:latin typeface="Arial"/>
                <a:ea typeface="Arial"/>
                <a:cs typeface="Arial"/>
                <a:sym typeface="Arial"/>
              </a:rPr>
              <a:t> modelos, pruebas </a:t>
            </a:r>
            <a:r>
              <a:rPr lang="es-ES" sz="1400" b="0" i="0" u="none" strike="noStrike" cap="none" dirty="0">
                <a:solidFill>
                  <a:schemeClr val="tx1"/>
                </a:solidFill>
                <a:latin typeface="Arial"/>
                <a:ea typeface="Arial"/>
                <a:cs typeface="Arial"/>
                <a:sym typeface="Arial"/>
              </a:rPr>
              <a:t>de concepto, desarrollos,… al equipo de soporte agile/seguridad planteado durante la fase de </a:t>
            </a:r>
            <a:r>
              <a:rPr lang="es-ES" sz="1400" b="0" i="0" u="none" strike="noStrike" cap="none" dirty="0" smtClean="0">
                <a:solidFill>
                  <a:schemeClr val="tx1"/>
                </a:solidFill>
                <a:latin typeface="Arial"/>
                <a:ea typeface="Arial"/>
                <a:cs typeface="Arial"/>
                <a:sym typeface="Arial"/>
              </a:rPr>
              <a:t>piloto </a:t>
            </a:r>
            <a:endParaRPr sz="1400" b="0" i="0" u="none" strike="noStrike" cap="none" dirty="0">
              <a:solidFill>
                <a:schemeClr val="tx1"/>
              </a:solidFill>
              <a:latin typeface="Arial"/>
              <a:ea typeface="Arial"/>
              <a:cs typeface="Arial"/>
              <a:sym typeface="Aria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390"/>
        <p:cNvGrpSpPr/>
        <p:nvPr/>
      </p:nvGrpSpPr>
      <p:grpSpPr>
        <a:xfrm>
          <a:off x="0" y="0"/>
          <a:ext cx="0" cy="0"/>
          <a:chOff x="0" y="0"/>
          <a:chExt cx="0" cy="0"/>
        </a:xfrm>
      </p:grpSpPr>
      <p:sp>
        <p:nvSpPr>
          <p:cNvPr id="391" name="Google Shape;391;g7826bb8c5e_0_191"/>
          <p:cNvSpPr/>
          <p:nvPr/>
        </p:nvSpPr>
        <p:spPr>
          <a:xfrm>
            <a:off x="-35568" y="-1107504"/>
            <a:ext cx="8111809" cy="9003450"/>
          </a:xfrm>
          <a:custGeom>
            <a:avLst/>
            <a:gdLst/>
            <a:ahLst/>
            <a:cxnLst/>
            <a:rect l="l" t="t" r="r" b="b"/>
            <a:pathLst>
              <a:path w="3585330" h="4344246" extrusionOk="0">
                <a:moveTo>
                  <a:pt x="8605" y="3976515"/>
                </a:moveTo>
                <a:cubicBezTo>
                  <a:pt x="5737" y="2991370"/>
                  <a:pt x="2868" y="2006225"/>
                  <a:pt x="0" y="1021080"/>
                </a:cubicBezTo>
                <a:lnTo>
                  <a:pt x="3573780" y="0"/>
                </a:lnTo>
                <a:lnTo>
                  <a:pt x="3585330" y="4344246"/>
                </a:lnTo>
                <a:lnTo>
                  <a:pt x="13519" y="4306884"/>
                </a:lnTo>
                <a:cubicBezTo>
                  <a:pt x="14749" y="3909937"/>
                  <a:pt x="7375" y="4373462"/>
                  <a:pt x="8605" y="3976515"/>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Arial"/>
              <a:ea typeface="Arial"/>
              <a:cs typeface="Arial"/>
              <a:sym typeface="Arial"/>
            </a:endParaRPr>
          </a:p>
        </p:txBody>
      </p:sp>
      <p:sp>
        <p:nvSpPr>
          <p:cNvPr id="392" name="Google Shape;392;g7826bb8c5e_0_191"/>
          <p:cNvSpPr/>
          <p:nvPr/>
        </p:nvSpPr>
        <p:spPr>
          <a:xfrm>
            <a:off x="1199456" y="3055600"/>
            <a:ext cx="6336600" cy="4111800"/>
          </a:xfrm>
          <a:prstGeom prst="rect">
            <a:avLst/>
          </a:prstGeom>
          <a:noFill/>
          <a:ln>
            <a:noFill/>
          </a:ln>
        </p:spPr>
        <p:txBody>
          <a:bodyPr spcFirstLastPara="1" wrap="square" lIns="91425" tIns="45700" rIns="91425" bIns="45700" anchor="t" anchorCtr="0">
            <a:noAutofit/>
          </a:bodyPr>
          <a:lstStyle/>
          <a:p>
            <a:pPr marL="0" marR="0" lvl="0" indent="0" algn="l" rtl="0">
              <a:lnSpc>
                <a:spcPct val="150000"/>
              </a:lnSpc>
              <a:spcBef>
                <a:spcPts val="0"/>
              </a:spcBef>
              <a:spcAft>
                <a:spcPts val="0"/>
              </a:spcAft>
              <a:buClr>
                <a:srgbClr val="000000"/>
              </a:buClr>
              <a:buSzPts val="2800"/>
              <a:buFont typeface="Arial"/>
              <a:buNone/>
            </a:pPr>
            <a:r>
              <a:rPr lang="es-ES" sz="2800" b="0" i="0" u="none" strike="noStrike" cap="none">
                <a:solidFill>
                  <a:schemeClr val="accent4"/>
                </a:solidFill>
                <a:latin typeface="Playfair Display"/>
                <a:ea typeface="Playfair Display"/>
                <a:cs typeface="Playfair Display"/>
                <a:sym typeface="Playfair Display"/>
              </a:rPr>
              <a:t>1. </a:t>
            </a:r>
            <a:r>
              <a:rPr lang="es-ES" sz="1799">
                <a:solidFill>
                  <a:schemeClr val="dk1"/>
                </a:solidFill>
                <a:latin typeface="Playfair Display"/>
                <a:ea typeface="Playfair Display"/>
                <a:cs typeface="Playfair Display"/>
                <a:sym typeface="Playfair Display"/>
              </a:rPr>
              <a:t>Resumen ejecutivo</a:t>
            </a:r>
            <a:endParaRPr sz="1400" b="0" i="0" u="none" strike="noStrike" cap="none">
              <a:solidFill>
                <a:srgbClr val="000000"/>
              </a:solidFill>
              <a:latin typeface="Arial"/>
              <a:ea typeface="Arial"/>
              <a:cs typeface="Arial"/>
              <a:sym typeface="Arial"/>
            </a:endParaRPr>
          </a:p>
          <a:p>
            <a:pPr marL="0" marR="0" lvl="0" indent="0" algn="l" rtl="0">
              <a:lnSpc>
                <a:spcPct val="150000"/>
              </a:lnSpc>
              <a:spcBef>
                <a:spcPts val="0"/>
              </a:spcBef>
              <a:spcAft>
                <a:spcPts val="0"/>
              </a:spcAft>
              <a:buClr>
                <a:srgbClr val="000000"/>
              </a:buClr>
              <a:buSzPts val="2800"/>
              <a:buFont typeface="Arial"/>
              <a:buNone/>
            </a:pPr>
            <a:r>
              <a:rPr lang="es-ES" sz="2800">
                <a:solidFill>
                  <a:schemeClr val="accent4"/>
                </a:solidFill>
                <a:latin typeface="Playfair Display"/>
                <a:ea typeface="Playfair Display"/>
                <a:cs typeface="Playfair Display"/>
                <a:sym typeface="Playfair Display"/>
              </a:rPr>
              <a:t>Anexo</a:t>
            </a:r>
            <a:endParaRPr sz="2800">
              <a:solidFill>
                <a:schemeClr val="accent4"/>
              </a:solidFill>
              <a:latin typeface="Playfair Display"/>
              <a:ea typeface="Playfair Display"/>
              <a:cs typeface="Playfair Display"/>
              <a:sym typeface="Playfair Display"/>
            </a:endParaRPr>
          </a:p>
          <a:p>
            <a:pPr marL="0" marR="0" lvl="0" indent="0" algn="l" rtl="0">
              <a:lnSpc>
                <a:spcPct val="150000"/>
              </a:lnSpc>
              <a:spcBef>
                <a:spcPts val="0"/>
              </a:spcBef>
              <a:spcAft>
                <a:spcPts val="0"/>
              </a:spcAft>
              <a:buClr>
                <a:srgbClr val="000000"/>
              </a:buClr>
              <a:buSzPts val="2800"/>
              <a:buFont typeface="Arial"/>
              <a:buNone/>
            </a:pPr>
            <a:r>
              <a:rPr lang="es-ES" sz="2800">
                <a:solidFill>
                  <a:schemeClr val="accent4"/>
                </a:solidFill>
                <a:latin typeface="Playfair Display"/>
                <a:ea typeface="Playfair Display"/>
                <a:cs typeface="Playfair Display"/>
                <a:sym typeface="Playfair Display"/>
              </a:rPr>
              <a:t>a</a:t>
            </a:r>
            <a:r>
              <a:rPr lang="es-ES" sz="2800" b="0" i="0" u="none" strike="noStrike" cap="none">
                <a:solidFill>
                  <a:schemeClr val="accent4"/>
                </a:solidFill>
                <a:latin typeface="Playfair Display"/>
                <a:ea typeface="Playfair Display"/>
                <a:cs typeface="Playfair Display"/>
                <a:sym typeface="Playfair Display"/>
              </a:rPr>
              <a:t>.</a:t>
            </a:r>
            <a:r>
              <a:rPr lang="es-ES" sz="1799" b="0" i="0" u="none" strike="noStrike" cap="none">
                <a:solidFill>
                  <a:schemeClr val="dk1"/>
                </a:solidFill>
                <a:latin typeface="Playfair Display"/>
                <a:ea typeface="Playfair Display"/>
                <a:cs typeface="Playfair Display"/>
                <a:sym typeface="Playfair Display"/>
              </a:rPr>
              <a:t> Alcance y enfoque del trabajo propuesto</a:t>
            </a:r>
            <a:endParaRPr sz="1799" b="0" i="0" u="none" strike="noStrike" cap="none">
              <a:solidFill>
                <a:schemeClr val="dk1"/>
              </a:solidFill>
              <a:latin typeface="Playfair Display"/>
              <a:ea typeface="Playfair Display"/>
              <a:cs typeface="Playfair Display"/>
              <a:sym typeface="Playfair Display"/>
            </a:endParaRPr>
          </a:p>
          <a:p>
            <a:pPr marL="0" marR="0" lvl="0" indent="0" algn="l" rtl="0">
              <a:lnSpc>
                <a:spcPct val="150000"/>
              </a:lnSpc>
              <a:spcBef>
                <a:spcPts val="0"/>
              </a:spcBef>
              <a:spcAft>
                <a:spcPts val="0"/>
              </a:spcAft>
              <a:buClr>
                <a:srgbClr val="000000"/>
              </a:buClr>
              <a:buSzPts val="2800"/>
              <a:buFont typeface="Arial"/>
              <a:buNone/>
            </a:pPr>
            <a:r>
              <a:rPr lang="es-ES" sz="2800">
                <a:solidFill>
                  <a:schemeClr val="accent4"/>
                </a:solidFill>
                <a:latin typeface="Playfair Display"/>
                <a:ea typeface="Playfair Display"/>
                <a:cs typeface="Playfair Display"/>
                <a:sym typeface="Playfair Display"/>
              </a:rPr>
              <a:t>b</a:t>
            </a:r>
            <a:r>
              <a:rPr lang="es-ES" sz="2800" b="0" i="0" u="none" strike="noStrike" cap="none">
                <a:solidFill>
                  <a:schemeClr val="accent4"/>
                </a:solidFill>
                <a:latin typeface="Playfair Display"/>
                <a:ea typeface="Playfair Display"/>
                <a:cs typeface="Playfair Display"/>
                <a:sym typeface="Playfair Display"/>
              </a:rPr>
              <a:t>. </a:t>
            </a:r>
            <a:r>
              <a:rPr lang="es-ES" sz="1799" b="0" i="0" u="none" strike="noStrike" cap="none">
                <a:solidFill>
                  <a:schemeClr val="dk1"/>
                </a:solidFill>
                <a:latin typeface="Playfair Display"/>
                <a:ea typeface="Playfair Display"/>
                <a:cs typeface="Playfair Display"/>
                <a:sym typeface="Playfair Display"/>
              </a:rPr>
              <a:t>Calendario y equipo</a:t>
            </a:r>
            <a:endParaRPr sz="1799" b="0" i="0" u="none" strike="noStrike" cap="none">
              <a:solidFill>
                <a:schemeClr val="dk1"/>
              </a:solidFill>
              <a:latin typeface="Playfair Display"/>
              <a:ea typeface="Playfair Display"/>
              <a:cs typeface="Playfair Display"/>
              <a:sym typeface="Playfair Display"/>
            </a:endParaRPr>
          </a:p>
          <a:p>
            <a:pPr marL="0" marR="0" lvl="0" indent="0" algn="l" rtl="0">
              <a:lnSpc>
                <a:spcPct val="150000"/>
              </a:lnSpc>
              <a:spcBef>
                <a:spcPts val="0"/>
              </a:spcBef>
              <a:spcAft>
                <a:spcPts val="0"/>
              </a:spcAft>
              <a:buClr>
                <a:srgbClr val="000000"/>
              </a:buClr>
              <a:buSzPts val="2800"/>
              <a:buFont typeface="Arial"/>
              <a:buNone/>
            </a:pPr>
            <a:r>
              <a:rPr lang="es-ES" sz="2800">
                <a:solidFill>
                  <a:schemeClr val="accent4"/>
                </a:solidFill>
                <a:latin typeface="Playfair Display"/>
                <a:ea typeface="Playfair Display"/>
                <a:cs typeface="Playfair Display"/>
                <a:sym typeface="Playfair Display"/>
              </a:rPr>
              <a:t>c</a:t>
            </a:r>
            <a:r>
              <a:rPr lang="es-ES" sz="2800" b="0" i="0" u="none" strike="noStrike" cap="none">
                <a:solidFill>
                  <a:schemeClr val="accent4"/>
                </a:solidFill>
                <a:latin typeface="Playfair Display"/>
                <a:ea typeface="Playfair Display"/>
                <a:cs typeface="Playfair Display"/>
                <a:sym typeface="Playfair Display"/>
              </a:rPr>
              <a:t>. </a:t>
            </a:r>
            <a:r>
              <a:rPr lang="es-ES" sz="1799" b="0" i="0" u="none" strike="noStrike" cap="none">
                <a:solidFill>
                  <a:schemeClr val="dk1"/>
                </a:solidFill>
                <a:latin typeface="Playfair Display"/>
                <a:ea typeface="Playfair Display"/>
                <a:cs typeface="Playfair Display"/>
                <a:sym typeface="Playfair Display"/>
              </a:rPr>
              <a:t>Por qué Minsait</a:t>
            </a:r>
            <a:endParaRPr sz="1799" b="0" i="0" u="none" strike="noStrike" cap="none">
              <a:solidFill>
                <a:schemeClr val="dk1"/>
              </a:solidFill>
              <a:latin typeface="Playfair Display"/>
              <a:ea typeface="Playfair Display"/>
              <a:cs typeface="Playfair Display"/>
              <a:sym typeface="Playfair Display"/>
            </a:endParaRPr>
          </a:p>
          <a:p>
            <a:pPr marL="0" marR="0" lvl="0" indent="0" algn="l" rtl="0">
              <a:lnSpc>
                <a:spcPct val="150000"/>
              </a:lnSpc>
              <a:spcBef>
                <a:spcPts val="0"/>
              </a:spcBef>
              <a:spcAft>
                <a:spcPts val="0"/>
              </a:spcAft>
              <a:buClr>
                <a:srgbClr val="000000"/>
              </a:buClr>
              <a:buSzPts val="1799"/>
              <a:buFont typeface="Arial"/>
              <a:buNone/>
            </a:pPr>
            <a:endParaRPr sz="1799" b="0" i="0" u="none" strike="noStrike" cap="none">
              <a:solidFill>
                <a:schemeClr val="dk1"/>
              </a:solidFill>
              <a:latin typeface="Playfair Display"/>
              <a:ea typeface="Playfair Display"/>
              <a:cs typeface="Playfair Display"/>
              <a:sym typeface="Playfair Display"/>
            </a:endParaRPr>
          </a:p>
          <a:p>
            <a:pPr marL="0" marR="0" lvl="0" indent="0" algn="l" rtl="0">
              <a:lnSpc>
                <a:spcPct val="150000"/>
              </a:lnSpc>
              <a:spcBef>
                <a:spcPts val="0"/>
              </a:spcBef>
              <a:spcAft>
                <a:spcPts val="0"/>
              </a:spcAft>
              <a:buClr>
                <a:srgbClr val="000000"/>
              </a:buClr>
              <a:buSzPts val="1799"/>
              <a:buFont typeface="Arial"/>
              <a:buNone/>
            </a:pPr>
            <a:endParaRPr sz="1799" b="0" i="0" u="none" strike="noStrike" cap="none">
              <a:solidFill>
                <a:schemeClr val="dk1"/>
              </a:solidFill>
              <a:latin typeface="Playfair Display"/>
              <a:ea typeface="Playfair Display"/>
              <a:cs typeface="Playfair Display"/>
              <a:sym typeface="Playfair Display"/>
            </a:endParaRPr>
          </a:p>
        </p:txBody>
      </p:sp>
      <p:sp>
        <p:nvSpPr>
          <p:cNvPr id="393" name="Google Shape;393;g7826bb8c5e_0_191"/>
          <p:cNvSpPr txBox="1"/>
          <p:nvPr/>
        </p:nvSpPr>
        <p:spPr>
          <a:xfrm>
            <a:off x="1199456" y="1696856"/>
            <a:ext cx="2581500" cy="7920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6000"/>
              <a:buFont typeface="Playfair Display"/>
              <a:buNone/>
            </a:pPr>
            <a:r>
              <a:rPr lang="es-ES" sz="6000" b="0" i="0" u="none" strike="noStrike" cap="none">
                <a:solidFill>
                  <a:schemeClr val="dk1"/>
                </a:solidFill>
                <a:latin typeface="Playfair Display"/>
                <a:ea typeface="Playfair Display"/>
                <a:cs typeface="Playfair Display"/>
                <a:sym typeface="Playfair Display"/>
              </a:rPr>
              <a:t>Índice</a:t>
            </a:r>
            <a:endParaRPr sz="5867" b="0" i="0" u="none" strike="noStrike" cap="none">
              <a:solidFill>
                <a:schemeClr val="dk1"/>
              </a:solidFill>
              <a:latin typeface="Playfair Display"/>
              <a:ea typeface="Playfair Display"/>
              <a:cs typeface="Playfair Display"/>
              <a:sym typeface="Playfair Display"/>
            </a:endParaRPr>
          </a:p>
        </p:txBody>
      </p:sp>
      <p:sp>
        <p:nvSpPr>
          <p:cNvPr id="394" name="Google Shape;394;g7826bb8c5e_0_191"/>
          <p:cNvSpPr/>
          <p:nvPr/>
        </p:nvSpPr>
        <p:spPr>
          <a:xfrm>
            <a:off x="-3643571" y="2348880"/>
            <a:ext cx="4499589" cy="5452029"/>
          </a:xfrm>
          <a:custGeom>
            <a:avLst/>
            <a:gdLst/>
            <a:ahLst/>
            <a:cxnLst/>
            <a:rect l="l" t="t" r="r" b="b"/>
            <a:pathLst>
              <a:path w="3585330" h="4344246" extrusionOk="0">
                <a:moveTo>
                  <a:pt x="8605" y="3976515"/>
                </a:moveTo>
                <a:cubicBezTo>
                  <a:pt x="5737" y="2991370"/>
                  <a:pt x="2868" y="2006225"/>
                  <a:pt x="0" y="1021080"/>
                </a:cubicBezTo>
                <a:lnTo>
                  <a:pt x="3573780" y="0"/>
                </a:lnTo>
                <a:lnTo>
                  <a:pt x="3585330" y="4344246"/>
                </a:lnTo>
                <a:lnTo>
                  <a:pt x="13519" y="4306884"/>
                </a:lnTo>
                <a:cubicBezTo>
                  <a:pt x="14749" y="3909937"/>
                  <a:pt x="7375" y="4373462"/>
                  <a:pt x="8605" y="3976515"/>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Arial"/>
              <a:ea typeface="Arial"/>
              <a:cs typeface="Arial"/>
              <a:sym typeface="Arial"/>
            </a:endParaRPr>
          </a:p>
        </p:txBody>
      </p:sp>
      <p:sp>
        <p:nvSpPr>
          <p:cNvPr id="395" name="Google Shape;395;g7826bb8c5e_0_191"/>
          <p:cNvSpPr/>
          <p:nvPr/>
        </p:nvSpPr>
        <p:spPr>
          <a:xfrm rot="10800000">
            <a:off x="7847395" y="-1604919"/>
            <a:ext cx="4344603" cy="2899911"/>
          </a:xfrm>
          <a:custGeom>
            <a:avLst/>
            <a:gdLst/>
            <a:ahLst/>
            <a:cxnLst/>
            <a:rect l="l" t="t" r="r" b="b"/>
            <a:pathLst>
              <a:path w="11069052" h="7483642" extrusionOk="0">
                <a:moveTo>
                  <a:pt x="0" y="3176337"/>
                </a:moveTo>
                <a:lnTo>
                  <a:pt x="11069052" y="0"/>
                </a:lnTo>
                <a:lnTo>
                  <a:pt x="11069052" y="7483642"/>
                </a:lnTo>
                <a:lnTo>
                  <a:pt x="10804358" y="7483642"/>
                </a:lnTo>
                <a:lnTo>
                  <a:pt x="0" y="7483642"/>
                </a:lnTo>
                <a:lnTo>
                  <a:pt x="0" y="3176337"/>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9"/>
              <a:buFont typeface="Arial"/>
              <a:buNone/>
            </a:pPr>
            <a:endParaRPr sz="2399" b="0" i="0" u="none" strike="noStrike" cap="none">
              <a:solidFill>
                <a:schemeClr val="lt1"/>
              </a:solidFill>
              <a:latin typeface="Arial"/>
              <a:ea typeface="Arial"/>
              <a:cs typeface="Arial"/>
              <a:sym typeface="Arial"/>
            </a:endParaRPr>
          </a:p>
        </p:txBody>
      </p:sp>
      <p:pic>
        <p:nvPicPr>
          <p:cNvPr id="396" name="Google Shape;396;g7826bb8c5e_0_191" descr="Hospital Universitario La Paz (Madrid) 01.jpg"/>
          <p:cNvPicPr preferRelativeResize="0"/>
          <p:nvPr/>
        </p:nvPicPr>
        <p:blipFill rotWithShape="1">
          <a:blip r:embed="rId3">
            <a:alphaModFix/>
          </a:blip>
          <a:srcRect b="-3263"/>
          <a:stretch/>
        </p:blipFill>
        <p:spPr>
          <a:xfrm>
            <a:off x="7388781" y="56216"/>
            <a:ext cx="4783496" cy="5526367"/>
          </a:xfrm>
          <a:prstGeom prst="rect">
            <a:avLst/>
          </a:prstGeom>
          <a:noFill/>
          <a:ln>
            <a:noFill/>
          </a:ln>
        </p:spPr>
      </p:pic>
      <p:sp>
        <p:nvSpPr>
          <p:cNvPr id="397" name="Google Shape;397;g7826bb8c5e_0_191"/>
          <p:cNvSpPr/>
          <p:nvPr/>
        </p:nvSpPr>
        <p:spPr>
          <a:xfrm rot="5400000">
            <a:off x="7131819" y="-16848"/>
            <a:ext cx="5074200" cy="5088000"/>
          </a:xfrm>
          <a:prstGeom prst="rect">
            <a:avLst/>
          </a:prstGeom>
          <a:solidFill>
            <a:srgbClr val="FFFFFF">
              <a:alpha val="64313"/>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endParaRPr sz="1600" b="0" i="0" u="none" strike="noStrike" cap="none">
              <a:solidFill>
                <a:srgbClr val="1A3B47"/>
              </a:solidFill>
              <a:latin typeface="Playfair Display"/>
              <a:ea typeface="Playfair Display"/>
              <a:cs typeface="Playfair Display"/>
              <a:sym typeface="Playfair Display"/>
            </a:endParaRPr>
          </a:p>
        </p:txBody>
      </p:sp>
      <p:sp>
        <p:nvSpPr>
          <p:cNvPr id="398" name="Google Shape;398;g7826bb8c5e_0_191"/>
          <p:cNvSpPr/>
          <p:nvPr/>
        </p:nvSpPr>
        <p:spPr>
          <a:xfrm>
            <a:off x="7248128" y="3671257"/>
            <a:ext cx="4965682" cy="5452029"/>
          </a:xfrm>
          <a:custGeom>
            <a:avLst/>
            <a:gdLst/>
            <a:ahLst/>
            <a:cxnLst/>
            <a:rect l="l" t="t" r="r" b="b"/>
            <a:pathLst>
              <a:path w="3585330" h="4344246" extrusionOk="0">
                <a:moveTo>
                  <a:pt x="8605" y="3976515"/>
                </a:moveTo>
                <a:cubicBezTo>
                  <a:pt x="5737" y="2991370"/>
                  <a:pt x="2868" y="2006225"/>
                  <a:pt x="0" y="1021080"/>
                </a:cubicBezTo>
                <a:lnTo>
                  <a:pt x="3573780" y="0"/>
                </a:lnTo>
                <a:lnTo>
                  <a:pt x="3585330" y="4344246"/>
                </a:lnTo>
                <a:lnTo>
                  <a:pt x="13519" y="4306884"/>
                </a:lnTo>
                <a:cubicBezTo>
                  <a:pt x="14749" y="3909937"/>
                  <a:pt x="7375" y="4373462"/>
                  <a:pt x="8605" y="397651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rgbClr val="FFFFFF"/>
              </a:solidFill>
              <a:latin typeface="Arial"/>
              <a:ea typeface="Arial"/>
              <a:cs typeface="Arial"/>
              <a:sym typeface="Arial"/>
            </a:endParaRPr>
          </a:p>
        </p:txBody>
      </p:sp>
      <p:sp>
        <p:nvSpPr>
          <p:cNvPr id="399" name="Google Shape;399;g7826bb8c5e_0_191"/>
          <p:cNvSpPr/>
          <p:nvPr/>
        </p:nvSpPr>
        <p:spPr>
          <a:xfrm rot="10800000" flipH="1">
            <a:off x="7359520" y="56301"/>
            <a:ext cx="4865100" cy="1106100"/>
          </a:xfrm>
          <a:prstGeom prst="rtTriangle">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799"/>
              <a:buFont typeface="Arial"/>
              <a:buNone/>
            </a:pPr>
            <a:endParaRPr sz="1799" b="0" i="0" u="none" strike="noStrike" cap="none">
              <a:solidFill>
                <a:schemeClr val="lt1"/>
              </a:solidFill>
              <a:latin typeface="Arial"/>
              <a:ea typeface="Arial"/>
              <a:cs typeface="Arial"/>
              <a:sym typeface="Arial"/>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207"/>
        <p:cNvGrpSpPr/>
        <p:nvPr/>
      </p:nvGrpSpPr>
      <p:grpSpPr>
        <a:xfrm>
          <a:off x="0" y="0"/>
          <a:ext cx="0" cy="0"/>
          <a:chOff x="0" y="0"/>
          <a:chExt cx="0" cy="0"/>
        </a:xfrm>
      </p:grpSpPr>
      <p:sp>
        <p:nvSpPr>
          <p:cNvPr id="2" name="Marcador de texto 1"/>
          <p:cNvSpPr>
            <a:spLocks noGrp="1"/>
          </p:cNvSpPr>
          <p:nvPr>
            <p:ph type="body" idx="1"/>
          </p:nvPr>
        </p:nvSpPr>
        <p:spPr/>
        <p:txBody>
          <a:bodyPr/>
          <a:lstStyle/>
          <a:p>
            <a:endParaRPr lang="es-ES"/>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207"/>
        <p:cNvGrpSpPr/>
        <p:nvPr/>
      </p:nvGrpSpPr>
      <p:grpSpPr>
        <a:xfrm>
          <a:off x="0" y="0"/>
          <a:ext cx="0" cy="0"/>
          <a:chOff x="0" y="0"/>
          <a:chExt cx="0" cy="0"/>
        </a:xfrm>
      </p:grpSpPr>
      <p:sp>
        <p:nvSpPr>
          <p:cNvPr id="1209" name="Google Shape;1209;g7826bb8c5e_0_2771"/>
          <p:cNvSpPr txBox="1"/>
          <p:nvPr/>
        </p:nvSpPr>
        <p:spPr>
          <a:xfrm>
            <a:off x="335998" y="649092"/>
            <a:ext cx="11232600" cy="7221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2400"/>
              <a:buFont typeface="Playfair Display"/>
              <a:buNone/>
            </a:pPr>
            <a:r>
              <a:rPr lang="es-ES" sz="2400" b="1" i="0" u="none" strike="noStrike" cap="none" dirty="0">
                <a:solidFill>
                  <a:schemeClr val="dk1"/>
                </a:solidFill>
                <a:latin typeface="Playfair Display"/>
                <a:ea typeface="Playfair Display"/>
                <a:cs typeface="Playfair Display"/>
                <a:sym typeface="Playfair Display"/>
              </a:rPr>
              <a:t>Pre-piloto: Análisis Técnico</a:t>
            </a:r>
            <a:r>
              <a:rPr lang="es-ES" sz="2400" b="0" i="0" u="none" strike="noStrike" cap="none" dirty="0">
                <a:solidFill>
                  <a:schemeClr val="dk1"/>
                </a:solidFill>
                <a:latin typeface="Playfair Display"/>
                <a:ea typeface="Playfair Display"/>
                <a:cs typeface="Playfair Display"/>
                <a:sym typeface="Playfair Display"/>
              </a:rPr>
              <a:t>. </a:t>
            </a:r>
            <a:r>
              <a:rPr lang="es-ES" sz="2400" b="0" i="0" u="none" strike="noStrike" cap="none" dirty="0" smtClean="0">
                <a:solidFill>
                  <a:schemeClr val="dk1"/>
                </a:solidFill>
                <a:latin typeface="Playfair Display"/>
                <a:ea typeface="Playfair Display"/>
                <a:cs typeface="Playfair Display"/>
                <a:sym typeface="Playfair Display"/>
              </a:rPr>
              <a:t>Ciberseguridad</a:t>
            </a:r>
            <a:endParaRPr sz="2400" b="0" i="0" u="none" strike="noStrike" cap="none" dirty="0">
              <a:solidFill>
                <a:schemeClr val="dk1"/>
              </a:solidFill>
              <a:latin typeface="Playfair Display"/>
              <a:ea typeface="Playfair Display"/>
              <a:cs typeface="Playfair Display"/>
              <a:sym typeface="Playfair Display"/>
            </a:endParaRPr>
          </a:p>
        </p:txBody>
      </p:sp>
      <p:sp>
        <p:nvSpPr>
          <p:cNvPr id="1210" name="Google Shape;1210;g7826bb8c5e_0_2771"/>
          <p:cNvSpPr txBox="1">
            <a:spLocks noGrp="1"/>
          </p:cNvSpPr>
          <p:nvPr>
            <p:ph type="body" idx="1"/>
          </p:nvPr>
        </p:nvSpPr>
        <p:spPr>
          <a:xfrm>
            <a:off x="336000" y="128400"/>
            <a:ext cx="11519400" cy="251400"/>
          </a:xfrm>
          <a:prstGeom prst="rect">
            <a:avLst/>
          </a:prstGeom>
          <a:noFill/>
          <a:ln>
            <a:noFill/>
          </a:ln>
        </p:spPr>
        <p:txBody>
          <a:bodyPr spcFirstLastPara="1" wrap="square" lIns="0" tIns="45700" rIns="91425" bIns="45700" anchor="t" anchorCtr="0">
            <a:noAutofit/>
          </a:bodyPr>
          <a:lstStyle/>
          <a:p>
            <a:pPr marL="0" lvl="0" indent="0" algn="l" rtl="0">
              <a:lnSpc>
                <a:spcPct val="90000"/>
              </a:lnSpc>
              <a:spcBef>
                <a:spcPts val="0"/>
              </a:spcBef>
              <a:spcAft>
                <a:spcPts val="0"/>
              </a:spcAft>
              <a:buClr>
                <a:srgbClr val="1A3B47"/>
              </a:buClr>
              <a:buSzPts val="1400"/>
              <a:buNone/>
            </a:pPr>
            <a:r>
              <a:rPr lang="es-ES" sz="1400">
                <a:latin typeface="Playfair Display"/>
                <a:ea typeface="Playfair Display"/>
                <a:cs typeface="Playfair Display"/>
                <a:sym typeface="Playfair Display"/>
              </a:rPr>
              <a:t>Covid-19 app - Alcance y enfoque del trabajo propuesto</a:t>
            </a:r>
            <a:endParaRPr/>
          </a:p>
        </p:txBody>
      </p:sp>
      <p:grpSp>
        <p:nvGrpSpPr>
          <p:cNvPr id="1224" name="Google Shape;1224;g7826bb8c5e_0_2771"/>
          <p:cNvGrpSpPr/>
          <p:nvPr/>
        </p:nvGrpSpPr>
        <p:grpSpPr>
          <a:xfrm>
            <a:off x="10992330" y="88959"/>
            <a:ext cx="1104735" cy="536493"/>
            <a:chOff x="508100" y="1640544"/>
            <a:chExt cx="11238400" cy="4620956"/>
          </a:xfrm>
        </p:grpSpPr>
        <p:grpSp>
          <p:nvGrpSpPr>
            <p:cNvPr id="1225" name="Google Shape;1225;g7826bb8c5e_0_2771"/>
            <p:cNvGrpSpPr/>
            <p:nvPr/>
          </p:nvGrpSpPr>
          <p:grpSpPr>
            <a:xfrm>
              <a:off x="508106" y="1640544"/>
              <a:ext cx="11232175" cy="21551"/>
              <a:chOff x="431923" y="1640499"/>
              <a:chExt cx="9605075" cy="31800"/>
            </a:xfrm>
          </p:grpSpPr>
          <p:cxnSp>
            <p:nvCxnSpPr>
              <p:cNvPr id="1226" name="Google Shape;1226;g7826bb8c5e_0_2771"/>
              <p:cNvCxnSpPr/>
              <p:nvPr/>
            </p:nvCxnSpPr>
            <p:spPr>
              <a:xfrm>
                <a:off x="431923" y="1640499"/>
                <a:ext cx="4651200" cy="15900"/>
              </a:xfrm>
              <a:prstGeom prst="straightConnector1">
                <a:avLst/>
              </a:prstGeom>
              <a:noFill/>
              <a:ln w="76200" cap="flat" cmpd="sng">
                <a:solidFill>
                  <a:schemeClr val="accent4"/>
                </a:solidFill>
                <a:prstDash val="solid"/>
                <a:round/>
                <a:headEnd type="none" w="sm" len="sm"/>
                <a:tailEnd type="none" w="sm" len="sm"/>
              </a:ln>
            </p:spPr>
          </p:cxnSp>
          <p:cxnSp>
            <p:nvCxnSpPr>
              <p:cNvPr id="1227" name="Google Shape;1227;g7826bb8c5e_0_2771"/>
              <p:cNvCxnSpPr/>
              <p:nvPr/>
            </p:nvCxnSpPr>
            <p:spPr>
              <a:xfrm>
                <a:off x="5385798" y="1656399"/>
                <a:ext cx="4651200" cy="15900"/>
              </a:xfrm>
              <a:prstGeom prst="straightConnector1">
                <a:avLst/>
              </a:prstGeom>
              <a:noFill/>
              <a:ln w="76200" cap="flat" cmpd="sng">
                <a:solidFill>
                  <a:srgbClr val="CCCCCC"/>
                </a:solidFill>
                <a:prstDash val="solid"/>
                <a:round/>
                <a:headEnd type="none" w="sm" len="sm"/>
                <a:tailEnd type="none" w="sm" len="sm"/>
              </a:ln>
            </p:spPr>
          </p:cxnSp>
        </p:grpSp>
        <p:sp>
          <p:nvSpPr>
            <p:cNvPr id="1228" name="Google Shape;1228;g7826bb8c5e_0_2771"/>
            <p:cNvSpPr/>
            <p:nvPr/>
          </p:nvSpPr>
          <p:spPr>
            <a:xfrm>
              <a:off x="508100" y="2035875"/>
              <a:ext cx="1390500" cy="4225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229" name="Google Shape;1229;g7826bb8c5e_0_2771"/>
            <p:cNvSpPr/>
            <p:nvPr/>
          </p:nvSpPr>
          <p:spPr>
            <a:xfrm>
              <a:off x="2132113" y="5255000"/>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230" name="Google Shape;1230;g7826bb8c5e_0_2771"/>
            <p:cNvSpPr/>
            <p:nvPr/>
          </p:nvSpPr>
          <p:spPr>
            <a:xfrm>
              <a:off x="2132113" y="3108917"/>
              <a:ext cx="3766200" cy="1006500"/>
            </a:xfrm>
            <a:prstGeom prst="rect">
              <a:avLst/>
            </a:prstGeom>
            <a:solidFill>
              <a:srgbClr val="E3F3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231" name="Google Shape;1231;g7826bb8c5e_0_2771"/>
            <p:cNvSpPr/>
            <p:nvPr/>
          </p:nvSpPr>
          <p:spPr>
            <a:xfrm>
              <a:off x="2132113" y="4181958"/>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232" name="Google Shape;1232;g7826bb8c5e_0_2771"/>
            <p:cNvSpPr/>
            <p:nvPr/>
          </p:nvSpPr>
          <p:spPr>
            <a:xfrm>
              <a:off x="6343925" y="2035875"/>
              <a:ext cx="5396400" cy="13503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233" name="Google Shape;1233;g7826bb8c5e_0_2771"/>
            <p:cNvSpPr/>
            <p:nvPr/>
          </p:nvSpPr>
          <p:spPr>
            <a:xfrm>
              <a:off x="6350100" y="3481700"/>
              <a:ext cx="5396400" cy="13521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234" name="Google Shape;1234;g7826bb8c5e_0_2771"/>
            <p:cNvSpPr/>
            <p:nvPr/>
          </p:nvSpPr>
          <p:spPr>
            <a:xfrm>
              <a:off x="6343925" y="4945700"/>
              <a:ext cx="5396400" cy="13158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235" name="Google Shape;1235;g7826bb8c5e_0_2771"/>
            <p:cNvSpPr/>
            <p:nvPr/>
          </p:nvSpPr>
          <p:spPr>
            <a:xfrm>
              <a:off x="2132113" y="2035875"/>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grpSp>
      <p:sp>
        <p:nvSpPr>
          <p:cNvPr id="31" name="Trapecio 30">
            <a:extLst>
              <a:ext uri="{FF2B5EF4-FFF2-40B4-BE49-F238E27FC236}">
                <a16:creationId xmlns:a16="http://schemas.microsoft.com/office/drawing/2014/main" xmlns="" id="{712941C5-D7CE-A34D-8660-39D08B58ACC5}"/>
              </a:ext>
            </a:extLst>
          </p:cNvPr>
          <p:cNvSpPr/>
          <p:nvPr/>
        </p:nvSpPr>
        <p:spPr>
          <a:xfrm rot="5400000">
            <a:off x="-1535447" y="3204130"/>
            <a:ext cx="8043503" cy="4972609"/>
          </a:xfrm>
          <a:prstGeom prst="trapezoid">
            <a:avLst>
              <a:gd name="adj" fmla="val 27949"/>
            </a:avLst>
          </a:prstGeom>
          <a:solidFill>
            <a:schemeClr val="accent4">
              <a:lumMod val="20000"/>
              <a:lumOff val="80000"/>
            </a:schemeClr>
          </a:solidFill>
          <a:ln w="69850">
            <a:noFill/>
          </a:ln>
        </p:spPr>
        <p:style>
          <a:lnRef idx="2">
            <a:schemeClr val="accent1">
              <a:shade val="50000"/>
            </a:schemeClr>
          </a:lnRef>
          <a:fillRef idx="1">
            <a:schemeClr val="accent1"/>
          </a:fillRef>
          <a:effectRef idx="0">
            <a:schemeClr val="accent1"/>
          </a:effectRef>
          <a:fontRef idx="minor">
            <a:schemeClr val="lt1"/>
          </a:fontRef>
        </p:style>
        <p:txBody>
          <a:bodyPr vert="vert270" lIns="95951" tIns="95951" rIns="95951" bIns="95951" rtlCol="0" anchor="ctr"/>
          <a:lstStyle/>
          <a:p>
            <a:pPr algn="ctr"/>
            <a:endParaRPr lang="es-ES" sz="2397" dirty="0">
              <a:solidFill>
                <a:schemeClr val="tx1"/>
              </a:solidFill>
            </a:endParaRPr>
          </a:p>
        </p:txBody>
      </p:sp>
      <p:sp>
        <p:nvSpPr>
          <p:cNvPr id="32" name="Rectángulo 31">
            <a:extLst>
              <a:ext uri="{FF2B5EF4-FFF2-40B4-BE49-F238E27FC236}">
                <a16:creationId xmlns:a16="http://schemas.microsoft.com/office/drawing/2014/main" xmlns="" id="{A310D8B6-E64D-F74D-AD41-5B7A1B64FE03}"/>
              </a:ext>
            </a:extLst>
          </p:cNvPr>
          <p:cNvSpPr/>
          <p:nvPr/>
        </p:nvSpPr>
        <p:spPr>
          <a:xfrm>
            <a:off x="456288" y="3227120"/>
            <a:ext cx="4391575" cy="184666"/>
          </a:xfrm>
          <a:prstGeom prst="rect">
            <a:avLst/>
          </a:prstGeom>
        </p:spPr>
        <p:txBody>
          <a:bodyPr wrap="square" lIns="0" tIns="0" rIns="0" bIns="0">
            <a:spAutoFit/>
          </a:bodyPr>
          <a:lstStyle/>
          <a:p>
            <a:pPr marL="82549" indent="-179384">
              <a:spcBef>
                <a:spcPts val="600"/>
              </a:spcBef>
              <a:buFont typeface="Wingdings" panose="05000000000000000000" pitchFamily="2" charset="2"/>
              <a:buChar char="§"/>
            </a:pPr>
            <a:endParaRPr lang="es-ES" sz="1200" dirty="0">
              <a:ea typeface="Hiragino Kaku Gothic ProN W3" panose="020B0300000000000000" pitchFamily="34" charset="-128"/>
            </a:endParaRPr>
          </a:p>
        </p:txBody>
      </p:sp>
      <p:pic>
        <p:nvPicPr>
          <p:cNvPr id="33" name="Imagen 32">
            <a:extLst>
              <a:ext uri="{FF2B5EF4-FFF2-40B4-BE49-F238E27FC236}">
                <a16:creationId xmlns:a16="http://schemas.microsoft.com/office/drawing/2014/main" xmlns="" id="{F0FC23BE-78A9-FC41-8D53-7650C93A03C8}"/>
              </a:ext>
            </a:extLst>
          </p:cNvPr>
          <p:cNvPicPr>
            <a:picLocks noChangeAspect="1"/>
          </p:cNvPicPr>
          <p:nvPr/>
        </p:nvPicPr>
        <p:blipFill>
          <a:blip r:embed="rId3"/>
          <a:stretch>
            <a:fillRect/>
          </a:stretch>
        </p:blipFill>
        <p:spPr>
          <a:xfrm>
            <a:off x="594972" y="2558850"/>
            <a:ext cx="379516" cy="373794"/>
          </a:xfrm>
          <a:prstGeom prst="rect">
            <a:avLst/>
          </a:prstGeom>
        </p:spPr>
      </p:pic>
      <p:sp>
        <p:nvSpPr>
          <p:cNvPr id="34" name="Rectángulo 33">
            <a:extLst>
              <a:ext uri="{FF2B5EF4-FFF2-40B4-BE49-F238E27FC236}">
                <a16:creationId xmlns:a16="http://schemas.microsoft.com/office/drawing/2014/main" xmlns="" id="{DD40FCFB-D076-AF4D-937C-B2AAB733B593}"/>
              </a:ext>
            </a:extLst>
          </p:cNvPr>
          <p:cNvSpPr/>
          <p:nvPr/>
        </p:nvSpPr>
        <p:spPr>
          <a:xfrm>
            <a:off x="1103447" y="2607248"/>
            <a:ext cx="4103644" cy="215444"/>
          </a:xfrm>
          <a:prstGeom prst="rect">
            <a:avLst/>
          </a:prstGeom>
        </p:spPr>
        <p:txBody>
          <a:bodyPr wrap="square" lIns="0" tIns="0" rIns="0" bIns="0">
            <a:spAutoFit/>
          </a:bodyPr>
          <a:lstStyle/>
          <a:p>
            <a:pPr>
              <a:spcAft>
                <a:spcPts val="599"/>
              </a:spcAft>
            </a:pPr>
            <a:r>
              <a:rPr lang="es-ES" dirty="0">
                <a:latin typeface="Playfair Display" panose="00000500000000000000" pitchFamily="2" charset="0"/>
                <a:ea typeface="Hiragino Kaku Gothic ProN W3" panose="020B0300000000000000" pitchFamily="34" charset="-128"/>
              </a:rPr>
              <a:t>Security </a:t>
            </a:r>
            <a:r>
              <a:rPr lang="es-ES" dirty="0" err="1">
                <a:latin typeface="Playfair Display" panose="00000500000000000000" pitchFamily="2" charset="0"/>
                <a:ea typeface="Hiragino Kaku Gothic ProN W3" panose="020B0300000000000000" pitchFamily="34" charset="-128"/>
              </a:rPr>
              <a:t>by</a:t>
            </a:r>
            <a:r>
              <a:rPr lang="es-ES" dirty="0">
                <a:latin typeface="Playfair Display" panose="00000500000000000000" pitchFamily="2" charset="0"/>
                <a:ea typeface="Hiragino Kaku Gothic ProN W3" panose="020B0300000000000000" pitchFamily="34" charset="-128"/>
              </a:rPr>
              <a:t> </a:t>
            </a:r>
            <a:r>
              <a:rPr lang="es-ES" dirty="0" err="1">
                <a:latin typeface="Playfair Display" panose="00000500000000000000" pitchFamily="2" charset="0"/>
                <a:ea typeface="Hiragino Kaku Gothic ProN W3" panose="020B0300000000000000" pitchFamily="34" charset="-128"/>
              </a:rPr>
              <a:t>design</a:t>
            </a:r>
            <a:endParaRPr lang="es-ES" dirty="0">
              <a:latin typeface="Playfair Display" panose="00000500000000000000" pitchFamily="2" charset="0"/>
              <a:ea typeface="Hiragino Kaku Gothic ProN W3" panose="020B0300000000000000" pitchFamily="34" charset="-128"/>
            </a:endParaRPr>
          </a:p>
        </p:txBody>
      </p:sp>
      <p:sp>
        <p:nvSpPr>
          <p:cNvPr id="35" name="Rectángulo 34">
            <a:extLst>
              <a:ext uri="{FF2B5EF4-FFF2-40B4-BE49-F238E27FC236}">
                <a16:creationId xmlns:a16="http://schemas.microsoft.com/office/drawing/2014/main" xmlns="" id="{CBF8FBF4-B289-C947-90BA-0CE7AE111DCB}"/>
              </a:ext>
            </a:extLst>
          </p:cNvPr>
          <p:cNvSpPr/>
          <p:nvPr/>
        </p:nvSpPr>
        <p:spPr>
          <a:xfrm>
            <a:off x="5825829" y="2154206"/>
            <a:ext cx="5399411" cy="553998"/>
          </a:xfrm>
          <a:prstGeom prst="rect">
            <a:avLst/>
          </a:prstGeom>
        </p:spPr>
        <p:txBody>
          <a:bodyPr wrap="square" lIns="0" tIns="0" rIns="0" bIns="0">
            <a:spAutoFit/>
          </a:bodyPr>
          <a:lstStyle/>
          <a:p>
            <a:pPr>
              <a:spcBef>
                <a:spcPts val="600"/>
              </a:spcBef>
            </a:pPr>
            <a:r>
              <a:rPr lang="es-ES" sz="1200" dirty="0" smtClean="0">
                <a:latin typeface="+mj-lt"/>
                <a:ea typeface="Hiragino Kaku Gothic ProN W3" panose="020B0300000000000000" pitchFamily="34" charset="-128"/>
                <a:cs typeface="Calibri Light" panose="020F0302020204030204" pitchFamily="34" charset="0"/>
              </a:rPr>
              <a:t>Minsait aplicará la metodología de trabajo en seguridad propia del desarrollo de sus productos propios bajo la marca </a:t>
            </a:r>
            <a:r>
              <a:rPr lang="es-ES" sz="1200" dirty="0" err="1" smtClean="0">
                <a:latin typeface="+mj-lt"/>
                <a:ea typeface="Hiragino Kaku Gothic ProN W3" panose="020B0300000000000000" pitchFamily="34" charset="-128"/>
                <a:cs typeface="Calibri Light" panose="020F0302020204030204" pitchFamily="34" charset="0"/>
              </a:rPr>
              <a:t>Onesait</a:t>
            </a:r>
            <a:r>
              <a:rPr lang="es-ES" sz="1200" dirty="0" smtClean="0">
                <a:latin typeface="+mj-lt"/>
                <a:ea typeface="Hiragino Kaku Gothic ProN W3" panose="020B0300000000000000" pitchFamily="34" charset="-128"/>
                <a:cs typeface="Calibri Light" panose="020F0302020204030204" pitchFamily="34" charset="0"/>
              </a:rPr>
              <a:t>, considerando actividades en todas las fases del ciclo de vida del desarrollo hasta la entrega del producto.</a:t>
            </a:r>
            <a:endParaRPr lang="es-ES" sz="1200" dirty="0">
              <a:latin typeface="+mj-lt"/>
              <a:ea typeface="Hiragino Kaku Gothic ProN W3" panose="020B0300000000000000" pitchFamily="34" charset="-128"/>
              <a:cs typeface="Calibri Light" panose="020F0302020204030204" pitchFamily="34" charset="0"/>
            </a:endParaRPr>
          </a:p>
        </p:txBody>
      </p:sp>
      <p:sp>
        <p:nvSpPr>
          <p:cNvPr id="36" name="Rectángulo 35">
            <a:extLst>
              <a:ext uri="{FF2B5EF4-FFF2-40B4-BE49-F238E27FC236}">
                <a16:creationId xmlns:a16="http://schemas.microsoft.com/office/drawing/2014/main" xmlns="" id="{B24EA96E-65F1-F845-9038-9F1DC8243244}"/>
              </a:ext>
            </a:extLst>
          </p:cNvPr>
          <p:cNvSpPr/>
          <p:nvPr/>
        </p:nvSpPr>
        <p:spPr>
          <a:xfrm>
            <a:off x="5825829" y="1666851"/>
            <a:ext cx="5735960" cy="215444"/>
          </a:xfrm>
          <a:prstGeom prst="rect">
            <a:avLst/>
          </a:prstGeom>
        </p:spPr>
        <p:txBody>
          <a:bodyPr wrap="square" lIns="0" tIns="0" rIns="0" bIns="0">
            <a:spAutoFit/>
          </a:bodyPr>
          <a:lstStyle/>
          <a:p>
            <a:pPr>
              <a:spcAft>
                <a:spcPts val="599"/>
              </a:spcAft>
            </a:pPr>
            <a:r>
              <a:rPr lang="es-ES" dirty="0" smtClean="0">
                <a:latin typeface="Playfair Display" panose="00000500000000000000" pitchFamily="2" charset="0"/>
                <a:ea typeface="Hiragino Kaku Gothic ProN W3" panose="020B0300000000000000" pitchFamily="34" charset="-128"/>
              </a:rPr>
              <a:t>Metodología para desarrollo seguro de software</a:t>
            </a:r>
            <a:endParaRPr lang="es-ES" dirty="0">
              <a:latin typeface="Playfair Display" panose="00000500000000000000" pitchFamily="2" charset="0"/>
              <a:ea typeface="Hiragino Kaku Gothic ProN W3" panose="020B0300000000000000" pitchFamily="34" charset="-128"/>
            </a:endParaRPr>
          </a:p>
        </p:txBody>
      </p:sp>
      <p:sp>
        <p:nvSpPr>
          <p:cNvPr id="37" name="Rectángulo 36">
            <a:extLst>
              <a:ext uri="{FF2B5EF4-FFF2-40B4-BE49-F238E27FC236}">
                <a16:creationId xmlns:a16="http://schemas.microsoft.com/office/drawing/2014/main" xmlns="" id="{A7FE3972-EDB2-5F4B-9F59-C44BB0C84E47}"/>
              </a:ext>
            </a:extLst>
          </p:cNvPr>
          <p:cNvSpPr/>
          <p:nvPr/>
        </p:nvSpPr>
        <p:spPr>
          <a:xfrm>
            <a:off x="231779" y="3063442"/>
            <a:ext cx="4516320" cy="1938992"/>
          </a:xfrm>
          <a:prstGeom prst="rect">
            <a:avLst/>
          </a:prstGeom>
        </p:spPr>
        <p:txBody>
          <a:bodyPr wrap="square" lIns="0" tIns="0" rIns="0" bIns="0">
            <a:spAutoFit/>
          </a:bodyPr>
          <a:lstStyle/>
          <a:p>
            <a:pPr marL="285750" indent="-285750" algn="just">
              <a:spcBef>
                <a:spcPts val="600"/>
              </a:spcBef>
              <a:buFont typeface="Wingdings" pitchFamily="2" charset="2"/>
              <a:buChar char="§"/>
            </a:pPr>
            <a:r>
              <a:rPr lang="es-ES" sz="1200" dirty="0">
                <a:latin typeface="+mj-lt"/>
                <a:ea typeface="Calibri" panose="020F0502020204030204" pitchFamily="34" charset="0"/>
                <a:cs typeface="Calibri Light" panose="020F0302020204030204" pitchFamily="34" charset="0"/>
              </a:rPr>
              <a:t>Asegurar que el producto o solución se concibe seguro desde el diseño:</a:t>
            </a:r>
          </a:p>
          <a:p>
            <a:pPr marL="628650" lvl="1" indent="-171450" algn="just">
              <a:spcBef>
                <a:spcPts val="600"/>
              </a:spcBef>
              <a:buFont typeface="Wingdings" pitchFamily="2" charset="2"/>
              <a:buChar char="§"/>
            </a:pPr>
            <a:r>
              <a:rPr lang="es-ES" sz="1200" dirty="0">
                <a:latin typeface="+mj-lt"/>
                <a:ea typeface="Calibri" panose="020F0502020204030204" pitchFamily="34" charset="0"/>
                <a:cs typeface="Calibri Light" panose="020F0302020204030204" pitchFamily="34" charset="0"/>
              </a:rPr>
              <a:t>Minimizando la superficie de ataque</a:t>
            </a:r>
          </a:p>
          <a:p>
            <a:pPr marL="628650" lvl="1" indent="-171450" algn="just">
              <a:spcBef>
                <a:spcPts val="600"/>
              </a:spcBef>
              <a:buFont typeface="Wingdings" pitchFamily="2" charset="2"/>
              <a:buChar char="§"/>
            </a:pPr>
            <a:r>
              <a:rPr lang="es-ES" sz="1200" dirty="0">
                <a:latin typeface="+mj-lt"/>
                <a:ea typeface="Calibri" panose="020F0502020204030204" pitchFamily="34" charset="0"/>
                <a:cs typeface="Calibri Light" panose="020F0302020204030204" pitchFamily="34" charset="0"/>
              </a:rPr>
              <a:t>Estableciendo los principios de seguridad por defecto</a:t>
            </a:r>
          </a:p>
          <a:p>
            <a:pPr marL="628650" lvl="1" indent="-171450" algn="just">
              <a:spcBef>
                <a:spcPts val="600"/>
              </a:spcBef>
              <a:buFont typeface="Wingdings" pitchFamily="2" charset="2"/>
              <a:buChar char="§"/>
            </a:pPr>
            <a:r>
              <a:rPr lang="es-ES" sz="1200" dirty="0">
                <a:latin typeface="+mj-lt"/>
                <a:ea typeface="Calibri" panose="020F0502020204030204" pitchFamily="34" charset="0"/>
                <a:cs typeface="Calibri Light" panose="020F0302020204030204" pitchFamily="34" charset="0"/>
              </a:rPr>
              <a:t>Con el principio de mínimo privilegio</a:t>
            </a:r>
          </a:p>
          <a:p>
            <a:pPr marL="628650" lvl="1" indent="-171450" algn="just">
              <a:spcBef>
                <a:spcPts val="600"/>
              </a:spcBef>
              <a:buFont typeface="Wingdings" pitchFamily="2" charset="2"/>
              <a:buChar char="§"/>
            </a:pPr>
            <a:r>
              <a:rPr lang="es-ES" sz="1200" dirty="0">
                <a:latin typeface="+mj-lt"/>
                <a:ea typeface="Calibri" panose="020F0502020204030204" pitchFamily="34" charset="0"/>
                <a:cs typeface="Calibri Light" panose="020F0302020204030204" pitchFamily="34" charset="0"/>
              </a:rPr>
              <a:t>De defensa en profundidad</a:t>
            </a:r>
          </a:p>
          <a:p>
            <a:pPr marL="628650" lvl="1" indent="-171450" algn="just">
              <a:spcBef>
                <a:spcPts val="600"/>
              </a:spcBef>
              <a:buFont typeface="Wingdings" pitchFamily="2" charset="2"/>
              <a:buChar char="§"/>
            </a:pPr>
            <a:r>
              <a:rPr lang="es-ES" sz="1200" dirty="0">
                <a:latin typeface="+mj-lt"/>
                <a:ea typeface="Calibri" panose="020F0502020204030204" pitchFamily="34" charset="0"/>
                <a:cs typeface="Calibri Light" panose="020F0302020204030204" pitchFamily="34" charset="0"/>
              </a:rPr>
              <a:t>De separación de </a:t>
            </a:r>
            <a:r>
              <a:rPr lang="es-ES" sz="1200" dirty="0" smtClean="0">
                <a:latin typeface="+mj-lt"/>
                <a:ea typeface="Calibri" panose="020F0502020204030204" pitchFamily="34" charset="0"/>
                <a:cs typeface="Calibri Light" panose="020F0302020204030204" pitchFamily="34" charset="0"/>
              </a:rPr>
              <a:t>responsabilidades</a:t>
            </a:r>
            <a:endParaRPr lang="es-ES" sz="1200" dirty="0">
              <a:latin typeface="+mj-lt"/>
              <a:ea typeface="Calibri" panose="020F0502020204030204" pitchFamily="34" charset="0"/>
              <a:cs typeface="Calibri Light" panose="020F0302020204030204" pitchFamily="34" charset="0"/>
            </a:endParaRPr>
          </a:p>
          <a:p>
            <a:pPr marL="628650" lvl="1" indent="-171450" algn="just">
              <a:spcBef>
                <a:spcPts val="600"/>
              </a:spcBef>
              <a:buFont typeface="Wingdings" pitchFamily="2" charset="2"/>
              <a:buChar char="§"/>
            </a:pPr>
            <a:r>
              <a:rPr lang="es-ES" sz="1200" dirty="0">
                <a:latin typeface="+mj-lt"/>
                <a:ea typeface="Calibri" panose="020F0502020204030204" pitchFamily="34" charset="0"/>
                <a:cs typeface="Calibri Light" panose="020F0302020204030204" pitchFamily="34" charset="0"/>
              </a:rPr>
              <a:t>Y manteniendo la seguridad lo más simple </a:t>
            </a:r>
            <a:r>
              <a:rPr lang="es-ES" sz="1200" dirty="0" smtClean="0">
                <a:latin typeface="+mj-lt"/>
                <a:ea typeface="Calibri" panose="020F0502020204030204" pitchFamily="34" charset="0"/>
                <a:cs typeface="Calibri Light" panose="020F0302020204030204" pitchFamily="34" charset="0"/>
              </a:rPr>
              <a:t>posible</a:t>
            </a:r>
            <a:endParaRPr lang="es-ES" sz="1200" dirty="0">
              <a:latin typeface="+mj-lt"/>
              <a:ea typeface="Calibri" panose="020F0502020204030204" pitchFamily="34" charset="0"/>
              <a:cs typeface="Calibri Light" panose="020F0302020204030204" pitchFamily="34" charset="0"/>
            </a:endParaRPr>
          </a:p>
        </p:txBody>
      </p:sp>
      <p:graphicFrame>
        <p:nvGraphicFramePr>
          <p:cNvPr id="38" name="Diagrama 37">
            <a:extLst>
              <a:ext uri="{FF2B5EF4-FFF2-40B4-BE49-F238E27FC236}">
                <a16:creationId xmlns:a16="http://schemas.microsoft.com/office/drawing/2014/main" xmlns="" id="{3598CE9F-AEE3-C344-8CCA-6EB03422CD1F}"/>
              </a:ext>
            </a:extLst>
          </p:cNvPr>
          <p:cNvGraphicFramePr/>
          <p:nvPr>
            <p:extLst>
              <p:ext uri="{D42A27DB-BD31-4B8C-83A1-F6EECF244321}">
                <p14:modId xmlns:p14="http://schemas.microsoft.com/office/powerpoint/2010/main" val="2370819373"/>
              </p:ext>
            </p:extLst>
          </p:nvPr>
        </p:nvGraphicFramePr>
        <p:xfrm>
          <a:off x="5625034" y="3063442"/>
          <a:ext cx="5936755" cy="251832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9" name="Rectángulo 38"/>
          <p:cNvSpPr/>
          <p:nvPr/>
        </p:nvSpPr>
        <p:spPr>
          <a:xfrm>
            <a:off x="-383177" y="5859097"/>
            <a:ext cx="12575177" cy="1062645"/>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s-ES" sz="1800" dirty="0">
                <a:solidFill>
                  <a:schemeClr val="bg1"/>
                </a:solidFill>
                <a:latin typeface="Playfair Display" panose="00000500000000000000" pitchFamily="2" charset="0"/>
              </a:rPr>
              <a:t>Objetivos: minimizar las posibilidades de un fallo de seguridad, </a:t>
            </a:r>
            <a:endParaRPr lang="es-ES" sz="1800" dirty="0" smtClean="0">
              <a:solidFill>
                <a:schemeClr val="bg1"/>
              </a:solidFill>
              <a:latin typeface="Playfair Display" panose="00000500000000000000" pitchFamily="2" charset="0"/>
            </a:endParaRPr>
          </a:p>
          <a:p>
            <a:pPr algn="ctr"/>
            <a:r>
              <a:rPr lang="es-ES" sz="1800" dirty="0" smtClean="0">
                <a:solidFill>
                  <a:schemeClr val="bg1"/>
                </a:solidFill>
                <a:latin typeface="Playfair Display" panose="00000500000000000000" pitchFamily="2" charset="0"/>
              </a:rPr>
              <a:t>garantizar </a:t>
            </a:r>
            <a:r>
              <a:rPr lang="es-ES" sz="1800" dirty="0">
                <a:solidFill>
                  <a:schemeClr val="bg1"/>
                </a:solidFill>
                <a:latin typeface="Playfair Display" panose="00000500000000000000" pitchFamily="2" charset="0"/>
              </a:rPr>
              <a:t>la confidencialidad, integridad y disponibilidad de la información </a:t>
            </a:r>
            <a:r>
              <a:rPr lang="es-ES" sz="1800" dirty="0" smtClean="0">
                <a:solidFill>
                  <a:schemeClr val="bg1"/>
                </a:solidFill>
                <a:latin typeface="Playfair Display" panose="00000500000000000000" pitchFamily="2" charset="0"/>
              </a:rPr>
              <a:t>tratada</a:t>
            </a:r>
            <a:endParaRPr lang="es-ES" sz="1800" dirty="0">
              <a:solidFill>
                <a:schemeClr val="bg1"/>
              </a:solidFill>
              <a:latin typeface="Playfair Display" panose="00000500000000000000" pitchFamily="2" charset="0"/>
            </a:endParaRPr>
          </a:p>
        </p:txBody>
      </p:sp>
    </p:spTree>
    <p:extLst>
      <p:ext uri="{BB962C8B-B14F-4D97-AF65-F5344CB8AC3E}">
        <p14:creationId xmlns:p14="http://schemas.microsoft.com/office/powerpoint/2010/main" val="168292889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239"/>
        <p:cNvGrpSpPr/>
        <p:nvPr/>
      </p:nvGrpSpPr>
      <p:grpSpPr>
        <a:xfrm>
          <a:off x="0" y="0"/>
          <a:ext cx="0" cy="0"/>
          <a:chOff x="0" y="0"/>
          <a:chExt cx="0" cy="0"/>
        </a:xfrm>
      </p:grpSpPr>
      <p:sp>
        <p:nvSpPr>
          <p:cNvPr id="1240" name="Google Shape;1240;g7826bb8c5e_0_3433"/>
          <p:cNvSpPr/>
          <p:nvPr/>
        </p:nvSpPr>
        <p:spPr>
          <a:xfrm>
            <a:off x="7521708" y="1483874"/>
            <a:ext cx="4305300" cy="3889200"/>
          </a:xfrm>
          <a:prstGeom prst="parallelogram">
            <a:avLst>
              <a:gd name="adj" fmla="val 19558"/>
            </a:avLst>
          </a:prstGeom>
          <a:solidFill>
            <a:srgbClr val="C8E7E0"/>
          </a:solidFill>
          <a:ln>
            <a:noFill/>
          </a:ln>
        </p:spPr>
        <p:txBody>
          <a:bodyPr spcFirstLastPara="1" wrap="square" lIns="91425" tIns="45700" rIns="91425" bIns="45700" anchor="ctr" anchorCtr="0">
            <a:noAutofit/>
          </a:bodyPr>
          <a:lstStyle/>
          <a:p>
            <a:pPr marL="355600" marR="0" lvl="0" indent="0" algn="ctr" rtl="0">
              <a:lnSpc>
                <a:spcPct val="100000"/>
              </a:lnSpc>
              <a:spcBef>
                <a:spcPts val="0"/>
              </a:spcBef>
              <a:spcAft>
                <a:spcPts val="0"/>
              </a:spcAft>
              <a:buClr>
                <a:srgbClr val="000000"/>
              </a:buClr>
              <a:buSzPts val="1799"/>
              <a:buFont typeface="Arial"/>
              <a:buNone/>
            </a:pPr>
            <a:r>
              <a:rPr lang="es-ES" sz="1799" b="0" i="0" u="none" strike="noStrike" cap="none">
                <a:solidFill>
                  <a:srgbClr val="1A3B47"/>
                </a:solidFill>
                <a:latin typeface="Playfair Display"/>
                <a:ea typeface="Playfair Display"/>
                <a:cs typeface="Playfair Display"/>
                <a:sym typeface="Playfair Display"/>
              </a:rPr>
              <a:t>¿Qué entregables se generan?</a:t>
            </a:r>
            <a:endParaRPr sz="1400" b="0" i="0" u="none" strike="noStrike" cap="none">
              <a:solidFill>
                <a:srgbClr val="000000"/>
              </a:solidFill>
              <a:latin typeface="Arial"/>
              <a:ea typeface="Arial"/>
              <a:cs typeface="Arial"/>
              <a:sym typeface="Arial"/>
            </a:endParaRPr>
          </a:p>
          <a:p>
            <a:pPr marL="355600" marR="0" lvl="0" indent="-185737" algn="l" rtl="0">
              <a:lnSpc>
                <a:spcPct val="100000"/>
              </a:lnSpc>
              <a:spcBef>
                <a:spcPts val="600"/>
              </a:spcBef>
              <a:spcAft>
                <a:spcPts val="0"/>
              </a:spcAft>
              <a:buClr>
                <a:srgbClr val="1A3B47"/>
              </a:buClr>
              <a:buSzPts val="1050"/>
              <a:buFont typeface="Helvetica Neue"/>
              <a:buChar char="•"/>
            </a:pPr>
            <a:r>
              <a:rPr lang="es-ES" sz="1050" b="1" i="0" u="none" strike="noStrike" cap="none">
                <a:solidFill>
                  <a:srgbClr val="1A3B47"/>
                </a:solidFill>
                <a:latin typeface="Helvetica Neue"/>
                <a:ea typeface="Helvetica Neue"/>
                <a:cs typeface="Helvetica Neue"/>
                <a:sym typeface="Helvetica Neue"/>
              </a:rPr>
              <a:t>Plan de pruebas.</a:t>
            </a:r>
            <a:r>
              <a:rPr lang="es-ES" sz="1050" b="0" i="0" u="none" strike="noStrike" cap="none">
                <a:solidFill>
                  <a:srgbClr val="1A3B47"/>
                </a:solidFill>
                <a:latin typeface="Helvetica Neue"/>
                <a:ea typeface="Helvetica Neue"/>
                <a:cs typeface="Helvetica Neue"/>
                <a:sym typeface="Helvetica Neue"/>
              </a:rPr>
              <a:t> Alcance y estrategia; relación y breve descripción de casos de prueba y entregables como parte de la ejecución del plan; criterios de las pruebas; planificación y roles. Soporte: Word, Excel, Power Point según preferencias de la Administración; Mantis o programa equivalente</a:t>
            </a:r>
            <a:endParaRPr sz="1050" b="0" i="0" u="none" strike="noStrike" cap="none">
              <a:solidFill>
                <a:srgbClr val="1A3B47"/>
              </a:solidFill>
              <a:latin typeface="Helvetica Neue"/>
              <a:ea typeface="Helvetica Neue"/>
              <a:cs typeface="Helvetica Neue"/>
              <a:sym typeface="Helvetica Neue"/>
            </a:endParaRPr>
          </a:p>
          <a:p>
            <a:pPr marL="355600" marR="0" lvl="0" indent="-185737" algn="l" rtl="0">
              <a:lnSpc>
                <a:spcPct val="100000"/>
              </a:lnSpc>
              <a:spcBef>
                <a:spcPts val="600"/>
              </a:spcBef>
              <a:spcAft>
                <a:spcPts val="0"/>
              </a:spcAft>
              <a:buClr>
                <a:srgbClr val="1A3B47"/>
              </a:buClr>
              <a:buSzPts val="1050"/>
              <a:buFont typeface="Helvetica Neue"/>
              <a:buChar char="•"/>
            </a:pPr>
            <a:r>
              <a:rPr lang="es-ES" sz="1050" b="1" i="0" u="none" strike="noStrike" cap="none">
                <a:solidFill>
                  <a:schemeClr val="dk1"/>
                </a:solidFill>
                <a:latin typeface="Helvetica Neue"/>
                <a:ea typeface="Helvetica Neue"/>
                <a:cs typeface="Helvetica Neue"/>
                <a:sym typeface="Helvetica Neue"/>
              </a:rPr>
              <a:t>Resultado del plan de pruebas</a:t>
            </a:r>
            <a:r>
              <a:rPr lang="es-ES" sz="1050" b="0" i="0" u="none" strike="noStrike" cap="none">
                <a:solidFill>
                  <a:schemeClr val="dk1"/>
                </a:solidFill>
                <a:latin typeface="Helvetica Neue"/>
                <a:ea typeface="Helvetica Neue"/>
                <a:cs typeface="Helvetica Neue"/>
                <a:sym typeface="Helvetica Neue"/>
              </a:rPr>
              <a:t>.</a:t>
            </a:r>
            <a:r>
              <a:rPr lang="es-ES" sz="1050" b="0" i="0" u="none" strike="noStrike" cap="none">
                <a:solidFill>
                  <a:srgbClr val="1A3B47"/>
                </a:solidFill>
                <a:latin typeface="Helvetica Neue"/>
                <a:ea typeface="Helvetica Neue"/>
                <a:cs typeface="Helvetica Neue"/>
                <a:sym typeface="Helvetica Neue"/>
              </a:rPr>
              <a:t> Informe de incidentes y resultados, incluyendo: metodología, casos completados, resultados por cada caso y evaluación</a:t>
            </a:r>
            <a:r>
              <a:rPr lang="es-ES" sz="1050" b="0" i="0" u="none" strike="noStrike" cap="none">
                <a:solidFill>
                  <a:schemeClr val="dk1"/>
                </a:solidFill>
                <a:latin typeface="Helvetica Neue"/>
                <a:ea typeface="Helvetica Neue"/>
                <a:cs typeface="Helvetica Neue"/>
                <a:sym typeface="Helvetica Neue"/>
              </a:rPr>
              <a:t>. Soporte: Word, Excel, Power Point según preferencias de la Administración; Mantis o programa equivalente</a:t>
            </a:r>
            <a:endParaRPr sz="1050" b="0" i="0" u="none" strike="noStrike" cap="none">
              <a:solidFill>
                <a:schemeClr val="dk1"/>
              </a:solidFill>
              <a:latin typeface="Helvetica Neue"/>
              <a:ea typeface="Helvetica Neue"/>
              <a:cs typeface="Helvetica Neue"/>
              <a:sym typeface="Helvetica Neue"/>
            </a:endParaRPr>
          </a:p>
          <a:p>
            <a:pPr marL="457200" marR="0" lvl="0" indent="0" algn="l" rtl="0">
              <a:lnSpc>
                <a:spcPct val="100000"/>
              </a:lnSpc>
              <a:spcBef>
                <a:spcPts val="600"/>
              </a:spcBef>
              <a:spcAft>
                <a:spcPts val="0"/>
              </a:spcAft>
              <a:buClr>
                <a:srgbClr val="000000"/>
              </a:buClr>
              <a:buSzPts val="1050"/>
              <a:buFont typeface="Arial"/>
              <a:buNone/>
            </a:pPr>
            <a:endParaRPr sz="1050" b="0" i="0" u="none" strike="noStrike" cap="none">
              <a:solidFill>
                <a:schemeClr val="dk1"/>
              </a:solidFill>
              <a:latin typeface="Helvetica Neue"/>
              <a:ea typeface="Helvetica Neue"/>
              <a:cs typeface="Helvetica Neue"/>
              <a:sym typeface="Helvetica Neue"/>
            </a:endParaRPr>
          </a:p>
        </p:txBody>
      </p:sp>
      <p:sp>
        <p:nvSpPr>
          <p:cNvPr id="1241" name="Google Shape;1241;g7826bb8c5e_0_3433"/>
          <p:cNvSpPr txBox="1"/>
          <p:nvPr/>
        </p:nvSpPr>
        <p:spPr>
          <a:xfrm>
            <a:off x="335998" y="649092"/>
            <a:ext cx="11232600" cy="7221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2400"/>
              <a:buFont typeface="Playfair Display"/>
              <a:buNone/>
            </a:pPr>
            <a:r>
              <a:rPr lang="es-ES" sz="2400" b="1" i="0" u="none" strike="noStrike" cap="none">
                <a:solidFill>
                  <a:schemeClr val="dk1"/>
                </a:solidFill>
                <a:latin typeface="Playfair Display"/>
                <a:ea typeface="Playfair Display"/>
                <a:cs typeface="Playfair Display"/>
                <a:sym typeface="Playfair Display"/>
              </a:rPr>
              <a:t>Pre-piloto: Testeo</a:t>
            </a:r>
            <a:r>
              <a:rPr lang="es-ES" sz="2400" b="0" i="0" u="none" strike="noStrike" cap="none">
                <a:solidFill>
                  <a:schemeClr val="dk1"/>
                </a:solidFill>
                <a:latin typeface="Playfair Display"/>
                <a:ea typeface="Playfair Display"/>
                <a:cs typeface="Playfair Display"/>
                <a:sym typeface="Playfair Display"/>
              </a:rPr>
              <a:t>. Ejecución de pruebas previas al pilotaje de la app</a:t>
            </a:r>
            <a:endParaRPr sz="2400" b="0" i="0" u="none" strike="noStrike" cap="none">
              <a:solidFill>
                <a:schemeClr val="dk1"/>
              </a:solidFill>
              <a:latin typeface="Playfair Display"/>
              <a:ea typeface="Playfair Display"/>
              <a:cs typeface="Playfair Display"/>
              <a:sym typeface="Playfair Display"/>
            </a:endParaRPr>
          </a:p>
        </p:txBody>
      </p:sp>
      <p:sp>
        <p:nvSpPr>
          <p:cNvPr id="1242" name="Google Shape;1242;g7826bb8c5e_0_3433"/>
          <p:cNvSpPr txBox="1">
            <a:spLocks noGrp="1"/>
          </p:cNvSpPr>
          <p:nvPr>
            <p:ph type="body" idx="1"/>
          </p:nvPr>
        </p:nvSpPr>
        <p:spPr>
          <a:xfrm>
            <a:off x="336000" y="128400"/>
            <a:ext cx="11519400" cy="251400"/>
          </a:xfrm>
          <a:prstGeom prst="rect">
            <a:avLst/>
          </a:prstGeom>
          <a:noFill/>
          <a:ln>
            <a:noFill/>
          </a:ln>
        </p:spPr>
        <p:txBody>
          <a:bodyPr spcFirstLastPara="1" wrap="square" lIns="0" tIns="45700" rIns="91425" bIns="45700" anchor="t" anchorCtr="0">
            <a:noAutofit/>
          </a:bodyPr>
          <a:lstStyle/>
          <a:p>
            <a:pPr marL="0" lvl="0" indent="0" algn="l" rtl="0">
              <a:lnSpc>
                <a:spcPct val="90000"/>
              </a:lnSpc>
              <a:spcBef>
                <a:spcPts val="0"/>
              </a:spcBef>
              <a:spcAft>
                <a:spcPts val="0"/>
              </a:spcAft>
              <a:buClr>
                <a:srgbClr val="1A3B47"/>
              </a:buClr>
              <a:buSzPts val="1400"/>
              <a:buNone/>
            </a:pPr>
            <a:r>
              <a:rPr lang="es-ES" sz="1400">
                <a:latin typeface="Playfair Display"/>
                <a:ea typeface="Playfair Display"/>
                <a:cs typeface="Playfair Display"/>
                <a:sym typeface="Playfair Display"/>
              </a:rPr>
              <a:t>Covid-19 app - Alcance y enfoque del trabajo propuesto</a:t>
            </a:r>
            <a:endParaRPr/>
          </a:p>
        </p:txBody>
      </p:sp>
      <p:sp>
        <p:nvSpPr>
          <p:cNvPr id="1243" name="Google Shape;1243;g7826bb8c5e_0_3433"/>
          <p:cNvSpPr/>
          <p:nvPr/>
        </p:nvSpPr>
        <p:spPr>
          <a:xfrm>
            <a:off x="7596258" y="5074673"/>
            <a:ext cx="4116300" cy="1373700"/>
          </a:xfrm>
          <a:prstGeom prst="parallelogram">
            <a:avLst>
              <a:gd name="adj" fmla="val 25000"/>
            </a:avLst>
          </a:prstGeom>
          <a:solidFill>
            <a:srgbClr val="E2E2E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700"/>
              <a:buFont typeface="Arial"/>
              <a:buNone/>
            </a:pPr>
            <a:endParaRPr sz="1700" b="0" i="0" u="none" strike="noStrike" cap="none">
              <a:solidFill>
                <a:srgbClr val="FFFFFF"/>
              </a:solidFill>
              <a:latin typeface="Playfair Display"/>
              <a:ea typeface="Playfair Display"/>
              <a:cs typeface="Playfair Display"/>
              <a:sym typeface="Playfair Display"/>
            </a:endParaRPr>
          </a:p>
        </p:txBody>
      </p:sp>
      <p:grpSp>
        <p:nvGrpSpPr>
          <p:cNvPr id="1244" name="Google Shape;1244;g7826bb8c5e_0_3433"/>
          <p:cNvGrpSpPr/>
          <p:nvPr/>
        </p:nvGrpSpPr>
        <p:grpSpPr>
          <a:xfrm>
            <a:off x="407381" y="2363271"/>
            <a:ext cx="3094512" cy="1626702"/>
            <a:chOff x="660126" y="1663894"/>
            <a:chExt cx="2881028" cy="1789354"/>
          </a:xfrm>
        </p:grpSpPr>
        <p:sp>
          <p:nvSpPr>
            <p:cNvPr id="1245" name="Google Shape;1245;g7826bb8c5e_0_3433"/>
            <p:cNvSpPr/>
            <p:nvPr/>
          </p:nvSpPr>
          <p:spPr>
            <a:xfrm>
              <a:off x="705554" y="1929848"/>
              <a:ext cx="2835600" cy="15234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050"/>
                <a:buFont typeface="Arial"/>
                <a:buNone/>
              </a:pPr>
              <a:endParaRPr sz="1050" b="0" i="0" u="none" strike="noStrike" cap="none">
                <a:solidFill>
                  <a:srgbClr val="1A3B47"/>
                </a:solidFill>
                <a:latin typeface="Helvetica Neue"/>
                <a:ea typeface="Helvetica Neue"/>
                <a:cs typeface="Helvetica Neue"/>
                <a:sym typeface="Helvetica Neue"/>
              </a:endParaRPr>
            </a:p>
            <a:p>
              <a:pPr marL="355600" marR="0" lvl="0" indent="-195262" algn="l" rtl="0">
                <a:lnSpc>
                  <a:spcPct val="100000"/>
                </a:lnSpc>
                <a:spcBef>
                  <a:spcPts val="0"/>
                </a:spcBef>
                <a:spcAft>
                  <a:spcPts val="0"/>
                </a:spcAft>
                <a:buClr>
                  <a:srgbClr val="1A3B47"/>
                </a:buClr>
                <a:buSzPts val="1200"/>
                <a:buFont typeface="Helvetica Neue"/>
                <a:buChar char="•"/>
              </a:pPr>
              <a:r>
                <a:rPr lang="es-ES" sz="1200" b="0" i="0" u="none" strike="noStrike" cap="none">
                  <a:solidFill>
                    <a:srgbClr val="1A3B47"/>
                  </a:solidFill>
                  <a:latin typeface="Helvetica Neue"/>
                  <a:ea typeface="Helvetica Neue"/>
                  <a:cs typeface="Helvetica Neue"/>
                  <a:sym typeface="Helvetica Neue"/>
                </a:rPr>
                <a:t>Asegurar el correcto funcionamiento de la app antes de su lanzamiento al público en modo piloto</a:t>
              </a:r>
              <a:endParaRPr sz="1200" b="0" i="0" u="none" strike="noStrike" cap="none">
                <a:solidFill>
                  <a:srgbClr val="1A3B47"/>
                </a:solidFill>
                <a:latin typeface="Helvetica Neue"/>
                <a:ea typeface="Helvetica Neue"/>
                <a:cs typeface="Helvetica Neue"/>
                <a:sym typeface="Helvetica Neue"/>
              </a:endParaRPr>
            </a:p>
            <a:p>
              <a:pPr marL="355600" marR="0" lvl="0" indent="-195262" algn="l" rtl="0">
                <a:lnSpc>
                  <a:spcPct val="100000"/>
                </a:lnSpc>
                <a:spcBef>
                  <a:spcPts val="0"/>
                </a:spcBef>
                <a:spcAft>
                  <a:spcPts val="0"/>
                </a:spcAft>
                <a:buClr>
                  <a:srgbClr val="1A3B47"/>
                </a:buClr>
                <a:buSzPts val="1200"/>
                <a:buFont typeface="Helvetica Neue"/>
                <a:buChar char="•"/>
              </a:pPr>
              <a:r>
                <a:rPr lang="es-ES" sz="1200" b="0" i="0" u="none" strike="noStrike" cap="none">
                  <a:solidFill>
                    <a:srgbClr val="1A3B47"/>
                  </a:solidFill>
                  <a:latin typeface="Helvetica Neue"/>
                  <a:ea typeface="Helvetica Neue"/>
                  <a:cs typeface="Helvetica Neue"/>
                  <a:sym typeface="Helvetica Neue"/>
                </a:rPr>
                <a:t>Detectar y depurar posibles errores funcionales, de usabilidad o de seguridad</a:t>
              </a:r>
              <a:endParaRPr sz="1200" b="0" i="0" u="none" strike="noStrike" cap="none">
                <a:solidFill>
                  <a:srgbClr val="1A3B47"/>
                </a:solidFill>
                <a:latin typeface="Helvetica Neue"/>
                <a:ea typeface="Helvetica Neue"/>
                <a:cs typeface="Helvetica Neue"/>
                <a:sym typeface="Helvetica Neue"/>
              </a:endParaRPr>
            </a:p>
          </p:txBody>
        </p:sp>
        <p:sp>
          <p:nvSpPr>
            <p:cNvPr id="1246" name="Google Shape;1246;g7826bb8c5e_0_3433"/>
            <p:cNvSpPr/>
            <p:nvPr/>
          </p:nvSpPr>
          <p:spPr>
            <a:xfrm>
              <a:off x="660126" y="1663894"/>
              <a:ext cx="2355900" cy="338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s-ES" sz="1600" b="0" i="0" u="none" strike="noStrike" cap="none">
                  <a:solidFill>
                    <a:srgbClr val="639FCB"/>
                  </a:solidFill>
                  <a:latin typeface="Playfair Display"/>
                  <a:ea typeface="Playfair Display"/>
                  <a:cs typeface="Playfair Display"/>
                  <a:sym typeface="Playfair Display"/>
                </a:rPr>
                <a:t>Objetivo</a:t>
              </a:r>
              <a:endParaRPr sz="1400" b="0" i="0" u="none" strike="noStrike" cap="none">
                <a:solidFill>
                  <a:srgbClr val="000000"/>
                </a:solidFill>
                <a:latin typeface="Arial"/>
                <a:ea typeface="Arial"/>
                <a:cs typeface="Arial"/>
                <a:sym typeface="Arial"/>
              </a:endParaRPr>
            </a:p>
          </p:txBody>
        </p:sp>
      </p:grpSp>
      <p:sp>
        <p:nvSpPr>
          <p:cNvPr id="1247" name="Google Shape;1247;g7826bb8c5e_0_3433"/>
          <p:cNvSpPr/>
          <p:nvPr/>
        </p:nvSpPr>
        <p:spPr>
          <a:xfrm>
            <a:off x="8522950" y="5320550"/>
            <a:ext cx="2985600" cy="1111200"/>
          </a:xfrm>
          <a:prstGeom prst="rect">
            <a:avLst/>
          </a:prstGeom>
          <a:noFill/>
          <a:ln>
            <a:noFill/>
          </a:ln>
        </p:spPr>
        <p:txBody>
          <a:bodyPr spcFirstLastPara="1" wrap="square" lIns="91425" tIns="45700" rIns="91425" bIns="45700" anchor="t" anchorCtr="0">
            <a:noAutofit/>
          </a:bodyPr>
          <a:lstStyle/>
          <a:p>
            <a:pPr marL="173037" marR="0" lvl="0" indent="0" algn="l" rtl="0">
              <a:lnSpc>
                <a:spcPct val="100000"/>
              </a:lnSpc>
              <a:spcBef>
                <a:spcPts val="0"/>
              </a:spcBef>
              <a:spcAft>
                <a:spcPts val="0"/>
              </a:spcAft>
              <a:buClr>
                <a:srgbClr val="000000"/>
              </a:buClr>
              <a:buSzPts val="1050"/>
              <a:buFont typeface="Arial"/>
              <a:buNone/>
            </a:pPr>
            <a:r>
              <a:rPr lang="es-ES" sz="1050" b="1" i="0" u="none" strike="noStrike" cap="none">
                <a:solidFill>
                  <a:srgbClr val="1A3B47"/>
                </a:solidFill>
                <a:latin typeface="Helvetica Neue"/>
                <a:ea typeface="Helvetica Neue"/>
                <a:cs typeface="Helvetica Neue"/>
                <a:sym typeface="Helvetica Neue"/>
              </a:rPr>
              <a:t>A tener en cuenta</a:t>
            </a:r>
            <a:endParaRPr sz="1050" b="1" i="0" u="none" strike="noStrike" cap="none">
              <a:solidFill>
                <a:srgbClr val="1A3B47"/>
              </a:solidFill>
              <a:latin typeface="Helvetica Neue"/>
              <a:ea typeface="Helvetica Neue"/>
              <a:cs typeface="Helvetica Neue"/>
              <a:sym typeface="Helvetica Neue"/>
            </a:endParaRPr>
          </a:p>
          <a:p>
            <a:pPr marL="173037" marR="0" lvl="0" indent="0" algn="l" rtl="0">
              <a:lnSpc>
                <a:spcPct val="100000"/>
              </a:lnSpc>
              <a:spcBef>
                <a:spcPts val="0"/>
              </a:spcBef>
              <a:spcAft>
                <a:spcPts val="0"/>
              </a:spcAft>
              <a:buClr>
                <a:srgbClr val="000000"/>
              </a:buClr>
              <a:buSzPts val="1050"/>
              <a:buFont typeface="Arial"/>
              <a:buNone/>
            </a:pPr>
            <a:r>
              <a:rPr lang="es-ES" sz="1050" b="0" i="0" u="none" strike="noStrike" cap="none">
                <a:solidFill>
                  <a:srgbClr val="1A3B47"/>
                </a:solidFill>
                <a:latin typeface="Helvetica Neue"/>
                <a:ea typeface="Helvetica Neue"/>
                <a:cs typeface="Helvetica Neue"/>
                <a:sym typeface="Helvetica Neue"/>
              </a:rPr>
              <a:t>Minsait pone a disposición de la Administración un equipo de testeo y panel de usuarios propio, si bien la inclusión de terceros actores refuerza la calidad del resultado</a:t>
            </a:r>
            <a:endParaRPr sz="1050" b="0" i="0" u="none" strike="noStrike" cap="none">
              <a:solidFill>
                <a:srgbClr val="1A3B47"/>
              </a:solidFill>
              <a:latin typeface="Helvetica Neue"/>
              <a:ea typeface="Helvetica Neue"/>
              <a:cs typeface="Helvetica Neue"/>
              <a:sym typeface="Helvetica Neue"/>
            </a:endParaRPr>
          </a:p>
        </p:txBody>
      </p:sp>
      <p:sp>
        <p:nvSpPr>
          <p:cNvPr id="1248" name="Google Shape;1248;g7826bb8c5e_0_3433"/>
          <p:cNvSpPr/>
          <p:nvPr/>
        </p:nvSpPr>
        <p:spPr>
          <a:xfrm>
            <a:off x="-312712" y="1484784"/>
            <a:ext cx="5976600" cy="657000"/>
          </a:xfrm>
          <a:prstGeom prst="parallelogram">
            <a:avLst>
              <a:gd name="adj" fmla="val 25000"/>
            </a:avLst>
          </a:prstGeom>
          <a:solidFill>
            <a:srgbClr val="C8E7E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799"/>
              <a:buFont typeface="Arial"/>
              <a:buNone/>
            </a:pPr>
            <a:r>
              <a:rPr lang="es-ES" sz="1799" b="0" i="0" u="none" strike="noStrike" cap="none">
                <a:solidFill>
                  <a:srgbClr val="1A3B47"/>
                </a:solidFill>
                <a:latin typeface="Playfair Display"/>
                <a:ea typeface="Playfair Display"/>
                <a:cs typeface="Playfair Display"/>
                <a:sym typeface="Playfair Display"/>
              </a:rPr>
              <a:t>¿En qué consiste este bloque?</a:t>
            </a:r>
            <a:endParaRPr sz="1400" b="0" i="0" u="none" strike="noStrike" cap="none">
              <a:solidFill>
                <a:srgbClr val="000000"/>
              </a:solidFill>
              <a:latin typeface="Arial"/>
              <a:ea typeface="Arial"/>
              <a:cs typeface="Arial"/>
              <a:sym typeface="Arial"/>
            </a:endParaRPr>
          </a:p>
        </p:txBody>
      </p:sp>
      <p:grpSp>
        <p:nvGrpSpPr>
          <p:cNvPr id="1252" name="Google Shape;1252;g7826bb8c5e_0_3433"/>
          <p:cNvGrpSpPr/>
          <p:nvPr/>
        </p:nvGrpSpPr>
        <p:grpSpPr>
          <a:xfrm>
            <a:off x="1625206" y="4298208"/>
            <a:ext cx="4941736" cy="1626690"/>
            <a:chOff x="660126" y="1663894"/>
            <a:chExt cx="2355900" cy="1789341"/>
          </a:xfrm>
        </p:grpSpPr>
        <p:sp>
          <p:nvSpPr>
            <p:cNvPr id="1253" name="Google Shape;1253;g7826bb8c5e_0_3433"/>
            <p:cNvSpPr/>
            <p:nvPr/>
          </p:nvSpPr>
          <p:spPr>
            <a:xfrm>
              <a:off x="705543" y="1929835"/>
              <a:ext cx="2299500" cy="15234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050"/>
                <a:buFont typeface="Arial"/>
                <a:buNone/>
              </a:pPr>
              <a:endParaRPr sz="1050" b="0" i="0" u="none" strike="noStrike" cap="none">
                <a:solidFill>
                  <a:srgbClr val="1A3B47"/>
                </a:solidFill>
                <a:latin typeface="Helvetica Neue"/>
                <a:ea typeface="Helvetica Neue"/>
                <a:cs typeface="Helvetica Neue"/>
                <a:sym typeface="Helvetica Neue"/>
              </a:endParaRPr>
            </a:p>
            <a:p>
              <a:pPr marL="355600" marR="0" lvl="0" indent="-195262" algn="l" rtl="0">
                <a:lnSpc>
                  <a:spcPct val="100000"/>
                </a:lnSpc>
                <a:spcBef>
                  <a:spcPts val="0"/>
                </a:spcBef>
                <a:spcAft>
                  <a:spcPts val="0"/>
                </a:spcAft>
                <a:buClr>
                  <a:srgbClr val="1A3B47"/>
                </a:buClr>
                <a:buSzPts val="1200"/>
                <a:buFont typeface="Helvetica Neue"/>
                <a:buChar char="•"/>
              </a:pPr>
              <a:r>
                <a:rPr lang="es-ES" sz="1200" b="0" i="0" u="none" strike="noStrike" cap="none">
                  <a:solidFill>
                    <a:srgbClr val="1A3B47"/>
                  </a:solidFill>
                  <a:latin typeface="Helvetica Neue"/>
                  <a:ea typeface="Helvetica Neue"/>
                  <a:cs typeface="Helvetica Neue"/>
                  <a:sym typeface="Helvetica Neue"/>
                </a:rPr>
                <a:t>Diseño y documentación del plan de pruebas</a:t>
              </a:r>
              <a:endParaRPr sz="1200" b="0" i="0" u="none" strike="noStrike" cap="none">
                <a:solidFill>
                  <a:srgbClr val="1A3B47"/>
                </a:solidFill>
                <a:latin typeface="Helvetica Neue"/>
                <a:ea typeface="Helvetica Neue"/>
                <a:cs typeface="Helvetica Neue"/>
                <a:sym typeface="Helvetica Neue"/>
              </a:endParaRPr>
            </a:p>
            <a:p>
              <a:pPr marL="355600" marR="0" lvl="0" indent="-195262" algn="l" rtl="0">
                <a:lnSpc>
                  <a:spcPct val="100000"/>
                </a:lnSpc>
                <a:spcBef>
                  <a:spcPts val="0"/>
                </a:spcBef>
                <a:spcAft>
                  <a:spcPts val="0"/>
                </a:spcAft>
                <a:buClr>
                  <a:srgbClr val="1A3B47"/>
                </a:buClr>
                <a:buSzPts val="1200"/>
                <a:buFont typeface="Helvetica Neue"/>
                <a:buChar char="•"/>
              </a:pPr>
              <a:r>
                <a:rPr lang="es-ES" sz="1200" b="0" i="0" u="none" strike="noStrike" cap="none">
                  <a:solidFill>
                    <a:srgbClr val="1A3B47"/>
                  </a:solidFill>
                  <a:latin typeface="Helvetica Neue"/>
                  <a:ea typeface="Helvetica Neue"/>
                  <a:cs typeface="Helvetica Neue"/>
                  <a:sym typeface="Helvetica Neue"/>
                </a:rPr>
                <a:t>Ejecución del plan de pruebas</a:t>
              </a:r>
              <a:endParaRPr sz="1200" b="0" i="0" u="none" strike="noStrike" cap="none">
                <a:solidFill>
                  <a:srgbClr val="1A3B47"/>
                </a:solidFill>
                <a:latin typeface="Helvetica Neue"/>
                <a:ea typeface="Helvetica Neue"/>
                <a:cs typeface="Helvetica Neue"/>
                <a:sym typeface="Helvetica Neue"/>
              </a:endParaRPr>
            </a:p>
            <a:p>
              <a:pPr marL="355600" marR="0" lvl="0" indent="-195262" algn="l" rtl="0">
                <a:lnSpc>
                  <a:spcPct val="100000"/>
                </a:lnSpc>
                <a:spcBef>
                  <a:spcPts val="0"/>
                </a:spcBef>
                <a:spcAft>
                  <a:spcPts val="0"/>
                </a:spcAft>
                <a:buClr>
                  <a:srgbClr val="1A3B47"/>
                </a:buClr>
                <a:buSzPts val="1200"/>
                <a:buFont typeface="Helvetica Neue"/>
                <a:buChar char="•"/>
              </a:pPr>
              <a:r>
                <a:rPr lang="es-ES" sz="1200" b="0" i="0" u="none" strike="noStrike" cap="none">
                  <a:solidFill>
                    <a:srgbClr val="1A3B47"/>
                  </a:solidFill>
                  <a:latin typeface="Helvetica Neue"/>
                  <a:ea typeface="Helvetica Neue"/>
                  <a:cs typeface="Helvetica Neue"/>
                  <a:sym typeface="Helvetica Neue"/>
                </a:rPr>
                <a:t>Depuración de errores</a:t>
              </a:r>
              <a:endParaRPr sz="1200" b="0" i="0" u="none" strike="noStrike" cap="none">
                <a:solidFill>
                  <a:srgbClr val="1A3B47"/>
                </a:solidFill>
                <a:latin typeface="Helvetica Neue"/>
                <a:ea typeface="Helvetica Neue"/>
                <a:cs typeface="Helvetica Neue"/>
                <a:sym typeface="Helvetica Neue"/>
              </a:endParaRPr>
            </a:p>
            <a:p>
              <a:pPr marL="355600" marR="0" lvl="0" indent="-195262" algn="l" rtl="0">
                <a:lnSpc>
                  <a:spcPct val="100000"/>
                </a:lnSpc>
                <a:spcBef>
                  <a:spcPts val="0"/>
                </a:spcBef>
                <a:spcAft>
                  <a:spcPts val="0"/>
                </a:spcAft>
                <a:buClr>
                  <a:srgbClr val="1A3B47"/>
                </a:buClr>
                <a:buSzPts val="1200"/>
                <a:buFont typeface="Helvetica Neue"/>
                <a:buChar char="•"/>
              </a:pPr>
              <a:r>
                <a:rPr lang="es-ES" sz="1200" b="0" i="0" u="none" strike="noStrike" cap="none">
                  <a:solidFill>
                    <a:srgbClr val="1A3B47"/>
                  </a:solidFill>
                  <a:latin typeface="Helvetica Neue"/>
                  <a:ea typeface="Helvetica Neue"/>
                  <a:cs typeface="Helvetica Neue"/>
                  <a:sym typeface="Helvetica Neue"/>
                </a:rPr>
                <a:t>Documentación del resultado de las pruebas</a:t>
              </a:r>
              <a:endParaRPr sz="1200" b="0" i="0" u="none" strike="noStrike" cap="none">
                <a:solidFill>
                  <a:srgbClr val="1A3B47"/>
                </a:solidFill>
                <a:latin typeface="Helvetica Neue"/>
                <a:ea typeface="Helvetica Neue"/>
                <a:cs typeface="Helvetica Neue"/>
                <a:sym typeface="Helvetica Neue"/>
              </a:endParaRPr>
            </a:p>
          </p:txBody>
        </p:sp>
        <p:sp>
          <p:nvSpPr>
            <p:cNvPr id="1254" name="Google Shape;1254;g7826bb8c5e_0_3433"/>
            <p:cNvSpPr/>
            <p:nvPr/>
          </p:nvSpPr>
          <p:spPr>
            <a:xfrm>
              <a:off x="660126" y="1663894"/>
              <a:ext cx="2355900" cy="338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s-ES" sz="1600" b="0" i="0" u="none" strike="noStrike" cap="none">
                  <a:solidFill>
                    <a:srgbClr val="639FCB"/>
                  </a:solidFill>
                  <a:latin typeface="Playfair Display"/>
                  <a:ea typeface="Playfair Display"/>
                  <a:cs typeface="Playfair Display"/>
                  <a:sym typeface="Playfair Display"/>
                </a:rPr>
                <a:t>Actividades</a:t>
              </a:r>
              <a:endParaRPr sz="1400" b="0" i="0" u="none" strike="noStrike" cap="none">
                <a:solidFill>
                  <a:srgbClr val="000000"/>
                </a:solidFill>
                <a:latin typeface="Arial"/>
                <a:ea typeface="Arial"/>
                <a:cs typeface="Arial"/>
                <a:sym typeface="Arial"/>
              </a:endParaRPr>
            </a:p>
          </p:txBody>
        </p:sp>
      </p:grpSp>
      <p:pic>
        <p:nvPicPr>
          <p:cNvPr id="1255" name="Google Shape;1255;g7826bb8c5e_0_3433"/>
          <p:cNvPicPr preferRelativeResize="0"/>
          <p:nvPr/>
        </p:nvPicPr>
        <p:blipFill rotWithShape="1">
          <a:blip r:embed="rId3">
            <a:alphaModFix/>
          </a:blip>
          <a:srcRect/>
          <a:stretch/>
        </p:blipFill>
        <p:spPr>
          <a:xfrm>
            <a:off x="7929943" y="5320548"/>
            <a:ext cx="722100" cy="722100"/>
          </a:xfrm>
          <a:prstGeom prst="ellipse">
            <a:avLst/>
          </a:prstGeom>
          <a:noFill/>
          <a:ln>
            <a:noFill/>
          </a:ln>
        </p:spPr>
      </p:pic>
      <p:grpSp>
        <p:nvGrpSpPr>
          <p:cNvPr id="1256" name="Google Shape;1256;g7826bb8c5e_0_3433"/>
          <p:cNvGrpSpPr/>
          <p:nvPr/>
        </p:nvGrpSpPr>
        <p:grpSpPr>
          <a:xfrm>
            <a:off x="10992330" y="88959"/>
            <a:ext cx="1104735" cy="536493"/>
            <a:chOff x="508100" y="1640544"/>
            <a:chExt cx="11238400" cy="4620956"/>
          </a:xfrm>
        </p:grpSpPr>
        <p:grpSp>
          <p:nvGrpSpPr>
            <p:cNvPr id="1257" name="Google Shape;1257;g7826bb8c5e_0_3433"/>
            <p:cNvGrpSpPr/>
            <p:nvPr/>
          </p:nvGrpSpPr>
          <p:grpSpPr>
            <a:xfrm>
              <a:off x="508106" y="1640544"/>
              <a:ext cx="11232175" cy="21551"/>
              <a:chOff x="431923" y="1640499"/>
              <a:chExt cx="9605075" cy="31800"/>
            </a:xfrm>
          </p:grpSpPr>
          <p:cxnSp>
            <p:nvCxnSpPr>
              <p:cNvPr id="1258" name="Google Shape;1258;g7826bb8c5e_0_3433"/>
              <p:cNvCxnSpPr/>
              <p:nvPr/>
            </p:nvCxnSpPr>
            <p:spPr>
              <a:xfrm>
                <a:off x="431923" y="1640499"/>
                <a:ext cx="4651200" cy="15900"/>
              </a:xfrm>
              <a:prstGeom prst="straightConnector1">
                <a:avLst/>
              </a:prstGeom>
              <a:noFill/>
              <a:ln w="76200" cap="flat" cmpd="sng">
                <a:solidFill>
                  <a:schemeClr val="accent4"/>
                </a:solidFill>
                <a:prstDash val="solid"/>
                <a:round/>
                <a:headEnd type="none" w="sm" len="sm"/>
                <a:tailEnd type="none" w="sm" len="sm"/>
              </a:ln>
            </p:spPr>
          </p:cxnSp>
          <p:cxnSp>
            <p:nvCxnSpPr>
              <p:cNvPr id="1259" name="Google Shape;1259;g7826bb8c5e_0_3433"/>
              <p:cNvCxnSpPr/>
              <p:nvPr/>
            </p:nvCxnSpPr>
            <p:spPr>
              <a:xfrm>
                <a:off x="5385798" y="1656399"/>
                <a:ext cx="4651200" cy="15900"/>
              </a:xfrm>
              <a:prstGeom prst="straightConnector1">
                <a:avLst/>
              </a:prstGeom>
              <a:noFill/>
              <a:ln w="76200" cap="flat" cmpd="sng">
                <a:solidFill>
                  <a:srgbClr val="CCCCCC"/>
                </a:solidFill>
                <a:prstDash val="solid"/>
                <a:round/>
                <a:headEnd type="none" w="sm" len="sm"/>
                <a:tailEnd type="none" w="sm" len="sm"/>
              </a:ln>
            </p:spPr>
          </p:cxnSp>
        </p:grpSp>
        <p:sp>
          <p:nvSpPr>
            <p:cNvPr id="1260" name="Google Shape;1260;g7826bb8c5e_0_3433"/>
            <p:cNvSpPr/>
            <p:nvPr/>
          </p:nvSpPr>
          <p:spPr>
            <a:xfrm>
              <a:off x="508100" y="2035875"/>
              <a:ext cx="1390500" cy="4225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261" name="Google Shape;1261;g7826bb8c5e_0_3433"/>
            <p:cNvSpPr/>
            <p:nvPr/>
          </p:nvSpPr>
          <p:spPr>
            <a:xfrm>
              <a:off x="2132113" y="5255000"/>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262" name="Google Shape;1262;g7826bb8c5e_0_3433"/>
            <p:cNvSpPr/>
            <p:nvPr/>
          </p:nvSpPr>
          <p:spPr>
            <a:xfrm>
              <a:off x="2132113" y="3108917"/>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263" name="Google Shape;1263;g7826bb8c5e_0_3433"/>
            <p:cNvSpPr/>
            <p:nvPr/>
          </p:nvSpPr>
          <p:spPr>
            <a:xfrm>
              <a:off x="2132113" y="4181958"/>
              <a:ext cx="3766200" cy="1006500"/>
            </a:xfrm>
            <a:prstGeom prst="rect">
              <a:avLst/>
            </a:prstGeom>
            <a:solidFill>
              <a:srgbClr val="E3F3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264" name="Google Shape;1264;g7826bb8c5e_0_3433"/>
            <p:cNvSpPr/>
            <p:nvPr/>
          </p:nvSpPr>
          <p:spPr>
            <a:xfrm>
              <a:off x="6343925" y="2035875"/>
              <a:ext cx="5396400" cy="13503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265" name="Google Shape;1265;g7826bb8c5e_0_3433"/>
            <p:cNvSpPr/>
            <p:nvPr/>
          </p:nvSpPr>
          <p:spPr>
            <a:xfrm>
              <a:off x="6350100" y="3481700"/>
              <a:ext cx="5396400" cy="13521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266" name="Google Shape;1266;g7826bb8c5e_0_3433"/>
            <p:cNvSpPr/>
            <p:nvPr/>
          </p:nvSpPr>
          <p:spPr>
            <a:xfrm>
              <a:off x="6343925" y="4945700"/>
              <a:ext cx="5396400" cy="13158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267" name="Google Shape;1267;g7826bb8c5e_0_3433"/>
            <p:cNvSpPr/>
            <p:nvPr/>
          </p:nvSpPr>
          <p:spPr>
            <a:xfrm>
              <a:off x="2132113" y="2035875"/>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gr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271"/>
        <p:cNvGrpSpPr/>
        <p:nvPr/>
      </p:nvGrpSpPr>
      <p:grpSpPr>
        <a:xfrm>
          <a:off x="0" y="0"/>
          <a:ext cx="0" cy="0"/>
          <a:chOff x="0" y="0"/>
          <a:chExt cx="0" cy="0"/>
        </a:xfrm>
      </p:grpSpPr>
      <p:sp>
        <p:nvSpPr>
          <p:cNvPr id="2" name="Marcador de texto 1"/>
          <p:cNvSpPr>
            <a:spLocks noGrp="1"/>
          </p:cNvSpPr>
          <p:nvPr>
            <p:ph type="body" idx="1"/>
          </p:nvPr>
        </p:nvSpPr>
        <p:spPr/>
        <p:txBody>
          <a:bodyPr/>
          <a:lstStyle/>
          <a:p>
            <a:endParaRPr lang="es-ES"/>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298"/>
        <p:cNvGrpSpPr/>
        <p:nvPr/>
      </p:nvGrpSpPr>
      <p:grpSpPr>
        <a:xfrm>
          <a:off x="0" y="0"/>
          <a:ext cx="0" cy="0"/>
          <a:chOff x="0" y="0"/>
          <a:chExt cx="0" cy="0"/>
        </a:xfrm>
      </p:grpSpPr>
      <p:sp>
        <p:nvSpPr>
          <p:cNvPr id="2" name="Marcador de texto 1"/>
          <p:cNvSpPr>
            <a:spLocks noGrp="1"/>
          </p:cNvSpPr>
          <p:nvPr>
            <p:ph type="body" idx="1"/>
          </p:nvPr>
        </p:nvSpPr>
        <p:spPr/>
        <p:txBody>
          <a:bodyPr/>
          <a:lstStyle/>
          <a:p>
            <a:endParaRPr lang="es-ES"/>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330"/>
        <p:cNvGrpSpPr/>
        <p:nvPr/>
      </p:nvGrpSpPr>
      <p:grpSpPr>
        <a:xfrm>
          <a:off x="0" y="0"/>
          <a:ext cx="0" cy="0"/>
          <a:chOff x="0" y="0"/>
          <a:chExt cx="0" cy="0"/>
        </a:xfrm>
      </p:grpSpPr>
      <p:sp>
        <p:nvSpPr>
          <p:cNvPr id="1331" name="Google Shape;1331;g7826bb8c5e_0_149"/>
          <p:cNvSpPr/>
          <p:nvPr/>
        </p:nvSpPr>
        <p:spPr>
          <a:xfrm>
            <a:off x="-113826" y="2448997"/>
            <a:ext cx="4881313" cy="4694026"/>
          </a:xfrm>
          <a:custGeom>
            <a:avLst/>
            <a:gdLst/>
            <a:ahLst/>
            <a:cxnLst/>
            <a:rect l="l" t="t" r="r" b="b"/>
            <a:pathLst>
              <a:path w="2173" h="963" extrusionOk="0">
                <a:moveTo>
                  <a:pt x="2173" y="963"/>
                </a:moveTo>
                <a:lnTo>
                  <a:pt x="2173" y="0"/>
                </a:lnTo>
                <a:lnTo>
                  <a:pt x="0" y="0"/>
                </a:lnTo>
              </a:path>
            </a:pathLst>
          </a:custGeom>
          <a:noFill/>
          <a:ln w="22225" cap="flat" cmpd="sng">
            <a:solidFill>
              <a:schemeClr val="accent4"/>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799"/>
              <a:buFont typeface="Arial"/>
              <a:buNone/>
            </a:pPr>
            <a:endParaRPr sz="1799" b="0" i="0" u="none" strike="noStrike" cap="none">
              <a:solidFill>
                <a:schemeClr val="dk1"/>
              </a:solidFill>
              <a:latin typeface="Arial"/>
              <a:ea typeface="Arial"/>
              <a:cs typeface="Arial"/>
              <a:sym typeface="Arial"/>
            </a:endParaRPr>
          </a:p>
        </p:txBody>
      </p:sp>
      <p:sp>
        <p:nvSpPr>
          <p:cNvPr id="1332" name="Google Shape;1332;g7826bb8c5e_0_149"/>
          <p:cNvSpPr txBox="1"/>
          <p:nvPr/>
        </p:nvSpPr>
        <p:spPr>
          <a:xfrm>
            <a:off x="335998" y="649092"/>
            <a:ext cx="11232600" cy="7221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2400"/>
              <a:buFont typeface="Playfair Display"/>
              <a:buNone/>
            </a:pPr>
            <a:r>
              <a:rPr lang="es-ES" sz="2400" b="1" i="0" u="none" strike="noStrike" cap="none" dirty="0">
                <a:solidFill>
                  <a:schemeClr val="dk1"/>
                </a:solidFill>
                <a:latin typeface="Playfair Display"/>
                <a:ea typeface="Playfair Display"/>
                <a:cs typeface="Playfair Display"/>
                <a:sym typeface="Playfair Display"/>
              </a:rPr>
              <a:t>Pre-piloto: Optimización de adopción</a:t>
            </a:r>
            <a:r>
              <a:rPr lang="es-ES" sz="2400" b="0" i="0" u="none" strike="noStrike" cap="none" dirty="0">
                <a:solidFill>
                  <a:schemeClr val="dk1"/>
                </a:solidFill>
                <a:latin typeface="Playfair Display"/>
                <a:ea typeface="Playfair Display"/>
                <a:cs typeface="Playfair Display"/>
                <a:sym typeface="Playfair Display"/>
              </a:rPr>
              <a:t>. Para maximizar su efectividad, se impulsará </a:t>
            </a:r>
            <a:r>
              <a:rPr lang="es-ES" sz="2400" b="0" i="0" u="none" strike="noStrike" cap="none" dirty="0" smtClean="0">
                <a:solidFill>
                  <a:schemeClr val="dk1"/>
                </a:solidFill>
                <a:latin typeface="Playfair Display"/>
                <a:ea typeface="Playfair Display"/>
                <a:cs typeface="Playfair Display"/>
                <a:sym typeface="Playfair Display"/>
              </a:rPr>
              <a:t>la estrategia de </a:t>
            </a:r>
            <a:r>
              <a:rPr lang="es-ES" sz="2400" b="0" i="0" u="none" strike="noStrike" cap="none" dirty="0" err="1" smtClean="0">
                <a:solidFill>
                  <a:schemeClr val="dk1"/>
                </a:solidFill>
                <a:latin typeface="Playfair Display"/>
                <a:ea typeface="Playfair Display"/>
                <a:cs typeface="Playfair Display"/>
                <a:sym typeface="Playfair Display"/>
              </a:rPr>
              <a:t>User</a:t>
            </a:r>
            <a:r>
              <a:rPr lang="es-ES" sz="2400" b="0" i="0" u="none" strike="noStrike" cap="none" dirty="0" smtClean="0">
                <a:solidFill>
                  <a:schemeClr val="dk1"/>
                </a:solidFill>
                <a:latin typeface="Playfair Display"/>
                <a:ea typeface="Playfair Display"/>
                <a:cs typeface="Playfair Display"/>
                <a:sym typeface="Playfair Display"/>
              </a:rPr>
              <a:t> Experience</a:t>
            </a:r>
            <a:endParaRPr sz="2400" b="0" i="0" u="none" strike="noStrike" cap="none" dirty="0">
              <a:solidFill>
                <a:schemeClr val="dk1"/>
              </a:solidFill>
              <a:latin typeface="Playfair Display"/>
              <a:ea typeface="Playfair Display"/>
              <a:cs typeface="Playfair Display"/>
              <a:sym typeface="Playfair Display"/>
            </a:endParaRPr>
          </a:p>
        </p:txBody>
      </p:sp>
      <p:sp>
        <p:nvSpPr>
          <p:cNvPr id="1333" name="Google Shape;1333;g7826bb8c5e_0_149"/>
          <p:cNvSpPr txBox="1">
            <a:spLocks noGrp="1"/>
          </p:cNvSpPr>
          <p:nvPr>
            <p:ph type="body" idx="1"/>
          </p:nvPr>
        </p:nvSpPr>
        <p:spPr>
          <a:xfrm>
            <a:off x="336000" y="128400"/>
            <a:ext cx="11519400" cy="251400"/>
          </a:xfrm>
          <a:prstGeom prst="rect">
            <a:avLst/>
          </a:prstGeom>
          <a:noFill/>
          <a:ln>
            <a:noFill/>
          </a:ln>
        </p:spPr>
        <p:txBody>
          <a:bodyPr spcFirstLastPara="1" wrap="square" lIns="0" tIns="45700" rIns="91425" bIns="45700" anchor="t" anchorCtr="0">
            <a:noAutofit/>
          </a:bodyPr>
          <a:lstStyle/>
          <a:p>
            <a:pPr marL="0" lvl="0" indent="0" algn="l" rtl="0">
              <a:lnSpc>
                <a:spcPct val="90000"/>
              </a:lnSpc>
              <a:spcBef>
                <a:spcPts val="0"/>
              </a:spcBef>
              <a:spcAft>
                <a:spcPts val="0"/>
              </a:spcAft>
              <a:buClr>
                <a:srgbClr val="1A3B47"/>
              </a:buClr>
              <a:buSzPts val="1400"/>
              <a:buNone/>
            </a:pPr>
            <a:r>
              <a:rPr lang="es-ES" sz="1400">
                <a:latin typeface="Playfair Display"/>
                <a:ea typeface="Playfair Display"/>
                <a:cs typeface="Playfair Display"/>
                <a:sym typeface="Playfair Display"/>
              </a:rPr>
              <a:t>Covid-19 app - Alcance y enfoque del trabajo propuesto</a:t>
            </a:r>
            <a:endParaRPr/>
          </a:p>
        </p:txBody>
      </p:sp>
      <p:grpSp>
        <p:nvGrpSpPr>
          <p:cNvPr id="1334" name="Google Shape;1334;g7826bb8c5e_0_149"/>
          <p:cNvGrpSpPr/>
          <p:nvPr/>
        </p:nvGrpSpPr>
        <p:grpSpPr>
          <a:xfrm>
            <a:off x="5274075" y="1479859"/>
            <a:ext cx="1791737" cy="1767076"/>
            <a:chOff x="5350275" y="1708459"/>
            <a:chExt cx="1791737" cy="1767076"/>
          </a:xfrm>
        </p:grpSpPr>
        <p:pic>
          <p:nvPicPr>
            <p:cNvPr id="1335" name="Google Shape;1335;g7826bb8c5e_0_149" descr="https://lh4.googleusercontent.com/MZ5UK6uQBqTb7Iys2sMh5xq021C-SDRYG6oGPDhX3P791xJBBHqhRLoYJTPs75yWozhfUrgrTz3gz75CoIn2vUpN_QFWEW2VG0eS4r-nXNuoApoujcWJjEt2oLbK0AMBHddF_3RE7LQ"/>
            <p:cNvPicPr preferRelativeResize="0"/>
            <p:nvPr/>
          </p:nvPicPr>
          <p:blipFill rotWithShape="1">
            <a:blip r:embed="rId3">
              <a:alphaModFix/>
            </a:blip>
            <a:srcRect/>
            <a:stretch/>
          </p:blipFill>
          <p:spPr>
            <a:xfrm>
              <a:off x="5842177" y="2188041"/>
              <a:ext cx="807905" cy="807905"/>
            </a:xfrm>
            <a:prstGeom prst="rect">
              <a:avLst/>
            </a:prstGeom>
            <a:noFill/>
            <a:ln>
              <a:noFill/>
            </a:ln>
          </p:spPr>
        </p:pic>
        <p:pic>
          <p:nvPicPr>
            <p:cNvPr id="1336" name="Google Shape;1336;g7826bb8c5e_0_149"/>
            <p:cNvPicPr preferRelativeResize="0"/>
            <p:nvPr/>
          </p:nvPicPr>
          <p:blipFill rotWithShape="1">
            <a:blip r:embed="rId4">
              <a:alphaModFix/>
            </a:blip>
            <a:srcRect/>
            <a:stretch/>
          </p:blipFill>
          <p:spPr>
            <a:xfrm>
              <a:off x="5350275" y="1708459"/>
              <a:ext cx="1791737" cy="1767076"/>
            </a:xfrm>
            <a:prstGeom prst="rect">
              <a:avLst/>
            </a:prstGeom>
            <a:noFill/>
            <a:ln>
              <a:noFill/>
            </a:ln>
          </p:spPr>
        </p:pic>
      </p:grpSp>
      <p:sp>
        <p:nvSpPr>
          <p:cNvPr id="1337" name="Google Shape;1337;g7826bb8c5e_0_149"/>
          <p:cNvSpPr/>
          <p:nvPr/>
        </p:nvSpPr>
        <p:spPr>
          <a:xfrm flipH="1">
            <a:off x="7451374" y="2448997"/>
            <a:ext cx="4881313" cy="4694026"/>
          </a:xfrm>
          <a:custGeom>
            <a:avLst/>
            <a:gdLst/>
            <a:ahLst/>
            <a:cxnLst/>
            <a:rect l="l" t="t" r="r" b="b"/>
            <a:pathLst>
              <a:path w="2173" h="963" extrusionOk="0">
                <a:moveTo>
                  <a:pt x="2173" y="963"/>
                </a:moveTo>
                <a:lnTo>
                  <a:pt x="2173" y="0"/>
                </a:lnTo>
                <a:lnTo>
                  <a:pt x="0" y="0"/>
                </a:lnTo>
              </a:path>
            </a:pathLst>
          </a:custGeom>
          <a:noFill/>
          <a:ln w="22225" cap="flat" cmpd="sng">
            <a:solidFill>
              <a:schemeClr val="accent4"/>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799"/>
              <a:buFont typeface="Arial"/>
              <a:buNone/>
            </a:pPr>
            <a:endParaRPr sz="1799" b="0" i="0" u="none" strike="noStrike" cap="none">
              <a:solidFill>
                <a:schemeClr val="dk1"/>
              </a:solidFill>
              <a:latin typeface="Arial"/>
              <a:ea typeface="Arial"/>
              <a:cs typeface="Arial"/>
              <a:sym typeface="Arial"/>
            </a:endParaRPr>
          </a:p>
        </p:txBody>
      </p:sp>
      <p:sp>
        <p:nvSpPr>
          <p:cNvPr id="1338" name="Google Shape;1338;g7826bb8c5e_0_149"/>
          <p:cNvSpPr/>
          <p:nvPr/>
        </p:nvSpPr>
        <p:spPr>
          <a:xfrm>
            <a:off x="7800124" y="2015045"/>
            <a:ext cx="1907700" cy="307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000"/>
              <a:buFont typeface="Arial"/>
              <a:buNone/>
            </a:pPr>
            <a:r>
              <a:rPr lang="es-ES" sz="2000" b="0" i="0" u="none" strike="noStrike" cap="none">
                <a:solidFill>
                  <a:schemeClr val="dk1"/>
                </a:solidFill>
                <a:latin typeface="Playfair Display"/>
                <a:ea typeface="Playfair Display"/>
                <a:cs typeface="Playfair Display"/>
                <a:sym typeface="Playfair Display"/>
              </a:rPr>
              <a:t>Usabilidad</a:t>
            </a:r>
            <a:endParaRPr sz="2000" b="0" i="0" u="none" strike="noStrike" cap="none">
              <a:solidFill>
                <a:schemeClr val="dk1"/>
              </a:solidFill>
              <a:latin typeface="Playfair Display"/>
              <a:ea typeface="Playfair Display"/>
              <a:cs typeface="Playfair Display"/>
              <a:sym typeface="Playfair Display"/>
            </a:endParaRPr>
          </a:p>
        </p:txBody>
      </p:sp>
      <p:sp>
        <p:nvSpPr>
          <p:cNvPr id="1339" name="Google Shape;1339;g7826bb8c5e_0_149"/>
          <p:cNvSpPr/>
          <p:nvPr/>
        </p:nvSpPr>
        <p:spPr>
          <a:xfrm>
            <a:off x="336549" y="2015045"/>
            <a:ext cx="4430937" cy="307805"/>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000"/>
              <a:buFont typeface="Arial"/>
              <a:buNone/>
            </a:pPr>
            <a:r>
              <a:rPr lang="es-ES" sz="2000" b="0" i="0" u="none" strike="noStrike" cap="none" dirty="0" smtClean="0">
                <a:solidFill>
                  <a:schemeClr val="dk1"/>
                </a:solidFill>
                <a:latin typeface="Playfair Display"/>
                <a:ea typeface="Playfair Display"/>
                <a:cs typeface="Playfair Display"/>
                <a:sym typeface="Playfair Display"/>
              </a:rPr>
              <a:t>Estrategia de </a:t>
            </a:r>
            <a:r>
              <a:rPr lang="es-ES" sz="2000" b="0" i="0" u="none" strike="noStrike" cap="none" dirty="0" err="1" smtClean="0">
                <a:solidFill>
                  <a:schemeClr val="dk1"/>
                </a:solidFill>
                <a:latin typeface="Playfair Display"/>
                <a:ea typeface="Playfair Display"/>
                <a:cs typeface="Playfair Display"/>
                <a:sym typeface="Playfair Display"/>
              </a:rPr>
              <a:t>User</a:t>
            </a:r>
            <a:r>
              <a:rPr lang="es-ES" sz="2000" b="0" i="0" u="none" strike="noStrike" cap="none" dirty="0" smtClean="0">
                <a:solidFill>
                  <a:schemeClr val="dk1"/>
                </a:solidFill>
                <a:latin typeface="Playfair Display"/>
                <a:ea typeface="Playfair Display"/>
                <a:cs typeface="Playfair Display"/>
                <a:sym typeface="Playfair Display"/>
              </a:rPr>
              <a:t> Experience</a:t>
            </a:r>
            <a:endParaRPr sz="2000" b="0" i="0" u="none" strike="noStrike" cap="none" dirty="0">
              <a:solidFill>
                <a:schemeClr val="dk1"/>
              </a:solidFill>
              <a:latin typeface="Playfair Display"/>
              <a:ea typeface="Playfair Display"/>
              <a:cs typeface="Playfair Display"/>
              <a:sym typeface="Playfair Display"/>
            </a:endParaRPr>
          </a:p>
        </p:txBody>
      </p:sp>
      <p:sp>
        <p:nvSpPr>
          <p:cNvPr id="1340" name="Google Shape;1340;g7826bb8c5e_0_149"/>
          <p:cNvSpPr/>
          <p:nvPr/>
        </p:nvSpPr>
        <p:spPr>
          <a:xfrm>
            <a:off x="5134662" y="3275095"/>
            <a:ext cx="1907700" cy="3078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2000"/>
              <a:buFont typeface="Arial"/>
              <a:buNone/>
            </a:pPr>
            <a:r>
              <a:rPr lang="es-ES" sz="2000" b="0" i="0" u="none" strike="noStrike" cap="none">
                <a:solidFill>
                  <a:schemeClr val="dk1"/>
                </a:solidFill>
                <a:latin typeface="Playfair Display"/>
                <a:ea typeface="Playfair Display"/>
                <a:cs typeface="Playfair Display"/>
                <a:sym typeface="Playfair Display"/>
              </a:rPr>
              <a:t>Maximizar la adopción</a:t>
            </a:r>
            <a:endParaRPr sz="2000" b="0" i="0" u="none" strike="noStrike" cap="none">
              <a:solidFill>
                <a:schemeClr val="dk1"/>
              </a:solidFill>
              <a:latin typeface="Playfair Display"/>
              <a:ea typeface="Playfair Display"/>
              <a:cs typeface="Playfair Display"/>
              <a:sym typeface="Playfair Display"/>
            </a:endParaRPr>
          </a:p>
        </p:txBody>
      </p:sp>
      <p:sp>
        <p:nvSpPr>
          <p:cNvPr id="1341" name="Google Shape;1341;g7826bb8c5e_0_149"/>
          <p:cNvSpPr/>
          <p:nvPr/>
        </p:nvSpPr>
        <p:spPr>
          <a:xfrm>
            <a:off x="7766627" y="2620513"/>
            <a:ext cx="3987300" cy="3908700"/>
          </a:xfrm>
          <a:prstGeom prst="rect">
            <a:avLst/>
          </a:prstGeom>
          <a:noFill/>
          <a:ln>
            <a:noFill/>
          </a:ln>
        </p:spPr>
        <p:txBody>
          <a:bodyPr spcFirstLastPara="1" wrap="square" lIns="0" tIns="0" rIns="0" bIns="0" anchor="t" anchorCtr="0">
            <a:noAutofit/>
          </a:bodyPr>
          <a:lstStyle/>
          <a:p>
            <a:pPr marL="1587" marR="0" lvl="1" indent="0" algn="l" rtl="0">
              <a:lnSpc>
                <a:spcPct val="100000"/>
              </a:lnSpc>
              <a:spcBef>
                <a:spcPts val="0"/>
              </a:spcBef>
              <a:spcAft>
                <a:spcPts val="0"/>
              </a:spcAft>
              <a:buClr>
                <a:schemeClr val="dk1"/>
              </a:buClr>
              <a:buSzPts val="1100"/>
              <a:buFont typeface="Arial"/>
              <a:buNone/>
            </a:pPr>
            <a:r>
              <a:rPr lang="es-ES" sz="1200" b="0" i="0" u="none" strike="noStrike" cap="none" dirty="0">
                <a:solidFill>
                  <a:schemeClr val="dk1"/>
                </a:solidFill>
                <a:latin typeface="Arial"/>
                <a:ea typeface="Arial"/>
                <a:cs typeface="Arial"/>
                <a:sym typeface="Arial"/>
              </a:rPr>
              <a:t>El diseño de la aplicación debe contemplar la facilidad de adopción y uso por parte del máximo de </a:t>
            </a:r>
            <a:r>
              <a:rPr lang="es-ES" sz="1200" b="0" i="0" u="none" strike="noStrike" cap="none" dirty="0" smtClean="0">
                <a:solidFill>
                  <a:schemeClr val="dk1"/>
                </a:solidFill>
                <a:latin typeface="Arial"/>
                <a:ea typeface="Arial"/>
                <a:cs typeface="Arial"/>
                <a:sym typeface="Arial"/>
              </a:rPr>
              <a:t>ciudadanos*:</a:t>
            </a:r>
            <a:endParaRPr sz="1200" b="1" i="0" u="none" strike="noStrike" cap="none" dirty="0">
              <a:solidFill>
                <a:schemeClr val="dk1"/>
              </a:solidFill>
              <a:latin typeface="Arial"/>
              <a:ea typeface="Arial"/>
              <a:cs typeface="Arial"/>
              <a:sym typeface="Arial"/>
            </a:endParaRPr>
          </a:p>
          <a:p>
            <a:pPr marL="344487" lvl="1" indent="-336550">
              <a:spcBef>
                <a:spcPts val="600"/>
              </a:spcBef>
              <a:buClr>
                <a:schemeClr val="dk1"/>
              </a:buClr>
              <a:buSzPts val="1100"/>
              <a:buFont typeface="Playfair Display"/>
              <a:buAutoNum type="arabicPeriod"/>
            </a:pPr>
            <a:r>
              <a:rPr lang="es-ES" sz="1100" b="1" i="0" u="none" strike="noStrike" cap="none" dirty="0" smtClean="0">
                <a:solidFill>
                  <a:schemeClr val="dk1"/>
                </a:solidFill>
                <a:latin typeface="Arial"/>
                <a:ea typeface="Arial"/>
                <a:cs typeface="Arial"/>
                <a:sym typeface="Arial"/>
              </a:rPr>
              <a:t>Compatibilidad </a:t>
            </a:r>
            <a:r>
              <a:rPr lang="es-ES" sz="1100" b="1" i="0" u="none" strike="noStrike" cap="none" dirty="0">
                <a:solidFill>
                  <a:schemeClr val="dk1"/>
                </a:solidFill>
                <a:latin typeface="Arial"/>
                <a:ea typeface="Arial"/>
                <a:cs typeface="Arial"/>
                <a:sym typeface="Arial"/>
              </a:rPr>
              <a:t>con </a:t>
            </a:r>
            <a:r>
              <a:rPr lang="es-ES" sz="1100" b="1" i="0" u="none" strike="noStrike" cap="none" dirty="0" smtClean="0">
                <a:solidFill>
                  <a:schemeClr val="dk1"/>
                </a:solidFill>
                <a:latin typeface="Arial"/>
                <a:ea typeface="Arial"/>
                <a:cs typeface="Arial"/>
                <a:sym typeface="Arial"/>
              </a:rPr>
              <a:t>dispositivos</a:t>
            </a:r>
            <a:r>
              <a:rPr lang="es-ES" sz="1100" b="0" i="0" u="none" strike="noStrike" cap="none" dirty="0" smtClean="0">
                <a:solidFill>
                  <a:schemeClr val="dk1"/>
                </a:solidFill>
                <a:latin typeface="Arial"/>
                <a:ea typeface="Arial"/>
                <a:cs typeface="Arial"/>
                <a:sym typeface="Arial"/>
              </a:rPr>
              <a:t>. </a:t>
            </a:r>
            <a:r>
              <a:rPr lang="es-ES" sz="1100" b="0" i="0" u="none" strike="noStrike" cap="none" dirty="0">
                <a:solidFill>
                  <a:schemeClr val="dk1"/>
                </a:solidFill>
                <a:latin typeface="Arial"/>
                <a:ea typeface="Arial"/>
                <a:cs typeface="Arial"/>
                <a:sym typeface="Arial"/>
              </a:rPr>
              <a:t>Se analizará cómo cubrir el máximo de </a:t>
            </a:r>
            <a:r>
              <a:rPr lang="es-ES" sz="1100" b="0" i="1" u="none" strike="noStrike" cap="none" dirty="0" err="1">
                <a:solidFill>
                  <a:schemeClr val="dk1"/>
                </a:solidFill>
                <a:latin typeface="Arial"/>
                <a:ea typeface="Arial"/>
                <a:cs typeface="Arial"/>
                <a:sym typeface="Arial"/>
              </a:rPr>
              <a:t>smartphones</a:t>
            </a:r>
            <a:r>
              <a:rPr lang="es-ES" sz="1100" b="0" i="1" u="none" strike="noStrike" cap="none" dirty="0">
                <a:solidFill>
                  <a:schemeClr val="dk1"/>
                </a:solidFill>
                <a:latin typeface="Arial"/>
                <a:ea typeface="Arial"/>
                <a:cs typeface="Arial"/>
                <a:sym typeface="Arial"/>
              </a:rPr>
              <a:t> </a:t>
            </a:r>
            <a:r>
              <a:rPr lang="es-ES" sz="1100" b="0" i="0" u="none" strike="noStrike" cap="none" dirty="0">
                <a:solidFill>
                  <a:schemeClr val="dk1"/>
                </a:solidFill>
                <a:latin typeface="Arial"/>
                <a:ea typeface="Arial"/>
                <a:cs typeface="Arial"/>
                <a:sym typeface="Arial"/>
              </a:rPr>
              <a:t>sin comprometer la funcionalidad de la solución. La propuesta preliminar muestra compatibilidad con </a:t>
            </a:r>
            <a:r>
              <a:rPr lang="es-ES" sz="1100" b="0" i="0" u="none" strike="noStrike" cap="none" dirty="0" err="1">
                <a:solidFill>
                  <a:schemeClr val="dk1"/>
                </a:solidFill>
                <a:latin typeface="Arial"/>
                <a:ea typeface="Arial"/>
                <a:cs typeface="Arial"/>
                <a:sym typeface="Arial"/>
              </a:rPr>
              <a:t>SDKs</a:t>
            </a:r>
            <a:r>
              <a:rPr lang="es-ES" sz="1100" b="0" i="0" u="none" strike="noStrike" cap="none" dirty="0">
                <a:solidFill>
                  <a:schemeClr val="dk1"/>
                </a:solidFill>
                <a:latin typeface="Arial"/>
                <a:ea typeface="Arial"/>
                <a:cs typeface="Arial"/>
                <a:sym typeface="Arial"/>
              </a:rPr>
              <a:t> nativos de Bluetooth de Google o Apple</a:t>
            </a:r>
            <a:endParaRPr sz="1100" b="0" i="0" u="none" strike="noStrike" cap="none" dirty="0">
              <a:solidFill>
                <a:schemeClr val="dk1"/>
              </a:solidFill>
              <a:latin typeface="Arial"/>
              <a:ea typeface="Arial"/>
              <a:cs typeface="Arial"/>
              <a:sym typeface="Arial"/>
            </a:endParaRPr>
          </a:p>
          <a:p>
            <a:pPr marL="344487" marR="0" lvl="1" indent="-336550" algn="l" rtl="0">
              <a:lnSpc>
                <a:spcPct val="100000"/>
              </a:lnSpc>
              <a:spcBef>
                <a:spcPts val="600"/>
              </a:spcBef>
              <a:spcAft>
                <a:spcPts val="0"/>
              </a:spcAft>
              <a:buClr>
                <a:schemeClr val="dk1"/>
              </a:buClr>
              <a:buSzPts val="1100"/>
              <a:buFont typeface="Arial"/>
              <a:buAutoNum type="arabicPeriod"/>
            </a:pPr>
            <a:r>
              <a:rPr lang="es-ES" sz="1100" b="1" i="0" u="none" strike="noStrike" cap="none" dirty="0">
                <a:solidFill>
                  <a:schemeClr val="dk1"/>
                </a:solidFill>
                <a:latin typeface="Arial"/>
                <a:ea typeface="Arial"/>
                <a:cs typeface="Arial"/>
                <a:sym typeface="Arial"/>
              </a:rPr>
              <a:t>Privacidad y </a:t>
            </a:r>
            <a:r>
              <a:rPr lang="es-ES" sz="1100" b="1" i="0" u="none" strike="noStrike" cap="none" dirty="0" smtClean="0">
                <a:solidFill>
                  <a:schemeClr val="dk1"/>
                </a:solidFill>
                <a:latin typeface="Arial"/>
                <a:ea typeface="Arial"/>
                <a:cs typeface="Arial"/>
                <a:sym typeface="Arial"/>
              </a:rPr>
              <a:t>ciberseguridad. </a:t>
            </a:r>
            <a:r>
              <a:rPr lang="es-ES" sz="1100" b="0" i="0" u="none" strike="noStrike" cap="none" dirty="0">
                <a:solidFill>
                  <a:schemeClr val="dk1"/>
                </a:solidFill>
                <a:latin typeface="Arial"/>
                <a:ea typeface="Arial"/>
                <a:cs typeface="Arial"/>
                <a:sym typeface="Arial"/>
              </a:rPr>
              <a:t>Se definirán políticas de privacidad y se habilitará la ciberseguridad necesaria para evitar la corruptibilidad de los datos</a:t>
            </a:r>
            <a:endParaRPr sz="1100" b="0" i="0" u="none" strike="noStrike" cap="none" dirty="0">
              <a:solidFill>
                <a:schemeClr val="dk1"/>
              </a:solidFill>
              <a:latin typeface="Arial"/>
              <a:ea typeface="Arial"/>
              <a:cs typeface="Arial"/>
              <a:sym typeface="Arial"/>
            </a:endParaRPr>
          </a:p>
          <a:p>
            <a:pPr marL="344487" marR="0" lvl="1" indent="-336550" algn="l" rtl="0">
              <a:lnSpc>
                <a:spcPct val="100000"/>
              </a:lnSpc>
              <a:spcBef>
                <a:spcPts val="600"/>
              </a:spcBef>
              <a:spcAft>
                <a:spcPts val="0"/>
              </a:spcAft>
              <a:buClr>
                <a:schemeClr val="dk1"/>
              </a:buClr>
              <a:buSzPts val="1100"/>
              <a:buFont typeface="Arial"/>
              <a:buAutoNum type="arabicPeriod"/>
            </a:pPr>
            <a:r>
              <a:rPr lang="es-ES" sz="1100" b="1" i="0" u="none" strike="noStrike" cap="none" dirty="0">
                <a:solidFill>
                  <a:schemeClr val="dk1"/>
                </a:solidFill>
                <a:latin typeface="Arial"/>
                <a:ea typeface="Arial"/>
                <a:cs typeface="Arial"/>
                <a:sym typeface="Arial"/>
              </a:rPr>
              <a:t>Sin </a:t>
            </a:r>
            <a:r>
              <a:rPr lang="es-ES" sz="1100" b="1" i="0" u="none" strike="noStrike" cap="none" dirty="0" err="1" smtClean="0">
                <a:solidFill>
                  <a:schemeClr val="dk1"/>
                </a:solidFill>
                <a:latin typeface="Arial"/>
                <a:ea typeface="Arial"/>
                <a:cs typeface="Arial"/>
                <a:sym typeface="Arial"/>
              </a:rPr>
              <a:t>login</a:t>
            </a:r>
            <a:r>
              <a:rPr lang="es-ES" sz="1100" b="0" i="0" u="none" strike="noStrike" cap="none" dirty="0" smtClean="0">
                <a:solidFill>
                  <a:schemeClr val="dk1"/>
                </a:solidFill>
                <a:latin typeface="Arial"/>
                <a:ea typeface="Arial"/>
                <a:cs typeface="Arial"/>
                <a:sym typeface="Arial"/>
              </a:rPr>
              <a:t>. </a:t>
            </a:r>
            <a:r>
              <a:rPr lang="es-ES" sz="1100" b="0" i="0" u="none" strike="noStrike" cap="none" dirty="0">
                <a:solidFill>
                  <a:schemeClr val="dk1"/>
                </a:solidFill>
                <a:latin typeface="Arial"/>
                <a:ea typeface="Arial"/>
                <a:cs typeface="Arial"/>
                <a:sym typeface="Arial"/>
              </a:rPr>
              <a:t>La aplicación no solicita ningún dato personal, identificativo o no, ni requiere crear un usuario. Es decir, el usuario mantiene su anonimato</a:t>
            </a:r>
            <a:endParaRPr sz="1100" b="0" i="0" u="none" strike="noStrike" cap="none" dirty="0">
              <a:solidFill>
                <a:schemeClr val="dk1"/>
              </a:solidFill>
              <a:latin typeface="Arial"/>
              <a:ea typeface="Arial"/>
              <a:cs typeface="Arial"/>
              <a:sym typeface="Arial"/>
            </a:endParaRPr>
          </a:p>
          <a:p>
            <a:pPr marL="344487" marR="0" lvl="1" indent="-336550" algn="l" rtl="0">
              <a:lnSpc>
                <a:spcPct val="100000"/>
              </a:lnSpc>
              <a:spcBef>
                <a:spcPts val="600"/>
              </a:spcBef>
              <a:spcAft>
                <a:spcPts val="0"/>
              </a:spcAft>
              <a:buClr>
                <a:schemeClr val="dk1"/>
              </a:buClr>
              <a:buSzPts val="1100"/>
              <a:buFont typeface="Arial"/>
              <a:buAutoNum type="arabicPeriod"/>
            </a:pPr>
            <a:r>
              <a:rPr lang="es-ES" sz="1100" b="1" i="0" u="none" strike="noStrike" cap="none" dirty="0" err="1">
                <a:solidFill>
                  <a:schemeClr val="dk1"/>
                </a:solidFill>
                <a:latin typeface="Arial"/>
                <a:ea typeface="Arial"/>
                <a:cs typeface="Arial"/>
                <a:sym typeface="Arial"/>
              </a:rPr>
              <a:t>Onboarding</a:t>
            </a:r>
            <a:r>
              <a:rPr lang="es-ES" sz="1100" b="1" i="0" u="none" strike="noStrike" cap="none" dirty="0">
                <a:solidFill>
                  <a:schemeClr val="dk1"/>
                </a:solidFill>
                <a:latin typeface="Arial"/>
                <a:ea typeface="Arial"/>
                <a:cs typeface="Arial"/>
                <a:sym typeface="Arial"/>
              </a:rPr>
              <a:t> </a:t>
            </a:r>
            <a:r>
              <a:rPr lang="es-ES" sz="1100" b="1" i="0" u="none" strike="noStrike" cap="none" dirty="0" smtClean="0">
                <a:solidFill>
                  <a:schemeClr val="dk1"/>
                </a:solidFill>
                <a:latin typeface="Arial"/>
                <a:ea typeface="Arial"/>
                <a:cs typeface="Arial"/>
                <a:sym typeface="Arial"/>
              </a:rPr>
              <a:t>explicativo</a:t>
            </a:r>
            <a:r>
              <a:rPr lang="es-ES" sz="1100" b="0" i="0" u="none" strike="noStrike" cap="none" dirty="0" smtClean="0">
                <a:solidFill>
                  <a:schemeClr val="dk1"/>
                </a:solidFill>
                <a:latin typeface="Arial"/>
                <a:ea typeface="Arial"/>
                <a:cs typeface="Arial"/>
                <a:sym typeface="Arial"/>
              </a:rPr>
              <a:t>. </a:t>
            </a:r>
            <a:r>
              <a:rPr lang="es-ES" sz="1100" b="0" i="0" u="none" strike="noStrike" cap="none" dirty="0">
                <a:solidFill>
                  <a:schemeClr val="dk1"/>
                </a:solidFill>
                <a:latin typeface="Arial"/>
                <a:ea typeface="Arial"/>
                <a:cs typeface="Arial"/>
                <a:sym typeface="Arial"/>
              </a:rPr>
              <a:t>Al iniciarse la aplicación, aparece un </a:t>
            </a:r>
            <a:r>
              <a:rPr lang="es-ES" sz="1100" b="0" i="0" u="none" strike="noStrike" cap="none" dirty="0" err="1">
                <a:solidFill>
                  <a:schemeClr val="dk1"/>
                </a:solidFill>
                <a:latin typeface="Arial"/>
                <a:ea typeface="Arial"/>
                <a:cs typeface="Arial"/>
                <a:sym typeface="Arial"/>
              </a:rPr>
              <a:t>onboarding</a:t>
            </a:r>
            <a:r>
              <a:rPr lang="es-ES" sz="1100" b="0" i="0" u="none" strike="noStrike" cap="none" dirty="0">
                <a:solidFill>
                  <a:schemeClr val="dk1"/>
                </a:solidFill>
                <a:latin typeface="Arial"/>
                <a:ea typeface="Arial"/>
                <a:cs typeface="Arial"/>
                <a:sym typeface="Arial"/>
              </a:rPr>
              <a:t> explicativo de su funcionamiento y, para vencer las reticencias en cuanto a privacidad, del uso de los datos que recabe</a:t>
            </a:r>
            <a:endParaRPr sz="1100" b="0" i="0" u="none" strike="noStrike" cap="none" dirty="0">
              <a:solidFill>
                <a:schemeClr val="dk1"/>
              </a:solidFill>
              <a:latin typeface="Arial"/>
              <a:ea typeface="Arial"/>
              <a:cs typeface="Arial"/>
              <a:sym typeface="Arial"/>
            </a:endParaRPr>
          </a:p>
          <a:p>
            <a:pPr marL="344487" marR="0" lvl="1" indent="-336550" algn="l" rtl="0">
              <a:lnSpc>
                <a:spcPct val="100000"/>
              </a:lnSpc>
              <a:spcBef>
                <a:spcPts val="600"/>
              </a:spcBef>
              <a:spcAft>
                <a:spcPts val="0"/>
              </a:spcAft>
              <a:buClr>
                <a:schemeClr val="dk1"/>
              </a:buClr>
              <a:buSzPts val="1100"/>
              <a:buFont typeface="Arial"/>
              <a:buAutoNum type="arabicPeriod"/>
            </a:pPr>
            <a:r>
              <a:rPr lang="es-ES" sz="1100" b="1" i="0" u="none" strike="noStrike" cap="none" dirty="0">
                <a:solidFill>
                  <a:schemeClr val="dk1"/>
                </a:solidFill>
                <a:latin typeface="Arial"/>
                <a:ea typeface="Arial"/>
                <a:cs typeface="Arial"/>
                <a:sym typeface="Arial"/>
              </a:rPr>
              <a:t>Funcionalidad </a:t>
            </a:r>
            <a:r>
              <a:rPr lang="es-ES" sz="1100" b="1" i="0" u="none" strike="noStrike" cap="none" dirty="0" smtClean="0">
                <a:solidFill>
                  <a:schemeClr val="dk1"/>
                </a:solidFill>
                <a:latin typeface="Arial"/>
                <a:ea typeface="Arial"/>
                <a:cs typeface="Arial"/>
                <a:sym typeface="Arial"/>
              </a:rPr>
              <a:t>básica</a:t>
            </a:r>
            <a:r>
              <a:rPr lang="es-ES" sz="1100" b="0" i="0" u="none" strike="noStrike" cap="none" dirty="0" smtClean="0">
                <a:solidFill>
                  <a:schemeClr val="dk1"/>
                </a:solidFill>
                <a:latin typeface="Arial"/>
                <a:ea typeface="Arial"/>
                <a:cs typeface="Arial"/>
                <a:sym typeface="Arial"/>
              </a:rPr>
              <a:t>. </a:t>
            </a:r>
            <a:r>
              <a:rPr lang="es-ES" sz="1100" b="0" i="0" u="none" strike="noStrike" cap="none" dirty="0">
                <a:solidFill>
                  <a:schemeClr val="dk1"/>
                </a:solidFill>
                <a:latin typeface="Arial"/>
                <a:ea typeface="Arial"/>
                <a:cs typeface="Arial"/>
                <a:sym typeface="Arial"/>
              </a:rPr>
              <a:t>Aplicación intuitiva con poca sofisticación de los menús: el usuario sólo necesita conocer cómo activar o desactivar su Bluetooth, cómo reportar un diagnóstico y cómo darse de baja</a:t>
            </a:r>
            <a:endParaRPr sz="1100" b="0" i="0" u="none" strike="noStrike" cap="none" dirty="0">
              <a:solidFill>
                <a:schemeClr val="dk1"/>
              </a:solidFill>
              <a:latin typeface="Arial"/>
              <a:ea typeface="Arial"/>
              <a:cs typeface="Arial"/>
              <a:sym typeface="Arial"/>
            </a:endParaRPr>
          </a:p>
        </p:txBody>
      </p:sp>
      <p:sp>
        <p:nvSpPr>
          <p:cNvPr id="1342" name="Google Shape;1342;g7826bb8c5e_0_149"/>
          <p:cNvSpPr/>
          <p:nvPr/>
        </p:nvSpPr>
        <p:spPr>
          <a:xfrm>
            <a:off x="333175" y="2620525"/>
            <a:ext cx="4077300" cy="3908700"/>
          </a:xfrm>
          <a:prstGeom prst="rect">
            <a:avLst/>
          </a:prstGeom>
          <a:noFill/>
          <a:ln>
            <a:noFill/>
          </a:ln>
        </p:spPr>
        <p:txBody>
          <a:bodyPr spcFirstLastPara="1" wrap="square" lIns="0" tIns="0" rIns="0" bIns="0" anchor="t" anchorCtr="0">
            <a:noAutofit/>
          </a:bodyPr>
          <a:lstStyle/>
          <a:p>
            <a:pPr marL="1587" lvl="1">
              <a:buClr>
                <a:schemeClr val="dk1"/>
              </a:buClr>
              <a:buSzPts val="1100"/>
            </a:pPr>
            <a:r>
              <a:rPr lang="es-ES" sz="1200" b="0" i="0" u="none" strike="noStrike" cap="none" dirty="0" smtClean="0">
                <a:solidFill>
                  <a:schemeClr val="dk1"/>
                </a:solidFill>
                <a:latin typeface="Arial"/>
                <a:ea typeface="Arial"/>
                <a:cs typeface="Arial"/>
                <a:sym typeface="Arial"/>
              </a:rPr>
              <a:t>El planteamiento </a:t>
            </a:r>
            <a:r>
              <a:rPr lang="es-ES" sz="1200" dirty="0">
                <a:solidFill>
                  <a:schemeClr val="dk1"/>
                </a:solidFill>
              </a:rPr>
              <a:t>estratégico del contexto idóneo para la realización del piloto </a:t>
            </a:r>
            <a:r>
              <a:rPr lang="es-ES" sz="1200" b="0" i="0" u="none" strike="noStrike" cap="none" dirty="0" smtClean="0">
                <a:solidFill>
                  <a:schemeClr val="dk1"/>
                </a:solidFill>
                <a:latin typeface="Arial"/>
                <a:ea typeface="Arial"/>
                <a:cs typeface="Arial"/>
                <a:sym typeface="Arial"/>
              </a:rPr>
              <a:t>requiere analizar:</a:t>
            </a:r>
            <a:endParaRPr sz="1200" b="1" i="0" u="none" strike="noStrike" cap="none" dirty="0">
              <a:solidFill>
                <a:schemeClr val="dk1"/>
              </a:solidFill>
              <a:latin typeface="Arial"/>
              <a:ea typeface="Arial"/>
              <a:cs typeface="Arial"/>
              <a:sym typeface="Arial"/>
            </a:endParaRPr>
          </a:p>
          <a:p>
            <a:pPr marL="344487" lvl="1" indent="-336550">
              <a:spcBef>
                <a:spcPts val="600"/>
              </a:spcBef>
              <a:buClr>
                <a:schemeClr val="dk1"/>
              </a:buClr>
              <a:buSzPts val="1100"/>
              <a:buFont typeface="Playfair Display"/>
              <a:buAutoNum type="arabicPeriod"/>
            </a:pPr>
            <a:r>
              <a:rPr lang="es-ES" sz="1100" b="1" i="0" u="none" strike="noStrike" cap="none" dirty="0" smtClean="0">
                <a:solidFill>
                  <a:schemeClr val="dk1"/>
                </a:solidFill>
                <a:latin typeface="Arial"/>
                <a:ea typeface="Arial"/>
                <a:cs typeface="Arial"/>
                <a:sym typeface="Arial"/>
              </a:rPr>
              <a:t>Propuestas para la estrategia de penetración</a:t>
            </a:r>
            <a:r>
              <a:rPr lang="es-ES" sz="1100" i="0" u="none" strike="noStrike" cap="none" dirty="0" smtClean="0">
                <a:solidFill>
                  <a:schemeClr val="dk1"/>
                </a:solidFill>
                <a:latin typeface="Arial"/>
                <a:ea typeface="Arial"/>
                <a:cs typeface="Arial"/>
                <a:sym typeface="Arial"/>
              </a:rPr>
              <a:t>. </a:t>
            </a:r>
            <a:r>
              <a:rPr lang="es-ES" sz="1100" dirty="0" smtClean="0">
                <a:solidFill>
                  <a:schemeClr val="dk1"/>
                </a:solidFill>
              </a:rPr>
              <a:t>Se valorarán los colectivos objeto del piloto, los requerimientos de los </a:t>
            </a:r>
            <a:r>
              <a:rPr lang="es-ES" sz="1100" dirty="0" err="1" smtClean="0">
                <a:solidFill>
                  <a:schemeClr val="dk1"/>
                </a:solidFill>
              </a:rPr>
              <a:t>focus</a:t>
            </a:r>
            <a:r>
              <a:rPr lang="es-ES" sz="1100" dirty="0" smtClean="0">
                <a:solidFill>
                  <a:schemeClr val="dk1"/>
                </a:solidFill>
              </a:rPr>
              <a:t> </a:t>
            </a:r>
            <a:r>
              <a:rPr lang="es-ES" sz="1100" dirty="0" err="1" smtClean="0">
                <a:solidFill>
                  <a:schemeClr val="dk1"/>
                </a:solidFill>
              </a:rPr>
              <a:t>groups</a:t>
            </a:r>
            <a:r>
              <a:rPr lang="es-ES" sz="1100" dirty="0" smtClean="0">
                <a:solidFill>
                  <a:schemeClr val="dk1"/>
                </a:solidFill>
              </a:rPr>
              <a:t> a crear, supuesto a probar y acciones más efectivas para maximizar la adopción de la aplicación. Conjuntamente con la Administración, el diseño de las propuestas responderá a preguntas como:</a:t>
            </a:r>
          </a:p>
          <a:p>
            <a:pPr marL="627063" lvl="1" indent="-171450">
              <a:buClr>
                <a:schemeClr val="dk1"/>
              </a:buClr>
              <a:buSzPts val="1100"/>
              <a:buFont typeface="Arial" panose="020B0604020202020204" pitchFamily="34" charset="0"/>
              <a:buChar char="•"/>
            </a:pPr>
            <a:r>
              <a:rPr lang="es-ES" sz="1100" dirty="0" smtClean="0">
                <a:solidFill>
                  <a:schemeClr val="dk1"/>
                </a:solidFill>
              </a:rPr>
              <a:t>¿Cómo </a:t>
            </a:r>
            <a:r>
              <a:rPr lang="es-ES" sz="1100" dirty="0" smtClean="0"/>
              <a:t>se integra la solución con </a:t>
            </a:r>
            <a:r>
              <a:rPr lang="es-ES" sz="1100" dirty="0"/>
              <a:t>la </a:t>
            </a:r>
            <a:r>
              <a:rPr lang="es-ES" sz="1100" dirty="0" smtClean="0"/>
              <a:t>certificación </a:t>
            </a:r>
            <a:r>
              <a:rPr lang="es-ES" sz="1100" dirty="0"/>
              <a:t>de los casos positivos</a:t>
            </a:r>
            <a:r>
              <a:rPr lang="es-ES" sz="1100" dirty="0" smtClean="0"/>
              <a:t>?</a:t>
            </a:r>
          </a:p>
          <a:p>
            <a:pPr marL="627063" lvl="1" indent="-171450">
              <a:buClr>
                <a:schemeClr val="dk1"/>
              </a:buClr>
              <a:buSzPts val="1100"/>
              <a:buFont typeface="Arial" panose="020B0604020202020204" pitchFamily="34" charset="0"/>
              <a:buChar char="•"/>
            </a:pPr>
            <a:r>
              <a:rPr lang="es-ES" sz="1100" dirty="0" smtClean="0"/>
              <a:t>¿Puede el usuario </a:t>
            </a:r>
            <a:r>
              <a:rPr lang="es-ES" sz="1100" dirty="0"/>
              <a:t>recibir el resultado de la prueba a </a:t>
            </a:r>
            <a:r>
              <a:rPr lang="es-ES" sz="1100" dirty="0" smtClean="0"/>
              <a:t>través </a:t>
            </a:r>
            <a:r>
              <a:rPr lang="es-ES" sz="1100" dirty="0"/>
              <a:t>de la propia aplicación?</a:t>
            </a:r>
            <a:endParaRPr lang="es-ES" sz="1100" dirty="0">
              <a:latin typeface="Calibri" panose="020F0502020204030204" pitchFamily="34" charset="0"/>
            </a:endParaRPr>
          </a:p>
          <a:p>
            <a:pPr marL="627063" lvl="1" indent="-171450">
              <a:buClr>
                <a:schemeClr val="dk1"/>
              </a:buClr>
              <a:buSzPts val="1100"/>
              <a:buFont typeface="Arial" panose="020B0604020202020204" pitchFamily="34" charset="0"/>
              <a:buChar char="•"/>
            </a:pPr>
            <a:r>
              <a:rPr lang="es-ES" sz="1100" dirty="0"/>
              <a:t>¿Qué características debe tener la zona donde se despliega la aplicación? Datos </a:t>
            </a:r>
            <a:r>
              <a:rPr lang="es-ES" sz="1100" dirty="0" smtClean="0"/>
              <a:t>demográficos (densidad, población que está trabajando, edades, </a:t>
            </a:r>
            <a:r>
              <a:rPr lang="es-ES" sz="1100" dirty="0"/>
              <a:t>turismo</a:t>
            </a:r>
            <a:r>
              <a:rPr lang="es-ES" sz="1100" dirty="0" smtClean="0"/>
              <a:t>…)</a:t>
            </a:r>
            <a:endParaRPr lang="es-ES" sz="1100" dirty="0"/>
          </a:p>
          <a:p>
            <a:pPr marL="344487" lvl="1" indent="-336550">
              <a:spcBef>
                <a:spcPts val="600"/>
              </a:spcBef>
              <a:buClr>
                <a:schemeClr val="dk1"/>
              </a:buClr>
              <a:buSzPts val="1100"/>
              <a:buFont typeface="Arial"/>
              <a:buAutoNum type="arabicPeriod"/>
            </a:pPr>
            <a:r>
              <a:rPr lang="es-ES" sz="1100" b="1" i="0" u="none" strike="noStrike" cap="none" dirty="0" err="1" smtClean="0">
                <a:solidFill>
                  <a:schemeClr val="dk1"/>
                </a:solidFill>
                <a:latin typeface="Arial"/>
                <a:ea typeface="Arial"/>
                <a:cs typeface="Arial"/>
                <a:sym typeface="Arial"/>
              </a:rPr>
              <a:t>Focus</a:t>
            </a:r>
            <a:r>
              <a:rPr lang="es-ES" sz="1100" b="1" i="0" u="none" strike="noStrike" cap="none" dirty="0" smtClean="0">
                <a:solidFill>
                  <a:schemeClr val="dk1"/>
                </a:solidFill>
                <a:latin typeface="Arial"/>
                <a:ea typeface="Arial"/>
                <a:cs typeface="Arial"/>
                <a:sym typeface="Arial"/>
              </a:rPr>
              <a:t> </a:t>
            </a:r>
            <a:r>
              <a:rPr lang="es-ES" sz="1100" b="1" i="0" u="none" strike="noStrike" cap="none" dirty="0" err="1" smtClean="0">
                <a:solidFill>
                  <a:schemeClr val="dk1"/>
                </a:solidFill>
                <a:latin typeface="Arial"/>
                <a:ea typeface="Arial"/>
                <a:cs typeface="Arial"/>
                <a:sym typeface="Arial"/>
              </a:rPr>
              <a:t>groups</a:t>
            </a:r>
            <a:r>
              <a:rPr lang="es-ES" sz="1100" dirty="0">
                <a:solidFill>
                  <a:schemeClr val="dk1"/>
                </a:solidFill>
              </a:rPr>
              <a:t>. Con el apoyo de la Administración, se involucrará a los actores </a:t>
            </a:r>
            <a:r>
              <a:rPr lang="es-ES" sz="1100" dirty="0" smtClean="0">
                <a:solidFill>
                  <a:schemeClr val="dk1"/>
                </a:solidFill>
              </a:rPr>
              <a:t>y </a:t>
            </a:r>
            <a:r>
              <a:rPr lang="es-ES" sz="1100" dirty="0">
                <a:solidFill>
                  <a:schemeClr val="dk1"/>
                </a:solidFill>
              </a:rPr>
              <a:t>entidades públicas necesarios. </a:t>
            </a:r>
            <a:r>
              <a:rPr lang="es-ES" sz="1100" dirty="0" smtClean="0">
                <a:solidFill>
                  <a:schemeClr val="dk1"/>
                </a:solidFill>
              </a:rPr>
              <a:t>Se creará un </a:t>
            </a:r>
            <a:r>
              <a:rPr lang="es-ES" sz="1100" dirty="0" err="1" smtClean="0">
                <a:solidFill>
                  <a:schemeClr val="dk1"/>
                </a:solidFill>
              </a:rPr>
              <a:t>focus</a:t>
            </a:r>
            <a:r>
              <a:rPr lang="es-ES" sz="1100" dirty="0" smtClean="0">
                <a:solidFill>
                  <a:schemeClr val="dk1"/>
                </a:solidFill>
              </a:rPr>
              <a:t> </a:t>
            </a:r>
            <a:r>
              <a:rPr lang="es-ES" sz="1100" dirty="0" err="1" smtClean="0">
                <a:solidFill>
                  <a:schemeClr val="dk1"/>
                </a:solidFill>
              </a:rPr>
              <a:t>group</a:t>
            </a:r>
            <a:r>
              <a:rPr lang="es-ES" sz="1100" dirty="0" smtClean="0">
                <a:solidFill>
                  <a:schemeClr val="dk1"/>
                </a:solidFill>
              </a:rPr>
              <a:t> de 10/15 personas, seleccionando a los miembros por criterios profesionales que fomenten la diversidad y el testeo de supuestos necesarios</a:t>
            </a:r>
            <a:endParaRPr lang="es-ES" sz="1100" b="0" i="0" u="none" strike="noStrike" cap="none" dirty="0" smtClean="0">
              <a:solidFill>
                <a:schemeClr val="dk1"/>
              </a:solidFill>
              <a:latin typeface="Arial"/>
              <a:ea typeface="Arial"/>
              <a:cs typeface="Arial"/>
              <a:sym typeface="Arial"/>
            </a:endParaRPr>
          </a:p>
        </p:txBody>
      </p:sp>
      <p:sp>
        <p:nvSpPr>
          <p:cNvPr id="1343" name="Google Shape;1343;g7826bb8c5e_0_149"/>
          <p:cNvSpPr/>
          <p:nvPr/>
        </p:nvSpPr>
        <p:spPr>
          <a:xfrm>
            <a:off x="7148450" y="3565668"/>
            <a:ext cx="303000" cy="161400"/>
          </a:xfrm>
          <a:prstGeom prst="rightArrow">
            <a:avLst>
              <a:gd name="adj1" fmla="val 50000"/>
              <a:gd name="adj2" fmla="val 50000"/>
            </a:avLst>
          </a:prstGeom>
          <a:solidFill>
            <a:schemeClr val="accent4"/>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344" name="Google Shape;1344;g7826bb8c5e_0_149"/>
          <p:cNvSpPr txBox="1"/>
          <p:nvPr/>
        </p:nvSpPr>
        <p:spPr>
          <a:xfrm>
            <a:off x="1372975" y="6520516"/>
            <a:ext cx="3352677" cy="171528"/>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800"/>
              <a:buFont typeface="Arial"/>
              <a:buNone/>
            </a:pPr>
            <a:r>
              <a:rPr lang="es-ES" sz="800" u="sng" dirty="0" smtClean="0"/>
              <a:t>Nota</a:t>
            </a:r>
            <a:r>
              <a:rPr lang="es-ES" sz="800" dirty="0" smtClean="0"/>
              <a:t>: excluye campaña promocional: a</a:t>
            </a:r>
            <a:r>
              <a:rPr lang="es-ES" sz="800" b="0" i="0" u="none" strike="noStrike" cap="none" dirty="0" smtClean="0">
                <a:solidFill>
                  <a:srgbClr val="000000"/>
                </a:solidFill>
                <a:latin typeface="Arial"/>
                <a:ea typeface="Arial"/>
                <a:cs typeface="Arial"/>
                <a:sym typeface="Arial"/>
              </a:rPr>
              <a:t> </a:t>
            </a:r>
            <a:r>
              <a:rPr lang="es-ES" sz="800" b="0" i="0" u="none" strike="noStrike" cap="none" dirty="0">
                <a:solidFill>
                  <a:srgbClr val="000000"/>
                </a:solidFill>
                <a:latin typeface="Arial"/>
                <a:ea typeface="Arial"/>
                <a:cs typeface="Arial"/>
                <a:sym typeface="Arial"/>
              </a:rPr>
              <a:t>ejecutar por la Administración o proveedor correspondiente</a:t>
            </a:r>
            <a:endParaRPr sz="800" b="0" i="0" u="none" strike="noStrike" cap="none" dirty="0">
              <a:solidFill>
                <a:srgbClr val="000000"/>
              </a:solidFill>
              <a:latin typeface="Arial"/>
              <a:ea typeface="Arial"/>
              <a:cs typeface="Arial"/>
              <a:sym typeface="Arial"/>
            </a:endParaRPr>
          </a:p>
        </p:txBody>
      </p:sp>
      <p:sp>
        <p:nvSpPr>
          <p:cNvPr id="1345" name="Google Shape;1345;g7826bb8c5e_0_149"/>
          <p:cNvSpPr/>
          <p:nvPr/>
        </p:nvSpPr>
        <p:spPr>
          <a:xfrm rot="-10796596">
            <a:off x="4778526" y="3565818"/>
            <a:ext cx="303000" cy="161700"/>
          </a:xfrm>
          <a:prstGeom prst="rightArrow">
            <a:avLst>
              <a:gd name="adj1" fmla="val 50000"/>
              <a:gd name="adj2" fmla="val 50000"/>
            </a:avLst>
          </a:prstGeom>
          <a:solidFill>
            <a:schemeClr val="accent4"/>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nvGrpSpPr>
          <p:cNvPr id="1346" name="Google Shape;1346;g7826bb8c5e_0_149"/>
          <p:cNvGrpSpPr/>
          <p:nvPr/>
        </p:nvGrpSpPr>
        <p:grpSpPr>
          <a:xfrm>
            <a:off x="10992330" y="88959"/>
            <a:ext cx="1104735" cy="536493"/>
            <a:chOff x="508100" y="1640544"/>
            <a:chExt cx="11238400" cy="4620956"/>
          </a:xfrm>
        </p:grpSpPr>
        <p:grpSp>
          <p:nvGrpSpPr>
            <p:cNvPr id="1347" name="Google Shape;1347;g7826bb8c5e_0_149"/>
            <p:cNvGrpSpPr/>
            <p:nvPr/>
          </p:nvGrpSpPr>
          <p:grpSpPr>
            <a:xfrm>
              <a:off x="508106" y="1640544"/>
              <a:ext cx="11232175" cy="21551"/>
              <a:chOff x="431923" y="1640499"/>
              <a:chExt cx="9605075" cy="31800"/>
            </a:xfrm>
          </p:grpSpPr>
          <p:cxnSp>
            <p:nvCxnSpPr>
              <p:cNvPr id="1348" name="Google Shape;1348;g7826bb8c5e_0_149"/>
              <p:cNvCxnSpPr/>
              <p:nvPr/>
            </p:nvCxnSpPr>
            <p:spPr>
              <a:xfrm>
                <a:off x="431923" y="1640499"/>
                <a:ext cx="4651200" cy="15900"/>
              </a:xfrm>
              <a:prstGeom prst="straightConnector1">
                <a:avLst/>
              </a:prstGeom>
              <a:noFill/>
              <a:ln w="76200" cap="flat" cmpd="sng">
                <a:solidFill>
                  <a:schemeClr val="accent4"/>
                </a:solidFill>
                <a:prstDash val="solid"/>
                <a:round/>
                <a:headEnd type="none" w="sm" len="sm"/>
                <a:tailEnd type="none" w="sm" len="sm"/>
              </a:ln>
            </p:spPr>
          </p:cxnSp>
          <p:cxnSp>
            <p:nvCxnSpPr>
              <p:cNvPr id="1349" name="Google Shape;1349;g7826bb8c5e_0_149"/>
              <p:cNvCxnSpPr/>
              <p:nvPr/>
            </p:nvCxnSpPr>
            <p:spPr>
              <a:xfrm>
                <a:off x="5385798" y="1656399"/>
                <a:ext cx="4651200" cy="15900"/>
              </a:xfrm>
              <a:prstGeom prst="straightConnector1">
                <a:avLst/>
              </a:prstGeom>
              <a:noFill/>
              <a:ln w="76200" cap="flat" cmpd="sng">
                <a:solidFill>
                  <a:srgbClr val="CCCCCC"/>
                </a:solidFill>
                <a:prstDash val="solid"/>
                <a:round/>
                <a:headEnd type="none" w="sm" len="sm"/>
                <a:tailEnd type="none" w="sm" len="sm"/>
              </a:ln>
            </p:spPr>
          </p:cxnSp>
        </p:grpSp>
        <p:sp>
          <p:nvSpPr>
            <p:cNvPr id="1350" name="Google Shape;1350;g7826bb8c5e_0_149"/>
            <p:cNvSpPr/>
            <p:nvPr/>
          </p:nvSpPr>
          <p:spPr>
            <a:xfrm>
              <a:off x="508100" y="2035875"/>
              <a:ext cx="1390500" cy="4225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351" name="Google Shape;1351;g7826bb8c5e_0_149"/>
            <p:cNvSpPr/>
            <p:nvPr/>
          </p:nvSpPr>
          <p:spPr>
            <a:xfrm>
              <a:off x="2132113" y="5255000"/>
              <a:ext cx="3766200" cy="1006500"/>
            </a:xfrm>
            <a:prstGeom prst="rect">
              <a:avLst/>
            </a:prstGeom>
            <a:solidFill>
              <a:srgbClr val="E3F3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352" name="Google Shape;1352;g7826bb8c5e_0_149"/>
            <p:cNvSpPr/>
            <p:nvPr/>
          </p:nvSpPr>
          <p:spPr>
            <a:xfrm>
              <a:off x="2132113" y="3108917"/>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353" name="Google Shape;1353;g7826bb8c5e_0_149"/>
            <p:cNvSpPr/>
            <p:nvPr/>
          </p:nvSpPr>
          <p:spPr>
            <a:xfrm>
              <a:off x="2132113" y="4181958"/>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354" name="Google Shape;1354;g7826bb8c5e_0_149"/>
            <p:cNvSpPr/>
            <p:nvPr/>
          </p:nvSpPr>
          <p:spPr>
            <a:xfrm>
              <a:off x="6343925" y="2035875"/>
              <a:ext cx="5396400" cy="13503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355" name="Google Shape;1355;g7826bb8c5e_0_149"/>
            <p:cNvSpPr/>
            <p:nvPr/>
          </p:nvSpPr>
          <p:spPr>
            <a:xfrm>
              <a:off x="6350100" y="3481700"/>
              <a:ext cx="5396400" cy="13521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356" name="Google Shape;1356;g7826bb8c5e_0_149"/>
            <p:cNvSpPr/>
            <p:nvPr/>
          </p:nvSpPr>
          <p:spPr>
            <a:xfrm>
              <a:off x="6343925" y="4945700"/>
              <a:ext cx="5396400" cy="13158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357" name="Google Shape;1357;g7826bb8c5e_0_149"/>
            <p:cNvSpPr/>
            <p:nvPr/>
          </p:nvSpPr>
          <p:spPr>
            <a:xfrm>
              <a:off x="2132113" y="2035875"/>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grpSp>
      <p:sp>
        <p:nvSpPr>
          <p:cNvPr id="33" name="Google Shape;1344;g7826bb8c5e_0_149"/>
          <p:cNvSpPr txBox="1"/>
          <p:nvPr/>
        </p:nvSpPr>
        <p:spPr>
          <a:xfrm>
            <a:off x="7451374" y="6607594"/>
            <a:ext cx="3352677" cy="171528"/>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800"/>
              <a:buFont typeface="Arial"/>
              <a:buNone/>
            </a:pPr>
            <a:r>
              <a:rPr lang="es-ES" sz="800" dirty="0" smtClean="0"/>
              <a:t>* </a:t>
            </a:r>
            <a:r>
              <a:rPr lang="es-ES" sz="800" b="0" i="0" u="none" strike="noStrike" cap="none" dirty="0" smtClean="0">
                <a:solidFill>
                  <a:srgbClr val="000000"/>
                </a:solidFill>
                <a:latin typeface="Arial"/>
                <a:ea typeface="Arial"/>
                <a:cs typeface="Arial"/>
                <a:sym typeface="Arial"/>
              </a:rPr>
              <a:t>El equipo UX apoyará en aspectos no técnicos de la usabilidad</a:t>
            </a:r>
            <a:endParaRPr sz="800" b="0" i="0" u="none" strike="noStrike" cap="none" dirty="0">
              <a:solidFill>
                <a:srgbClr val="000000"/>
              </a:solidFill>
              <a:latin typeface="Arial"/>
              <a:ea typeface="Arial"/>
              <a:cs typeface="Arial"/>
              <a:sym typeface="Arial"/>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361"/>
        <p:cNvGrpSpPr/>
        <p:nvPr/>
      </p:nvGrpSpPr>
      <p:grpSpPr>
        <a:xfrm>
          <a:off x="0" y="0"/>
          <a:ext cx="0" cy="0"/>
          <a:chOff x="0" y="0"/>
          <a:chExt cx="0" cy="0"/>
        </a:xfrm>
      </p:grpSpPr>
      <p:sp>
        <p:nvSpPr>
          <p:cNvPr id="2" name="Marcador de texto 1"/>
          <p:cNvSpPr>
            <a:spLocks noGrp="1"/>
          </p:cNvSpPr>
          <p:nvPr>
            <p:ph type="body" idx="1"/>
          </p:nvPr>
        </p:nvSpPr>
        <p:spPr/>
        <p:txBody>
          <a:bodyPr/>
          <a:lstStyle/>
          <a:p>
            <a:endParaRPr lang="es-ES"/>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399"/>
        <p:cNvGrpSpPr/>
        <p:nvPr/>
      </p:nvGrpSpPr>
      <p:grpSpPr>
        <a:xfrm>
          <a:off x="0" y="0"/>
          <a:ext cx="0" cy="0"/>
          <a:chOff x="0" y="0"/>
          <a:chExt cx="0" cy="0"/>
        </a:xfrm>
      </p:grpSpPr>
      <p:sp>
        <p:nvSpPr>
          <p:cNvPr id="1400" name="Google Shape;1400;g7826bb8c5e_0_138"/>
          <p:cNvSpPr/>
          <p:nvPr/>
        </p:nvSpPr>
        <p:spPr>
          <a:xfrm>
            <a:off x="7521708" y="1483874"/>
            <a:ext cx="4305300" cy="3889200"/>
          </a:xfrm>
          <a:prstGeom prst="parallelogram">
            <a:avLst>
              <a:gd name="adj" fmla="val 19558"/>
            </a:avLst>
          </a:prstGeom>
          <a:solidFill>
            <a:srgbClr val="FDEDE0"/>
          </a:solidFill>
          <a:ln>
            <a:noFill/>
          </a:ln>
        </p:spPr>
        <p:txBody>
          <a:bodyPr spcFirstLastPara="1" wrap="square" lIns="91425" tIns="45700" rIns="91425" bIns="45700" anchor="ctr" anchorCtr="0">
            <a:noAutofit/>
          </a:bodyPr>
          <a:lstStyle/>
          <a:p>
            <a:pPr marL="355600" marR="0" lvl="0" indent="0" algn="ctr" rtl="0">
              <a:lnSpc>
                <a:spcPct val="100000"/>
              </a:lnSpc>
              <a:spcBef>
                <a:spcPts val="0"/>
              </a:spcBef>
              <a:spcAft>
                <a:spcPts val="0"/>
              </a:spcAft>
              <a:buClr>
                <a:srgbClr val="000000"/>
              </a:buClr>
              <a:buSzPts val="1799"/>
              <a:buFont typeface="Arial"/>
              <a:buNone/>
            </a:pPr>
            <a:r>
              <a:rPr lang="es-ES" sz="1799" b="0" i="0" u="none" strike="noStrike" cap="none">
                <a:solidFill>
                  <a:srgbClr val="1A3B47"/>
                </a:solidFill>
                <a:latin typeface="Playfair Display"/>
                <a:ea typeface="Playfair Display"/>
                <a:cs typeface="Playfair Display"/>
                <a:sym typeface="Playfair Display"/>
              </a:rPr>
              <a:t>¿Qué entregables se generan?</a:t>
            </a:r>
            <a:endParaRPr sz="1400" b="0" i="0" u="none" strike="noStrike" cap="none">
              <a:solidFill>
                <a:srgbClr val="000000"/>
              </a:solidFill>
              <a:latin typeface="Arial"/>
              <a:ea typeface="Arial"/>
              <a:cs typeface="Arial"/>
              <a:sym typeface="Arial"/>
            </a:endParaRPr>
          </a:p>
          <a:p>
            <a:pPr marL="355600" marR="0" lvl="0" indent="-185737" algn="l" rtl="0">
              <a:lnSpc>
                <a:spcPct val="100000"/>
              </a:lnSpc>
              <a:spcBef>
                <a:spcPts val="600"/>
              </a:spcBef>
              <a:spcAft>
                <a:spcPts val="0"/>
              </a:spcAft>
              <a:buClr>
                <a:srgbClr val="1A3B47"/>
              </a:buClr>
              <a:buSzPts val="1050"/>
              <a:buFont typeface="Helvetica Neue"/>
              <a:buChar char="•"/>
            </a:pPr>
            <a:r>
              <a:rPr lang="es-ES" sz="1050" b="1" i="0" u="none" strike="noStrike" cap="none">
                <a:solidFill>
                  <a:srgbClr val="1A3B47"/>
                </a:solidFill>
                <a:latin typeface="Helvetica Neue"/>
                <a:ea typeface="Helvetica Neue"/>
                <a:cs typeface="Helvetica Neue"/>
                <a:sym typeface="Helvetica Neue"/>
              </a:rPr>
              <a:t>KPIs.</a:t>
            </a:r>
            <a:r>
              <a:rPr lang="es-ES" sz="1050" b="0" i="0" u="none" strike="noStrike" cap="none">
                <a:solidFill>
                  <a:srgbClr val="1A3B47"/>
                </a:solidFill>
                <a:latin typeface="Helvetica Neue"/>
                <a:ea typeface="Helvetica Neue"/>
                <a:cs typeface="Helvetica Neue"/>
                <a:sym typeface="Helvetica Neue"/>
              </a:rPr>
              <a:t> Relación de métricas a utilizar para soportar los reportes. Soporte: Excel</a:t>
            </a:r>
            <a:endParaRPr sz="1050" b="0" i="0" u="none" strike="noStrike" cap="none">
              <a:solidFill>
                <a:srgbClr val="1A3B47"/>
              </a:solidFill>
              <a:latin typeface="Helvetica Neue"/>
              <a:ea typeface="Helvetica Neue"/>
              <a:cs typeface="Helvetica Neue"/>
              <a:sym typeface="Helvetica Neue"/>
            </a:endParaRPr>
          </a:p>
          <a:p>
            <a:pPr marL="355600" marR="0" lvl="0" indent="-185737" algn="l" rtl="0">
              <a:lnSpc>
                <a:spcPct val="100000"/>
              </a:lnSpc>
              <a:spcBef>
                <a:spcPts val="600"/>
              </a:spcBef>
              <a:spcAft>
                <a:spcPts val="0"/>
              </a:spcAft>
              <a:buClr>
                <a:srgbClr val="1A3B47"/>
              </a:buClr>
              <a:buSzPts val="1050"/>
              <a:buFont typeface="Helvetica Neue"/>
              <a:buChar char="•"/>
            </a:pPr>
            <a:r>
              <a:rPr lang="es-ES" sz="1050" b="1" i="0" u="none" strike="noStrike" cap="none">
                <a:solidFill>
                  <a:schemeClr val="dk1"/>
                </a:solidFill>
                <a:latin typeface="Helvetica Neue"/>
                <a:ea typeface="Helvetica Neue"/>
                <a:cs typeface="Helvetica Neue"/>
                <a:sym typeface="Helvetica Neue"/>
              </a:rPr>
              <a:t>Cuadro de Mando</a:t>
            </a:r>
            <a:r>
              <a:rPr lang="es-ES" sz="1050" b="0" i="0" u="none" strike="noStrike" cap="none">
                <a:solidFill>
                  <a:schemeClr val="dk1"/>
                </a:solidFill>
                <a:latin typeface="Helvetica Neue"/>
                <a:ea typeface="Helvetica Neue"/>
                <a:cs typeface="Helvetica Neue"/>
                <a:sym typeface="Helvetica Neue"/>
              </a:rPr>
              <a:t>.</a:t>
            </a:r>
            <a:r>
              <a:rPr lang="es-ES" sz="1050" b="0" i="0" u="none" strike="noStrike" cap="none">
                <a:solidFill>
                  <a:srgbClr val="1A3B47"/>
                </a:solidFill>
                <a:latin typeface="Helvetica Neue"/>
                <a:ea typeface="Helvetica Neue"/>
                <a:cs typeface="Helvetica Neue"/>
                <a:sym typeface="Helvetica Neue"/>
              </a:rPr>
              <a:t> Reporte de seguimiento del piloto con métricas y soportes gráficos. Soporte: Excel, Power Point u otros, según preferencias de la Administración</a:t>
            </a:r>
            <a:endParaRPr sz="1050" b="0" i="0" u="none" strike="noStrike" cap="none">
              <a:solidFill>
                <a:srgbClr val="1A3B47"/>
              </a:solidFill>
              <a:latin typeface="Helvetica Neue"/>
              <a:ea typeface="Helvetica Neue"/>
              <a:cs typeface="Helvetica Neue"/>
              <a:sym typeface="Helvetica Neue"/>
            </a:endParaRPr>
          </a:p>
          <a:p>
            <a:pPr marL="355600" marR="0" lvl="0" indent="-185737" algn="l" rtl="0">
              <a:lnSpc>
                <a:spcPct val="100000"/>
              </a:lnSpc>
              <a:spcBef>
                <a:spcPts val="600"/>
              </a:spcBef>
              <a:spcAft>
                <a:spcPts val="0"/>
              </a:spcAft>
              <a:buClr>
                <a:srgbClr val="1A3B47"/>
              </a:buClr>
              <a:buSzPts val="1050"/>
              <a:buFont typeface="Helvetica Neue"/>
              <a:buChar char="•"/>
            </a:pPr>
            <a:r>
              <a:rPr lang="es-ES" sz="1050" b="1" i="0" u="none" strike="noStrike" cap="none">
                <a:solidFill>
                  <a:schemeClr val="dk1"/>
                </a:solidFill>
                <a:latin typeface="Helvetica Neue"/>
                <a:ea typeface="Helvetica Neue"/>
                <a:cs typeface="Helvetica Neue"/>
                <a:sym typeface="Helvetica Neue"/>
              </a:rPr>
              <a:t>Documento de diagnóstico y recomendaciones</a:t>
            </a:r>
            <a:r>
              <a:rPr lang="es-ES" sz="1050" b="0" i="0" u="none" strike="noStrike" cap="none">
                <a:solidFill>
                  <a:schemeClr val="dk1"/>
                </a:solidFill>
                <a:latin typeface="Helvetica Neue"/>
                <a:ea typeface="Helvetica Neue"/>
                <a:cs typeface="Helvetica Neue"/>
                <a:sym typeface="Helvetica Neue"/>
              </a:rPr>
              <a:t>. Conclusiones de los </a:t>
            </a:r>
            <a:r>
              <a:rPr lang="es-ES" sz="1050" b="0" i="1" u="none" strike="noStrike" cap="none">
                <a:solidFill>
                  <a:schemeClr val="dk1"/>
                </a:solidFill>
                <a:latin typeface="Helvetica Neue"/>
                <a:ea typeface="Helvetica Neue"/>
                <a:cs typeface="Helvetica Neue"/>
                <a:sym typeface="Helvetica Neue"/>
              </a:rPr>
              <a:t>insights</a:t>
            </a:r>
            <a:r>
              <a:rPr lang="es-ES" sz="1050" b="0" i="0" u="none" strike="noStrike" cap="none">
                <a:solidFill>
                  <a:schemeClr val="dk1"/>
                </a:solidFill>
                <a:latin typeface="Helvetica Neue"/>
                <a:ea typeface="Helvetica Neue"/>
                <a:cs typeface="Helvetica Neue"/>
                <a:sym typeface="Helvetica Neue"/>
              </a:rPr>
              <a:t>, decisiones a tomar y propuestas de continuación en base a los reportes. Soporte: Excel, Power Point u otros, según preferencias de la Administración</a:t>
            </a:r>
            <a:endParaRPr sz="1050" b="0" i="0" u="none" strike="noStrike" cap="none">
              <a:solidFill>
                <a:schemeClr val="dk1"/>
              </a:solidFill>
              <a:latin typeface="Helvetica Neue"/>
              <a:ea typeface="Helvetica Neue"/>
              <a:cs typeface="Helvetica Neue"/>
              <a:sym typeface="Helvetica Neue"/>
            </a:endParaRPr>
          </a:p>
          <a:p>
            <a:pPr marL="457200" marR="0" lvl="0" indent="0" algn="l" rtl="0">
              <a:lnSpc>
                <a:spcPct val="100000"/>
              </a:lnSpc>
              <a:spcBef>
                <a:spcPts val="600"/>
              </a:spcBef>
              <a:spcAft>
                <a:spcPts val="0"/>
              </a:spcAft>
              <a:buClr>
                <a:srgbClr val="000000"/>
              </a:buClr>
              <a:buSzPts val="1050"/>
              <a:buFont typeface="Arial"/>
              <a:buNone/>
            </a:pPr>
            <a:endParaRPr sz="1050" b="0" i="0" u="none" strike="noStrike" cap="none">
              <a:solidFill>
                <a:schemeClr val="dk1"/>
              </a:solidFill>
              <a:latin typeface="Helvetica Neue"/>
              <a:ea typeface="Helvetica Neue"/>
              <a:cs typeface="Helvetica Neue"/>
              <a:sym typeface="Helvetica Neue"/>
            </a:endParaRPr>
          </a:p>
        </p:txBody>
      </p:sp>
      <p:sp>
        <p:nvSpPr>
          <p:cNvPr id="1401" name="Google Shape;1401;g7826bb8c5e_0_138"/>
          <p:cNvSpPr txBox="1"/>
          <p:nvPr/>
        </p:nvSpPr>
        <p:spPr>
          <a:xfrm>
            <a:off x="335998" y="649092"/>
            <a:ext cx="11232600" cy="7221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2400"/>
              <a:buFont typeface="Playfair Display"/>
              <a:buNone/>
            </a:pPr>
            <a:r>
              <a:rPr lang="es-ES" sz="2400" b="1" i="0" u="none" strike="noStrike" cap="none">
                <a:solidFill>
                  <a:schemeClr val="dk1"/>
                </a:solidFill>
                <a:latin typeface="Playfair Display"/>
                <a:ea typeface="Playfair Display"/>
                <a:cs typeface="Playfair Display"/>
                <a:sym typeface="Playfair Display"/>
              </a:rPr>
              <a:t>Piloto: Seguimiento</a:t>
            </a:r>
            <a:r>
              <a:rPr lang="es-ES" sz="2400" b="0" i="0" u="none" strike="noStrike" cap="none">
                <a:solidFill>
                  <a:schemeClr val="dk1"/>
                </a:solidFill>
                <a:latin typeface="Playfair Display"/>
                <a:ea typeface="Playfair Display"/>
                <a:cs typeface="Playfair Display"/>
                <a:sym typeface="Playfair Display"/>
              </a:rPr>
              <a:t>. Análisis del éxito del piloto y recomendaciones</a:t>
            </a:r>
            <a:endParaRPr sz="2400" b="0" i="0" u="none" strike="noStrike" cap="none">
              <a:solidFill>
                <a:schemeClr val="dk1"/>
              </a:solidFill>
              <a:latin typeface="Playfair Display"/>
              <a:ea typeface="Playfair Display"/>
              <a:cs typeface="Playfair Display"/>
              <a:sym typeface="Playfair Display"/>
            </a:endParaRPr>
          </a:p>
        </p:txBody>
      </p:sp>
      <p:sp>
        <p:nvSpPr>
          <p:cNvPr id="1402" name="Google Shape;1402;g7826bb8c5e_0_138"/>
          <p:cNvSpPr txBox="1">
            <a:spLocks noGrp="1"/>
          </p:cNvSpPr>
          <p:nvPr>
            <p:ph type="body" idx="1"/>
          </p:nvPr>
        </p:nvSpPr>
        <p:spPr>
          <a:xfrm>
            <a:off x="336000" y="128400"/>
            <a:ext cx="11519400" cy="251400"/>
          </a:xfrm>
          <a:prstGeom prst="rect">
            <a:avLst/>
          </a:prstGeom>
          <a:noFill/>
          <a:ln>
            <a:noFill/>
          </a:ln>
        </p:spPr>
        <p:txBody>
          <a:bodyPr spcFirstLastPara="1" wrap="square" lIns="0" tIns="45700" rIns="91425" bIns="45700" anchor="t" anchorCtr="0">
            <a:noAutofit/>
          </a:bodyPr>
          <a:lstStyle/>
          <a:p>
            <a:pPr marL="0" lvl="0" indent="0" algn="l" rtl="0">
              <a:lnSpc>
                <a:spcPct val="90000"/>
              </a:lnSpc>
              <a:spcBef>
                <a:spcPts val="0"/>
              </a:spcBef>
              <a:spcAft>
                <a:spcPts val="0"/>
              </a:spcAft>
              <a:buClr>
                <a:srgbClr val="1A3B47"/>
              </a:buClr>
              <a:buSzPts val="1400"/>
              <a:buNone/>
            </a:pPr>
            <a:r>
              <a:rPr lang="es-ES" sz="1400">
                <a:latin typeface="Playfair Display"/>
                <a:ea typeface="Playfair Display"/>
                <a:cs typeface="Playfair Display"/>
                <a:sym typeface="Playfair Display"/>
              </a:rPr>
              <a:t>Covid-19 app - Alcance y enfoque del trabajo propuesto</a:t>
            </a:r>
            <a:endParaRPr/>
          </a:p>
        </p:txBody>
      </p:sp>
      <p:sp>
        <p:nvSpPr>
          <p:cNvPr id="1403" name="Google Shape;1403;g7826bb8c5e_0_138"/>
          <p:cNvSpPr/>
          <p:nvPr/>
        </p:nvSpPr>
        <p:spPr>
          <a:xfrm>
            <a:off x="7596258" y="5074673"/>
            <a:ext cx="4116300" cy="1373700"/>
          </a:xfrm>
          <a:prstGeom prst="parallelogram">
            <a:avLst>
              <a:gd name="adj" fmla="val 25000"/>
            </a:avLst>
          </a:prstGeom>
          <a:solidFill>
            <a:srgbClr val="E2E2E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700"/>
              <a:buFont typeface="Arial"/>
              <a:buNone/>
            </a:pPr>
            <a:endParaRPr sz="1700" b="0" i="0" u="none" strike="noStrike" cap="none">
              <a:solidFill>
                <a:srgbClr val="FFFFFF"/>
              </a:solidFill>
              <a:latin typeface="Playfair Display"/>
              <a:ea typeface="Playfair Display"/>
              <a:cs typeface="Playfair Display"/>
              <a:sym typeface="Playfair Display"/>
            </a:endParaRPr>
          </a:p>
        </p:txBody>
      </p:sp>
      <p:grpSp>
        <p:nvGrpSpPr>
          <p:cNvPr id="1404" name="Google Shape;1404;g7826bb8c5e_0_138"/>
          <p:cNvGrpSpPr/>
          <p:nvPr/>
        </p:nvGrpSpPr>
        <p:grpSpPr>
          <a:xfrm>
            <a:off x="407381" y="2363271"/>
            <a:ext cx="3094512" cy="1626702"/>
            <a:chOff x="660126" y="1663894"/>
            <a:chExt cx="2881028" cy="1789354"/>
          </a:xfrm>
        </p:grpSpPr>
        <p:sp>
          <p:nvSpPr>
            <p:cNvPr id="1405" name="Google Shape;1405;g7826bb8c5e_0_138"/>
            <p:cNvSpPr/>
            <p:nvPr/>
          </p:nvSpPr>
          <p:spPr>
            <a:xfrm>
              <a:off x="705554" y="1929848"/>
              <a:ext cx="2835600" cy="15234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050"/>
                <a:buFont typeface="Arial"/>
                <a:buNone/>
              </a:pPr>
              <a:endParaRPr sz="1050" b="0" i="0" u="none" strike="noStrike" cap="none">
                <a:solidFill>
                  <a:srgbClr val="1A3B47"/>
                </a:solidFill>
                <a:latin typeface="Helvetica Neue"/>
                <a:ea typeface="Helvetica Neue"/>
                <a:cs typeface="Helvetica Neue"/>
                <a:sym typeface="Helvetica Neue"/>
              </a:endParaRPr>
            </a:p>
            <a:p>
              <a:pPr marL="355600" marR="0" lvl="0" indent="-195262" algn="l" rtl="0">
                <a:lnSpc>
                  <a:spcPct val="100000"/>
                </a:lnSpc>
                <a:spcBef>
                  <a:spcPts val="0"/>
                </a:spcBef>
                <a:spcAft>
                  <a:spcPts val="0"/>
                </a:spcAft>
                <a:buClr>
                  <a:srgbClr val="1A3B47"/>
                </a:buClr>
                <a:buSzPts val="1200"/>
                <a:buFont typeface="Helvetica Neue"/>
                <a:buChar char="•"/>
              </a:pPr>
              <a:r>
                <a:rPr lang="es-ES" sz="1200" b="0" i="0" u="none" strike="noStrike" cap="none">
                  <a:solidFill>
                    <a:srgbClr val="1A3B47"/>
                  </a:solidFill>
                  <a:latin typeface="Helvetica Neue"/>
                  <a:ea typeface="Helvetica Neue"/>
                  <a:cs typeface="Helvetica Neue"/>
                  <a:sym typeface="Helvetica Neue"/>
                </a:rPr>
                <a:t>Medir el éxito del piloto a partir de las métricas adecuadas</a:t>
              </a:r>
              <a:endParaRPr sz="1200" b="0" i="0" u="none" strike="noStrike" cap="none">
                <a:solidFill>
                  <a:srgbClr val="1A3B47"/>
                </a:solidFill>
                <a:latin typeface="Helvetica Neue"/>
                <a:ea typeface="Helvetica Neue"/>
                <a:cs typeface="Helvetica Neue"/>
                <a:sym typeface="Helvetica Neue"/>
              </a:endParaRPr>
            </a:p>
            <a:p>
              <a:pPr marL="355600" marR="0" lvl="0" indent="-195262" algn="l" rtl="0">
                <a:lnSpc>
                  <a:spcPct val="100000"/>
                </a:lnSpc>
                <a:spcBef>
                  <a:spcPts val="0"/>
                </a:spcBef>
                <a:spcAft>
                  <a:spcPts val="0"/>
                </a:spcAft>
                <a:buClr>
                  <a:srgbClr val="1A3B47"/>
                </a:buClr>
                <a:buSzPts val="1200"/>
                <a:buFont typeface="Helvetica Neue"/>
                <a:buChar char="•"/>
              </a:pPr>
              <a:r>
                <a:rPr lang="es-ES" sz="1200" b="0" i="0" u="none" strike="noStrike" cap="none">
                  <a:solidFill>
                    <a:srgbClr val="1A3B47"/>
                  </a:solidFill>
                  <a:latin typeface="Helvetica Neue"/>
                  <a:ea typeface="Helvetica Neue"/>
                  <a:cs typeface="Helvetica Neue"/>
                  <a:sym typeface="Helvetica Neue"/>
                </a:rPr>
                <a:t>Soportar la toma de decisiones en base a datos</a:t>
              </a:r>
              <a:endParaRPr sz="1200" b="0" i="0" u="none" strike="noStrike" cap="none">
                <a:solidFill>
                  <a:srgbClr val="1A3B47"/>
                </a:solidFill>
                <a:latin typeface="Helvetica Neue"/>
                <a:ea typeface="Helvetica Neue"/>
                <a:cs typeface="Helvetica Neue"/>
                <a:sym typeface="Helvetica Neue"/>
              </a:endParaRPr>
            </a:p>
          </p:txBody>
        </p:sp>
        <p:sp>
          <p:nvSpPr>
            <p:cNvPr id="1406" name="Google Shape;1406;g7826bb8c5e_0_138"/>
            <p:cNvSpPr/>
            <p:nvPr/>
          </p:nvSpPr>
          <p:spPr>
            <a:xfrm>
              <a:off x="660126" y="1663894"/>
              <a:ext cx="2355900" cy="338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s-ES" sz="1600" b="0" i="0" u="none" strike="noStrike" cap="none">
                  <a:solidFill>
                    <a:srgbClr val="639FCB"/>
                  </a:solidFill>
                  <a:latin typeface="Playfair Display"/>
                  <a:ea typeface="Playfair Display"/>
                  <a:cs typeface="Playfair Display"/>
                  <a:sym typeface="Playfair Display"/>
                </a:rPr>
                <a:t>Objetivo</a:t>
              </a:r>
              <a:endParaRPr sz="1400" b="0" i="0" u="none" strike="noStrike" cap="none">
                <a:solidFill>
                  <a:srgbClr val="000000"/>
                </a:solidFill>
                <a:latin typeface="Arial"/>
                <a:ea typeface="Arial"/>
                <a:cs typeface="Arial"/>
                <a:sym typeface="Arial"/>
              </a:endParaRPr>
            </a:p>
          </p:txBody>
        </p:sp>
      </p:grpSp>
      <p:sp>
        <p:nvSpPr>
          <p:cNvPr id="1407" name="Google Shape;1407;g7826bb8c5e_0_138"/>
          <p:cNvSpPr/>
          <p:nvPr/>
        </p:nvSpPr>
        <p:spPr>
          <a:xfrm>
            <a:off x="8522950" y="5320550"/>
            <a:ext cx="2985600" cy="1111200"/>
          </a:xfrm>
          <a:prstGeom prst="rect">
            <a:avLst/>
          </a:prstGeom>
          <a:noFill/>
          <a:ln>
            <a:noFill/>
          </a:ln>
        </p:spPr>
        <p:txBody>
          <a:bodyPr spcFirstLastPara="1" wrap="square" lIns="91425" tIns="45700" rIns="91425" bIns="45700" anchor="t" anchorCtr="0">
            <a:noAutofit/>
          </a:bodyPr>
          <a:lstStyle/>
          <a:p>
            <a:pPr marL="173037" marR="0" lvl="0" indent="0" algn="l" rtl="0">
              <a:lnSpc>
                <a:spcPct val="100000"/>
              </a:lnSpc>
              <a:spcBef>
                <a:spcPts val="0"/>
              </a:spcBef>
              <a:spcAft>
                <a:spcPts val="0"/>
              </a:spcAft>
              <a:buClr>
                <a:srgbClr val="000000"/>
              </a:buClr>
              <a:buSzPts val="1050"/>
              <a:buFont typeface="Arial"/>
              <a:buNone/>
            </a:pPr>
            <a:r>
              <a:rPr lang="es-ES" sz="1050" b="1" i="0" u="none" strike="noStrike" cap="none">
                <a:solidFill>
                  <a:srgbClr val="1A3B47"/>
                </a:solidFill>
                <a:latin typeface="Helvetica Neue"/>
                <a:ea typeface="Helvetica Neue"/>
                <a:cs typeface="Helvetica Neue"/>
                <a:sym typeface="Helvetica Neue"/>
              </a:rPr>
              <a:t>A tener en cuenta</a:t>
            </a:r>
            <a:endParaRPr sz="1050" b="1" i="0" u="none" strike="noStrike" cap="none">
              <a:solidFill>
                <a:srgbClr val="1A3B47"/>
              </a:solidFill>
              <a:latin typeface="Helvetica Neue"/>
              <a:ea typeface="Helvetica Neue"/>
              <a:cs typeface="Helvetica Neue"/>
              <a:sym typeface="Helvetica Neue"/>
            </a:endParaRPr>
          </a:p>
          <a:p>
            <a:pPr marL="173037" marR="0" lvl="0" indent="0" algn="l" rtl="0">
              <a:lnSpc>
                <a:spcPct val="100000"/>
              </a:lnSpc>
              <a:spcBef>
                <a:spcPts val="0"/>
              </a:spcBef>
              <a:spcAft>
                <a:spcPts val="0"/>
              </a:spcAft>
              <a:buClr>
                <a:srgbClr val="000000"/>
              </a:buClr>
              <a:buSzPts val="1050"/>
              <a:buFont typeface="Arial"/>
              <a:buNone/>
            </a:pPr>
            <a:r>
              <a:rPr lang="es-ES" sz="1050" b="0" i="0" u="none" strike="noStrike" cap="none">
                <a:solidFill>
                  <a:srgbClr val="1A3B47"/>
                </a:solidFill>
                <a:latin typeface="Helvetica Neue"/>
                <a:ea typeface="Helvetica Neue"/>
                <a:cs typeface="Helvetica Neue"/>
                <a:sym typeface="Helvetica Neue"/>
              </a:rPr>
              <a:t>El seguimiento será continuo para dotar de agilidad a la respuesta de la Administración frente a las necesidades cambiantes (nuevas funcionalidades, cambios de enfoque, escalado,...)</a:t>
            </a:r>
            <a:endParaRPr sz="1050" b="0" i="0" u="none" strike="noStrike" cap="none">
              <a:solidFill>
                <a:srgbClr val="1A3B47"/>
              </a:solidFill>
              <a:latin typeface="Helvetica Neue"/>
              <a:ea typeface="Helvetica Neue"/>
              <a:cs typeface="Helvetica Neue"/>
              <a:sym typeface="Helvetica Neue"/>
            </a:endParaRPr>
          </a:p>
        </p:txBody>
      </p:sp>
      <p:sp>
        <p:nvSpPr>
          <p:cNvPr id="1408" name="Google Shape;1408;g7826bb8c5e_0_138"/>
          <p:cNvSpPr/>
          <p:nvPr/>
        </p:nvSpPr>
        <p:spPr>
          <a:xfrm>
            <a:off x="-312712" y="1484784"/>
            <a:ext cx="5976600" cy="657000"/>
          </a:xfrm>
          <a:prstGeom prst="parallelogram">
            <a:avLst>
              <a:gd name="adj" fmla="val 25000"/>
            </a:avLst>
          </a:prstGeom>
          <a:solidFill>
            <a:srgbClr val="FDEDE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799"/>
              <a:buFont typeface="Arial"/>
              <a:buNone/>
            </a:pPr>
            <a:r>
              <a:rPr lang="es-ES" sz="1799" b="0" i="0" u="none" strike="noStrike" cap="none">
                <a:solidFill>
                  <a:srgbClr val="1A3B47"/>
                </a:solidFill>
                <a:latin typeface="Playfair Display"/>
                <a:ea typeface="Playfair Display"/>
                <a:cs typeface="Playfair Display"/>
                <a:sym typeface="Playfair Display"/>
              </a:rPr>
              <a:t>¿En qué consiste este bloque?</a:t>
            </a:r>
            <a:endParaRPr sz="1400" b="0" i="0" u="none" strike="noStrike" cap="none">
              <a:solidFill>
                <a:srgbClr val="000000"/>
              </a:solidFill>
              <a:latin typeface="Arial"/>
              <a:ea typeface="Arial"/>
              <a:cs typeface="Arial"/>
              <a:sym typeface="Arial"/>
            </a:endParaRPr>
          </a:p>
        </p:txBody>
      </p:sp>
      <p:grpSp>
        <p:nvGrpSpPr>
          <p:cNvPr id="1409" name="Google Shape;1409;g7826bb8c5e_0_138"/>
          <p:cNvGrpSpPr/>
          <p:nvPr/>
        </p:nvGrpSpPr>
        <p:grpSpPr>
          <a:xfrm>
            <a:off x="3630362" y="2363280"/>
            <a:ext cx="2843571" cy="1626685"/>
            <a:chOff x="660126" y="1663894"/>
            <a:chExt cx="2355900" cy="1789336"/>
          </a:xfrm>
        </p:grpSpPr>
        <p:sp>
          <p:nvSpPr>
            <p:cNvPr id="1410" name="Google Shape;1410;g7826bb8c5e_0_138"/>
            <p:cNvSpPr/>
            <p:nvPr/>
          </p:nvSpPr>
          <p:spPr>
            <a:xfrm>
              <a:off x="705550" y="1929830"/>
              <a:ext cx="2052900" cy="15234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050"/>
                <a:buFont typeface="Arial"/>
                <a:buNone/>
              </a:pPr>
              <a:endParaRPr sz="1050" b="0" i="0" u="none" strike="noStrike" cap="none">
                <a:solidFill>
                  <a:srgbClr val="1A3B47"/>
                </a:solidFill>
                <a:latin typeface="Helvetica Neue"/>
                <a:ea typeface="Helvetica Neue"/>
                <a:cs typeface="Helvetica Neue"/>
                <a:sym typeface="Helvetica Neue"/>
              </a:endParaRPr>
            </a:p>
            <a:p>
              <a:pPr marL="355600" marR="0" lvl="0" indent="-195262" algn="l" rtl="0">
                <a:lnSpc>
                  <a:spcPct val="100000"/>
                </a:lnSpc>
                <a:spcBef>
                  <a:spcPts val="0"/>
                </a:spcBef>
                <a:spcAft>
                  <a:spcPts val="0"/>
                </a:spcAft>
                <a:buClr>
                  <a:srgbClr val="1A3B47"/>
                </a:buClr>
                <a:buSzPts val="1200"/>
                <a:buFont typeface="Helvetica Neue"/>
                <a:buChar char="•"/>
              </a:pPr>
              <a:r>
                <a:rPr lang="es-ES" sz="1200" b="0" i="0" u="none" strike="noStrike" cap="none">
                  <a:solidFill>
                    <a:srgbClr val="1A3B47"/>
                  </a:solidFill>
                  <a:latin typeface="Helvetica Neue"/>
                  <a:ea typeface="Helvetica Neue"/>
                  <a:cs typeface="Helvetica Neue"/>
                  <a:sym typeface="Helvetica Neue"/>
                </a:rPr>
                <a:t>Actividad de apoyo al piloto sujeta a duración del mismo</a:t>
              </a:r>
              <a:endParaRPr sz="1200" b="0" i="0" u="none" strike="noStrike" cap="none">
                <a:solidFill>
                  <a:srgbClr val="1A3B47"/>
                </a:solidFill>
                <a:latin typeface="Helvetica Neue"/>
                <a:ea typeface="Helvetica Neue"/>
                <a:cs typeface="Helvetica Neue"/>
                <a:sym typeface="Helvetica Neue"/>
              </a:endParaRPr>
            </a:p>
          </p:txBody>
        </p:sp>
        <p:sp>
          <p:nvSpPr>
            <p:cNvPr id="1411" name="Google Shape;1411;g7826bb8c5e_0_138"/>
            <p:cNvSpPr/>
            <p:nvPr/>
          </p:nvSpPr>
          <p:spPr>
            <a:xfrm>
              <a:off x="660126" y="1663894"/>
              <a:ext cx="2355900" cy="338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s-ES" sz="1600" b="0" i="0" u="none" strike="noStrike" cap="none">
                  <a:solidFill>
                    <a:srgbClr val="639FCB"/>
                  </a:solidFill>
                  <a:latin typeface="Playfair Display"/>
                  <a:ea typeface="Playfair Display"/>
                  <a:cs typeface="Playfair Display"/>
                  <a:sym typeface="Playfair Display"/>
                </a:rPr>
                <a:t>Plazo</a:t>
              </a:r>
              <a:endParaRPr sz="1400" b="0" i="0" u="none" strike="noStrike" cap="none">
                <a:solidFill>
                  <a:srgbClr val="000000"/>
                </a:solidFill>
                <a:latin typeface="Arial"/>
                <a:ea typeface="Arial"/>
                <a:cs typeface="Arial"/>
                <a:sym typeface="Arial"/>
              </a:endParaRPr>
            </a:p>
          </p:txBody>
        </p:sp>
      </p:grpSp>
      <p:grpSp>
        <p:nvGrpSpPr>
          <p:cNvPr id="1412" name="Google Shape;1412;g7826bb8c5e_0_138"/>
          <p:cNvGrpSpPr/>
          <p:nvPr/>
        </p:nvGrpSpPr>
        <p:grpSpPr>
          <a:xfrm>
            <a:off x="408331" y="4335958"/>
            <a:ext cx="4941736" cy="1626690"/>
            <a:chOff x="660126" y="1663894"/>
            <a:chExt cx="2355900" cy="1789341"/>
          </a:xfrm>
        </p:grpSpPr>
        <p:sp>
          <p:nvSpPr>
            <p:cNvPr id="1413" name="Google Shape;1413;g7826bb8c5e_0_138"/>
            <p:cNvSpPr/>
            <p:nvPr/>
          </p:nvSpPr>
          <p:spPr>
            <a:xfrm>
              <a:off x="705543" y="1929835"/>
              <a:ext cx="2299500" cy="15234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050"/>
                <a:buFont typeface="Arial"/>
                <a:buNone/>
              </a:pPr>
              <a:endParaRPr sz="1050" b="0" i="0" u="none" strike="noStrike" cap="none">
                <a:solidFill>
                  <a:srgbClr val="1A3B47"/>
                </a:solidFill>
                <a:latin typeface="Helvetica Neue"/>
                <a:ea typeface="Helvetica Neue"/>
                <a:cs typeface="Helvetica Neue"/>
                <a:sym typeface="Helvetica Neue"/>
              </a:endParaRPr>
            </a:p>
            <a:p>
              <a:pPr marL="355600" marR="0" lvl="0" indent="-195262" algn="l" rtl="0">
                <a:lnSpc>
                  <a:spcPct val="100000"/>
                </a:lnSpc>
                <a:spcBef>
                  <a:spcPts val="0"/>
                </a:spcBef>
                <a:spcAft>
                  <a:spcPts val="0"/>
                </a:spcAft>
                <a:buClr>
                  <a:srgbClr val="1A3B47"/>
                </a:buClr>
                <a:buSzPts val="1200"/>
                <a:buFont typeface="Helvetica Neue"/>
                <a:buChar char="•"/>
              </a:pPr>
              <a:r>
                <a:rPr lang="es-ES" sz="1200" b="0" i="0" u="none" strike="noStrike" cap="none">
                  <a:solidFill>
                    <a:srgbClr val="1A3B47"/>
                  </a:solidFill>
                  <a:latin typeface="Helvetica Neue"/>
                  <a:ea typeface="Helvetica Neue"/>
                  <a:cs typeface="Helvetica Neue"/>
                  <a:sym typeface="Helvetica Neue"/>
                </a:rPr>
                <a:t>Definición de las métricas de éxito y su medición</a:t>
              </a:r>
              <a:endParaRPr sz="1200" b="0" i="0" u="none" strike="noStrike" cap="none">
                <a:solidFill>
                  <a:srgbClr val="1A3B47"/>
                </a:solidFill>
                <a:latin typeface="Helvetica Neue"/>
                <a:ea typeface="Helvetica Neue"/>
                <a:cs typeface="Helvetica Neue"/>
                <a:sym typeface="Helvetica Neue"/>
              </a:endParaRPr>
            </a:p>
            <a:p>
              <a:pPr marL="355600" marR="0" lvl="0" indent="-195262" algn="l" rtl="0">
                <a:lnSpc>
                  <a:spcPct val="100000"/>
                </a:lnSpc>
                <a:spcBef>
                  <a:spcPts val="0"/>
                </a:spcBef>
                <a:spcAft>
                  <a:spcPts val="0"/>
                </a:spcAft>
                <a:buClr>
                  <a:srgbClr val="1A3B47"/>
                </a:buClr>
                <a:buSzPts val="1200"/>
                <a:buFont typeface="Helvetica Neue"/>
                <a:buChar char="•"/>
              </a:pPr>
              <a:r>
                <a:rPr lang="es-ES" sz="1200" b="0" i="0" u="none" strike="noStrike" cap="none">
                  <a:solidFill>
                    <a:srgbClr val="1A3B47"/>
                  </a:solidFill>
                  <a:latin typeface="Helvetica Neue"/>
                  <a:ea typeface="Helvetica Neue"/>
                  <a:cs typeface="Helvetica Neue"/>
                  <a:sym typeface="Helvetica Neue"/>
                </a:rPr>
                <a:t>Creación del cuadro de mando </a:t>
              </a:r>
              <a:endParaRPr sz="1200" b="0" i="0" u="none" strike="noStrike" cap="none">
                <a:solidFill>
                  <a:srgbClr val="1A3B47"/>
                </a:solidFill>
                <a:latin typeface="Helvetica Neue"/>
                <a:ea typeface="Helvetica Neue"/>
                <a:cs typeface="Helvetica Neue"/>
                <a:sym typeface="Helvetica Neue"/>
              </a:endParaRPr>
            </a:p>
            <a:p>
              <a:pPr marL="355600" marR="0" lvl="0" indent="-195262" algn="l" rtl="0">
                <a:lnSpc>
                  <a:spcPct val="100000"/>
                </a:lnSpc>
                <a:spcBef>
                  <a:spcPts val="0"/>
                </a:spcBef>
                <a:spcAft>
                  <a:spcPts val="0"/>
                </a:spcAft>
                <a:buClr>
                  <a:srgbClr val="1A3B47"/>
                </a:buClr>
                <a:buSzPts val="1200"/>
                <a:buFont typeface="Helvetica Neue"/>
                <a:buChar char="•"/>
              </a:pPr>
              <a:r>
                <a:rPr lang="es-ES" sz="1200" b="0" i="0" u="none" strike="noStrike" cap="none">
                  <a:solidFill>
                    <a:srgbClr val="1A3B47"/>
                  </a:solidFill>
                  <a:latin typeface="Helvetica Neue"/>
                  <a:ea typeface="Helvetica Neue"/>
                  <a:cs typeface="Helvetica Neue"/>
                  <a:sym typeface="Helvetica Neue"/>
                </a:rPr>
                <a:t>Definición de dinámicas y mecanismos de </a:t>
              </a:r>
              <a:r>
                <a:rPr lang="es-ES" sz="1200" b="0" i="1" u="none" strike="noStrike" cap="none">
                  <a:solidFill>
                    <a:srgbClr val="1A3B47"/>
                  </a:solidFill>
                  <a:latin typeface="Helvetica Neue"/>
                  <a:ea typeface="Helvetica Neue"/>
                  <a:cs typeface="Helvetica Neue"/>
                  <a:sym typeface="Helvetica Neue"/>
                </a:rPr>
                <a:t>reporting</a:t>
              </a:r>
              <a:endParaRPr sz="1200" b="0" i="1" u="none" strike="noStrike" cap="none">
                <a:solidFill>
                  <a:srgbClr val="1A3B47"/>
                </a:solidFill>
                <a:latin typeface="Helvetica Neue"/>
                <a:ea typeface="Helvetica Neue"/>
                <a:cs typeface="Helvetica Neue"/>
                <a:sym typeface="Helvetica Neue"/>
              </a:endParaRPr>
            </a:p>
            <a:p>
              <a:pPr marL="355600" marR="0" lvl="0" indent="-195262" algn="l" rtl="0">
                <a:lnSpc>
                  <a:spcPct val="100000"/>
                </a:lnSpc>
                <a:spcBef>
                  <a:spcPts val="0"/>
                </a:spcBef>
                <a:spcAft>
                  <a:spcPts val="0"/>
                </a:spcAft>
                <a:buClr>
                  <a:srgbClr val="1A3B47"/>
                </a:buClr>
                <a:buSzPts val="1200"/>
                <a:buFont typeface="Helvetica Neue"/>
                <a:buChar char="•"/>
              </a:pPr>
              <a:r>
                <a:rPr lang="es-ES" sz="1200" b="0" i="0" u="none" strike="noStrike" cap="none">
                  <a:solidFill>
                    <a:srgbClr val="1A3B47"/>
                  </a:solidFill>
                  <a:latin typeface="Helvetica Neue"/>
                  <a:ea typeface="Helvetica Neue"/>
                  <a:cs typeface="Helvetica Neue"/>
                  <a:sym typeface="Helvetica Neue"/>
                </a:rPr>
                <a:t>Generación periódica de informes de diagnóstico y recomendaciones basados en las métricas observadas</a:t>
              </a:r>
              <a:endParaRPr sz="1200" b="0" i="0" u="none" strike="noStrike" cap="none">
                <a:solidFill>
                  <a:srgbClr val="1A3B47"/>
                </a:solidFill>
                <a:latin typeface="Helvetica Neue"/>
                <a:ea typeface="Helvetica Neue"/>
                <a:cs typeface="Helvetica Neue"/>
                <a:sym typeface="Helvetica Neue"/>
              </a:endParaRPr>
            </a:p>
          </p:txBody>
        </p:sp>
        <p:sp>
          <p:nvSpPr>
            <p:cNvPr id="1414" name="Google Shape;1414;g7826bb8c5e_0_138"/>
            <p:cNvSpPr/>
            <p:nvPr/>
          </p:nvSpPr>
          <p:spPr>
            <a:xfrm>
              <a:off x="660126" y="1663894"/>
              <a:ext cx="2355900" cy="338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s-ES" sz="1600" b="0" i="0" u="none" strike="noStrike" cap="none">
                  <a:solidFill>
                    <a:srgbClr val="639FCB"/>
                  </a:solidFill>
                  <a:latin typeface="Playfair Display"/>
                  <a:ea typeface="Playfair Display"/>
                  <a:cs typeface="Playfair Display"/>
                  <a:sym typeface="Playfair Display"/>
                </a:rPr>
                <a:t>Actividades</a:t>
              </a:r>
              <a:endParaRPr sz="1400" b="0" i="0" u="none" strike="noStrike" cap="none">
                <a:solidFill>
                  <a:srgbClr val="000000"/>
                </a:solidFill>
                <a:latin typeface="Arial"/>
                <a:ea typeface="Arial"/>
                <a:cs typeface="Arial"/>
                <a:sym typeface="Arial"/>
              </a:endParaRPr>
            </a:p>
          </p:txBody>
        </p:sp>
      </p:grpSp>
      <p:pic>
        <p:nvPicPr>
          <p:cNvPr id="1415" name="Google Shape;1415;g7826bb8c5e_0_138"/>
          <p:cNvPicPr preferRelativeResize="0"/>
          <p:nvPr/>
        </p:nvPicPr>
        <p:blipFill rotWithShape="1">
          <a:blip r:embed="rId3">
            <a:alphaModFix/>
          </a:blip>
          <a:srcRect/>
          <a:stretch/>
        </p:blipFill>
        <p:spPr>
          <a:xfrm>
            <a:off x="7929943" y="5320548"/>
            <a:ext cx="722100" cy="722100"/>
          </a:xfrm>
          <a:prstGeom prst="ellipse">
            <a:avLst/>
          </a:prstGeom>
          <a:noFill/>
          <a:ln>
            <a:noFill/>
          </a:ln>
        </p:spPr>
      </p:pic>
      <p:grpSp>
        <p:nvGrpSpPr>
          <p:cNvPr id="1416" name="Google Shape;1416;g7826bb8c5e_0_138"/>
          <p:cNvGrpSpPr/>
          <p:nvPr/>
        </p:nvGrpSpPr>
        <p:grpSpPr>
          <a:xfrm>
            <a:off x="10992330" y="88959"/>
            <a:ext cx="1104735" cy="536493"/>
            <a:chOff x="508100" y="1640544"/>
            <a:chExt cx="11238400" cy="4620956"/>
          </a:xfrm>
        </p:grpSpPr>
        <p:grpSp>
          <p:nvGrpSpPr>
            <p:cNvPr id="1417" name="Google Shape;1417;g7826bb8c5e_0_138"/>
            <p:cNvGrpSpPr/>
            <p:nvPr/>
          </p:nvGrpSpPr>
          <p:grpSpPr>
            <a:xfrm>
              <a:off x="508106" y="1640544"/>
              <a:ext cx="11232175" cy="21551"/>
              <a:chOff x="431923" y="1640499"/>
              <a:chExt cx="9605075" cy="31800"/>
            </a:xfrm>
          </p:grpSpPr>
          <p:cxnSp>
            <p:nvCxnSpPr>
              <p:cNvPr id="1418" name="Google Shape;1418;g7826bb8c5e_0_138"/>
              <p:cNvCxnSpPr/>
              <p:nvPr/>
            </p:nvCxnSpPr>
            <p:spPr>
              <a:xfrm>
                <a:off x="431923" y="1640499"/>
                <a:ext cx="4651200" cy="15900"/>
              </a:xfrm>
              <a:prstGeom prst="straightConnector1">
                <a:avLst/>
              </a:prstGeom>
              <a:noFill/>
              <a:ln w="76200" cap="flat" cmpd="sng">
                <a:solidFill>
                  <a:srgbClr val="CCCCCC"/>
                </a:solidFill>
                <a:prstDash val="solid"/>
                <a:round/>
                <a:headEnd type="none" w="sm" len="sm"/>
                <a:tailEnd type="none" w="sm" len="sm"/>
              </a:ln>
            </p:spPr>
          </p:cxnSp>
          <p:cxnSp>
            <p:nvCxnSpPr>
              <p:cNvPr id="1419" name="Google Shape;1419;g7826bb8c5e_0_138"/>
              <p:cNvCxnSpPr/>
              <p:nvPr/>
            </p:nvCxnSpPr>
            <p:spPr>
              <a:xfrm>
                <a:off x="5385798" y="1656399"/>
                <a:ext cx="4651200" cy="15900"/>
              </a:xfrm>
              <a:prstGeom prst="straightConnector1">
                <a:avLst/>
              </a:prstGeom>
              <a:noFill/>
              <a:ln w="76200" cap="flat" cmpd="sng">
                <a:solidFill>
                  <a:schemeClr val="accent2"/>
                </a:solidFill>
                <a:prstDash val="solid"/>
                <a:round/>
                <a:headEnd type="none" w="sm" len="sm"/>
                <a:tailEnd type="none" w="sm" len="sm"/>
              </a:ln>
            </p:spPr>
          </p:cxnSp>
        </p:grpSp>
        <p:sp>
          <p:nvSpPr>
            <p:cNvPr id="1420" name="Google Shape;1420;g7826bb8c5e_0_138"/>
            <p:cNvSpPr/>
            <p:nvPr/>
          </p:nvSpPr>
          <p:spPr>
            <a:xfrm>
              <a:off x="508100" y="2035875"/>
              <a:ext cx="1390500" cy="4225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421" name="Google Shape;1421;g7826bb8c5e_0_138"/>
            <p:cNvSpPr/>
            <p:nvPr/>
          </p:nvSpPr>
          <p:spPr>
            <a:xfrm>
              <a:off x="2132113" y="5255000"/>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422" name="Google Shape;1422;g7826bb8c5e_0_138"/>
            <p:cNvSpPr/>
            <p:nvPr/>
          </p:nvSpPr>
          <p:spPr>
            <a:xfrm>
              <a:off x="2132113" y="3108917"/>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423" name="Google Shape;1423;g7826bb8c5e_0_138"/>
            <p:cNvSpPr/>
            <p:nvPr/>
          </p:nvSpPr>
          <p:spPr>
            <a:xfrm>
              <a:off x="2132113" y="4181958"/>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424" name="Google Shape;1424;g7826bb8c5e_0_138"/>
            <p:cNvSpPr/>
            <p:nvPr/>
          </p:nvSpPr>
          <p:spPr>
            <a:xfrm>
              <a:off x="6343925" y="2035875"/>
              <a:ext cx="5396400" cy="1350300"/>
            </a:xfrm>
            <a:prstGeom prst="rect">
              <a:avLst/>
            </a:prstGeom>
            <a:solidFill>
              <a:srgbClr val="FDEDE0"/>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425" name="Google Shape;1425;g7826bb8c5e_0_138"/>
            <p:cNvSpPr/>
            <p:nvPr/>
          </p:nvSpPr>
          <p:spPr>
            <a:xfrm>
              <a:off x="6350100" y="3481700"/>
              <a:ext cx="5396400" cy="13521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426" name="Google Shape;1426;g7826bb8c5e_0_138"/>
            <p:cNvSpPr/>
            <p:nvPr/>
          </p:nvSpPr>
          <p:spPr>
            <a:xfrm>
              <a:off x="6343925" y="4945700"/>
              <a:ext cx="5396400" cy="13158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427" name="Google Shape;1427;g7826bb8c5e_0_138"/>
            <p:cNvSpPr/>
            <p:nvPr/>
          </p:nvSpPr>
          <p:spPr>
            <a:xfrm>
              <a:off x="2132113" y="2035875"/>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gr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1431"/>
        <p:cNvGrpSpPr/>
        <p:nvPr/>
      </p:nvGrpSpPr>
      <p:grpSpPr>
        <a:xfrm>
          <a:off x="0" y="0"/>
          <a:ext cx="0" cy="0"/>
          <a:chOff x="0" y="0"/>
          <a:chExt cx="0" cy="0"/>
        </a:xfrm>
      </p:grpSpPr>
      <p:sp>
        <p:nvSpPr>
          <p:cNvPr id="1432" name="Google Shape;1432;g7826bb8c5e_0_3576"/>
          <p:cNvSpPr/>
          <p:nvPr/>
        </p:nvSpPr>
        <p:spPr>
          <a:xfrm>
            <a:off x="10197475" y="2222675"/>
            <a:ext cx="1899600" cy="1842900"/>
          </a:xfrm>
          <a:prstGeom prst="ellipse">
            <a:avLst/>
          </a:prstGeom>
          <a:solidFill>
            <a:srgbClr val="E3F3EF"/>
          </a:solidFill>
          <a:ln w="2857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500"/>
              <a:buFont typeface="Arial"/>
              <a:buNone/>
            </a:pPr>
            <a:r>
              <a:rPr lang="es-ES" sz="1500" b="0" i="0" u="none" strike="noStrike" cap="none">
                <a:solidFill>
                  <a:srgbClr val="000000"/>
                </a:solidFill>
                <a:latin typeface="Playfair Display"/>
                <a:ea typeface="Playfair Display"/>
                <a:cs typeface="Playfair Display"/>
                <a:sym typeface="Playfair Display"/>
              </a:rPr>
              <a:t>Acciones </a:t>
            </a:r>
            <a:r>
              <a:rPr lang="es-ES" sz="2000" b="0" i="0" u="none" strike="noStrike" cap="none">
                <a:solidFill>
                  <a:srgbClr val="000000"/>
                </a:solidFill>
                <a:latin typeface="Playfair Display"/>
                <a:ea typeface="Playfair Display"/>
                <a:cs typeface="Playfair Display"/>
                <a:sym typeface="Playfair Display"/>
              </a:rPr>
              <a:t>evolutivas </a:t>
            </a:r>
            <a:r>
              <a:rPr lang="es-ES" sz="1500" b="0" i="0" u="none" strike="noStrike" cap="none">
                <a:solidFill>
                  <a:srgbClr val="000000"/>
                </a:solidFill>
                <a:latin typeface="Playfair Display"/>
                <a:ea typeface="Playfair Display"/>
                <a:cs typeface="Playfair Display"/>
                <a:sym typeface="Playfair Display"/>
              </a:rPr>
              <a:t>sobre</a:t>
            </a:r>
            <a:endParaRPr sz="1500" b="0" i="0" u="none" strike="noStrike" cap="none">
              <a:solidFill>
                <a:srgbClr val="000000"/>
              </a:solidFill>
              <a:latin typeface="Playfair Display"/>
              <a:ea typeface="Playfair Display"/>
              <a:cs typeface="Playfair Display"/>
              <a:sym typeface="Playfair Display"/>
            </a:endParaRPr>
          </a:p>
          <a:p>
            <a:pPr marL="0" marR="0" lvl="0" indent="0" algn="ctr" rtl="0">
              <a:lnSpc>
                <a:spcPct val="100000"/>
              </a:lnSpc>
              <a:spcBef>
                <a:spcPts val="0"/>
              </a:spcBef>
              <a:spcAft>
                <a:spcPts val="0"/>
              </a:spcAft>
              <a:buClr>
                <a:srgbClr val="000000"/>
              </a:buClr>
              <a:buSzPts val="2000"/>
              <a:buFont typeface="Arial"/>
              <a:buNone/>
            </a:pPr>
            <a:r>
              <a:rPr lang="es-ES" sz="2000" b="0" i="0" u="none" strike="noStrike" cap="none">
                <a:solidFill>
                  <a:srgbClr val="000000"/>
                </a:solidFill>
                <a:latin typeface="Playfair Display"/>
                <a:ea typeface="Playfair Display"/>
                <a:cs typeface="Playfair Display"/>
                <a:sym typeface="Playfair Display"/>
              </a:rPr>
              <a:t>MVP</a:t>
            </a:r>
            <a:endParaRPr sz="2000" b="0" i="0" u="none" strike="noStrike" cap="none">
              <a:solidFill>
                <a:srgbClr val="000000"/>
              </a:solidFill>
              <a:latin typeface="Playfair Display"/>
              <a:ea typeface="Playfair Display"/>
              <a:cs typeface="Playfair Display"/>
              <a:sym typeface="Playfair Display"/>
            </a:endParaRPr>
          </a:p>
        </p:txBody>
      </p:sp>
      <p:sp>
        <p:nvSpPr>
          <p:cNvPr id="1433" name="Google Shape;1433;g7826bb8c5e_0_3576"/>
          <p:cNvSpPr/>
          <p:nvPr/>
        </p:nvSpPr>
        <p:spPr>
          <a:xfrm>
            <a:off x="7522726" y="1640500"/>
            <a:ext cx="2507700" cy="3163800"/>
          </a:xfrm>
          <a:prstGeom prst="rect">
            <a:avLst/>
          </a:prstGeom>
          <a:noFill/>
          <a:ln w="9525" cap="flat" cmpd="sng">
            <a:solidFill>
              <a:schemeClr val="accent4"/>
            </a:solidFill>
            <a:prstDash val="solid"/>
            <a:round/>
            <a:headEnd type="none" w="sm" len="sm"/>
            <a:tailEnd type="none" w="sm" len="sm"/>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800"/>
              <a:buFont typeface="Arial"/>
              <a:buNone/>
            </a:pPr>
            <a:r>
              <a:rPr lang="es-ES" sz="1800" b="0" i="0" u="none" strike="noStrike" cap="none">
                <a:solidFill>
                  <a:srgbClr val="000000"/>
                </a:solidFill>
                <a:latin typeface="Playfair Display"/>
                <a:ea typeface="Playfair Display"/>
                <a:cs typeface="Playfair Display"/>
                <a:sym typeface="Playfair Display"/>
              </a:rPr>
              <a:t>Recomendaciones</a:t>
            </a:r>
            <a:endParaRPr sz="1800" b="0" i="0" u="none" strike="noStrike" cap="none">
              <a:solidFill>
                <a:srgbClr val="000000"/>
              </a:solidFill>
              <a:latin typeface="Playfair Display"/>
              <a:ea typeface="Playfair Display"/>
              <a:cs typeface="Playfair Display"/>
              <a:sym typeface="Playfair Display"/>
            </a:endParaRPr>
          </a:p>
          <a:p>
            <a:pPr marL="0" marR="0" lvl="0" indent="0" algn="l" rtl="0">
              <a:lnSpc>
                <a:spcPct val="100000"/>
              </a:lnSpc>
              <a:spcBef>
                <a:spcPts val="0"/>
              </a:spcBef>
              <a:spcAft>
                <a:spcPts val="0"/>
              </a:spcAft>
              <a:buClr>
                <a:srgbClr val="000000"/>
              </a:buClr>
              <a:buSzPts val="1300"/>
              <a:buFont typeface="Arial"/>
              <a:buNone/>
            </a:pPr>
            <a:endParaRPr sz="13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300"/>
              <a:buFont typeface="Arial"/>
              <a:buNone/>
            </a:pPr>
            <a:r>
              <a:rPr lang="es-ES" sz="1300" b="0" i="0" u="none" strike="noStrike" cap="none">
                <a:solidFill>
                  <a:srgbClr val="000000"/>
                </a:solidFill>
                <a:latin typeface="Arial"/>
                <a:ea typeface="Arial"/>
                <a:cs typeface="Arial"/>
                <a:sym typeface="Arial"/>
              </a:rPr>
              <a:t>Próximos pasos y responsables:</a:t>
            </a:r>
            <a:endParaRPr sz="1300" b="0" i="0" u="none" strike="noStrike" cap="none">
              <a:solidFill>
                <a:srgbClr val="000000"/>
              </a:solidFill>
              <a:latin typeface="Arial"/>
              <a:ea typeface="Arial"/>
              <a:cs typeface="Arial"/>
              <a:sym typeface="Arial"/>
            </a:endParaRPr>
          </a:p>
          <a:p>
            <a:pPr marL="457200" marR="0" lvl="0" indent="-311150" algn="l" rtl="0">
              <a:lnSpc>
                <a:spcPct val="100000"/>
              </a:lnSpc>
              <a:spcBef>
                <a:spcPts val="0"/>
              </a:spcBef>
              <a:spcAft>
                <a:spcPts val="0"/>
              </a:spcAft>
              <a:buClr>
                <a:srgbClr val="000000"/>
              </a:buClr>
              <a:buSzPts val="1300"/>
              <a:buFont typeface="Arial"/>
              <a:buChar char="-"/>
            </a:pPr>
            <a:r>
              <a:rPr lang="es-ES" sz="1300" b="0" i="0" u="none" strike="noStrike" cap="none">
                <a:solidFill>
                  <a:srgbClr val="000000"/>
                </a:solidFill>
                <a:latin typeface="Arial"/>
                <a:ea typeface="Arial"/>
                <a:cs typeface="Arial"/>
                <a:sym typeface="Arial"/>
              </a:rPr>
              <a:t>Decisiones a tomar: escalado, refuerzo de acciones de </a:t>
            </a:r>
            <a:r>
              <a:rPr lang="es-ES" sz="1300" b="0" i="1" u="none" strike="noStrike" cap="none">
                <a:solidFill>
                  <a:srgbClr val="000000"/>
                </a:solidFill>
                <a:latin typeface="Arial"/>
                <a:ea typeface="Arial"/>
                <a:cs typeface="Arial"/>
                <a:sym typeface="Arial"/>
              </a:rPr>
              <a:t>awareness</a:t>
            </a:r>
            <a:r>
              <a:rPr lang="es-ES" sz="1300" b="0" i="0" u="none" strike="noStrike" cap="none">
                <a:solidFill>
                  <a:srgbClr val="000000"/>
                </a:solidFill>
                <a:latin typeface="Arial"/>
                <a:ea typeface="Arial"/>
                <a:cs typeface="Arial"/>
                <a:sym typeface="Arial"/>
              </a:rPr>
              <a:t>, formación,...</a:t>
            </a:r>
            <a:endParaRPr sz="1300" b="0" i="0" u="none" strike="noStrike" cap="none">
              <a:solidFill>
                <a:srgbClr val="000000"/>
              </a:solidFill>
              <a:latin typeface="Arial"/>
              <a:ea typeface="Arial"/>
              <a:cs typeface="Arial"/>
              <a:sym typeface="Arial"/>
            </a:endParaRPr>
          </a:p>
          <a:p>
            <a:pPr marL="457200" marR="0" lvl="0" indent="-311150" algn="l" rtl="0">
              <a:lnSpc>
                <a:spcPct val="100000"/>
              </a:lnSpc>
              <a:spcBef>
                <a:spcPts val="0"/>
              </a:spcBef>
              <a:spcAft>
                <a:spcPts val="0"/>
              </a:spcAft>
              <a:buClr>
                <a:srgbClr val="000000"/>
              </a:buClr>
              <a:buSzPts val="1300"/>
              <a:buFont typeface="Arial"/>
              <a:buChar char="-"/>
            </a:pPr>
            <a:r>
              <a:rPr lang="es-ES" sz="1300" b="0" i="0" u="none" strike="noStrike" cap="none">
                <a:solidFill>
                  <a:srgbClr val="000000"/>
                </a:solidFill>
                <a:latin typeface="Arial"/>
                <a:ea typeface="Arial"/>
                <a:cs typeface="Arial"/>
                <a:sym typeface="Arial"/>
              </a:rPr>
              <a:t>Propuesta de evolutivos y priorización</a:t>
            </a:r>
            <a:endParaRPr sz="1300" b="0" i="0" u="none" strike="noStrike" cap="none">
              <a:solidFill>
                <a:srgbClr val="000000"/>
              </a:solidFill>
              <a:latin typeface="Arial"/>
              <a:ea typeface="Arial"/>
              <a:cs typeface="Arial"/>
              <a:sym typeface="Arial"/>
            </a:endParaRPr>
          </a:p>
        </p:txBody>
      </p:sp>
      <p:sp>
        <p:nvSpPr>
          <p:cNvPr id="1434" name="Google Shape;1434;g7826bb8c5e_0_3576"/>
          <p:cNvSpPr/>
          <p:nvPr/>
        </p:nvSpPr>
        <p:spPr>
          <a:xfrm>
            <a:off x="5015076" y="1640500"/>
            <a:ext cx="2507700" cy="3163800"/>
          </a:xfrm>
          <a:prstGeom prst="rect">
            <a:avLst/>
          </a:prstGeom>
          <a:noFill/>
          <a:ln w="9525" cap="flat" cmpd="sng">
            <a:solidFill>
              <a:schemeClr val="accent4"/>
            </a:solidFill>
            <a:prstDash val="solid"/>
            <a:round/>
            <a:headEnd type="none" w="sm" len="sm"/>
            <a:tailEnd type="none" w="sm" len="sm"/>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800"/>
              <a:buFont typeface="Arial"/>
              <a:buNone/>
            </a:pPr>
            <a:r>
              <a:rPr lang="es-ES" sz="1800" b="0" i="0" u="none" strike="noStrike" cap="none">
                <a:solidFill>
                  <a:srgbClr val="000000"/>
                </a:solidFill>
                <a:latin typeface="Playfair Display"/>
                <a:ea typeface="Playfair Display"/>
                <a:cs typeface="Playfair Display"/>
                <a:sym typeface="Playfair Display"/>
              </a:rPr>
              <a:t>Diagnóstico</a:t>
            </a:r>
            <a:endParaRPr sz="1800" b="0" i="0" u="none" strike="noStrike" cap="none">
              <a:solidFill>
                <a:srgbClr val="000000"/>
              </a:solidFill>
              <a:latin typeface="Playfair Display"/>
              <a:ea typeface="Playfair Display"/>
              <a:cs typeface="Playfair Display"/>
              <a:sym typeface="Playfair Display"/>
            </a:endParaRPr>
          </a:p>
          <a:p>
            <a:pPr marL="0" marR="0" lvl="0" indent="0" algn="l" rtl="0">
              <a:lnSpc>
                <a:spcPct val="100000"/>
              </a:lnSpc>
              <a:spcBef>
                <a:spcPts val="0"/>
              </a:spcBef>
              <a:spcAft>
                <a:spcPts val="0"/>
              </a:spcAft>
              <a:buClr>
                <a:srgbClr val="000000"/>
              </a:buClr>
              <a:buSzPts val="1300"/>
              <a:buFont typeface="Arial"/>
              <a:buNone/>
            </a:pPr>
            <a:endParaRPr sz="1300" b="0" i="0" u="none" strike="noStrike" cap="none">
              <a:solidFill>
                <a:srgbClr val="000000"/>
              </a:solidFill>
              <a:latin typeface="Arial"/>
              <a:ea typeface="Arial"/>
              <a:cs typeface="Arial"/>
              <a:sym typeface="Arial"/>
            </a:endParaRPr>
          </a:p>
          <a:p>
            <a:pPr marL="457200" marR="0" lvl="0" indent="-311150" algn="l" rtl="0">
              <a:lnSpc>
                <a:spcPct val="100000"/>
              </a:lnSpc>
              <a:spcBef>
                <a:spcPts val="0"/>
              </a:spcBef>
              <a:spcAft>
                <a:spcPts val="0"/>
              </a:spcAft>
              <a:buClr>
                <a:srgbClr val="000000"/>
              </a:buClr>
              <a:buSzPts val="1300"/>
              <a:buFont typeface="Arial"/>
              <a:buChar char="-"/>
            </a:pPr>
            <a:r>
              <a:rPr lang="es-ES" sz="1300" b="0" i="0" u="none" strike="noStrike" cap="none">
                <a:solidFill>
                  <a:srgbClr val="000000"/>
                </a:solidFill>
                <a:latin typeface="Arial"/>
                <a:ea typeface="Arial"/>
                <a:cs typeface="Arial"/>
                <a:sym typeface="Arial"/>
              </a:rPr>
              <a:t>Análisis de métricas de éxito del piloto</a:t>
            </a:r>
            <a:endParaRPr sz="1300" b="0" i="0" u="none" strike="noStrike" cap="none">
              <a:solidFill>
                <a:srgbClr val="000000"/>
              </a:solidFill>
              <a:latin typeface="Arial"/>
              <a:ea typeface="Arial"/>
              <a:cs typeface="Arial"/>
              <a:sym typeface="Arial"/>
            </a:endParaRPr>
          </a:p>
          <a:p>
            <a:pPr marL="457200" marR="0" lvl="0" indent="-311150" algn="l" rtl="0">
              <a:lnSpc>
                <a:spcPct val="100000"/>
              </a:lnSpc>
              <a:spcBef>
                <a:spcPts val="0"/>
              </a:spcBef>
              <a:spcAft>
                <a:spcPts val="0"/>
              </a:spcAft>
              <a:buClr>
                <a:srgbClr val="000000"/>
              </a:buClr>
              <a:buSzPts val="1300"/>
              <a:buFont typeface="Arial"/>
              <a:buChar char="-"/>
            </a:pPr>
            <a:r>
              <a:rPr lang="es-ES" sz="1300" b="0" i="0" u="none" strike="noStrike" cap="none">
                <a:solidFill>
                  <a:srgbClr val="000000"/>
                </a:solidFill>
                <a:latin typeface="Arial"/>
                <a:ea typeface="Arial"/>
                <a:cs typeface="Arial"/>
                <a:sym typeface="Arial"/>
              </a:rPr>
              <a:t>Previsión de riesgos</a:t>
            </a:r>
            <a:endParaRPr sz="1300" b="0" i="0" u="none" strike="noStrike" cap="none">
              <a:solidFill>
                <a:srgbClr val="000000"/>
              </a:solidFill>
              <a:latin typeface="Arial"/>
              <a:ea typeface="Arial"/>
              <a:cs typeface="Arial"/>
              <a:sym typeface="Arial"/>
            </a:endParaRPr>
          </a:p>
          <a:p>
            <a:pPr marL="457200" marR="0" lvl="0" indent="-311150" algn="l" rtl="0">
              <a:lnSpc>
                <a:spcPct val="100000"/>
              </a:lnSpc>
              <a:spcBef>
                <a:spcPts val="0"/>
              </a:spcBef>
              <a:spcAft>
                <a:spcPts val="0"/>
              </a:spcAft>
              <a:buClr>
                <a:srgbClr val="000000"/>
              </a:buClr>
              <a:buSzPts val="1300"/>
              <a:buFont typeface="Arial"/>
              <a:buChar char="-"/>
            </a:pPr>
            <a:r>
              <a:rPr lang="es-ES" sz="1300" b="0" i="0" u="none" strike="noStrike" cap="none">
                <a:solidFill>
                  <a:srgbClr val="000000"/>
                </a:solidFill>
                <a:latin typeface="Arial"/>
                <a:ea typeface="Arial"/>
                <a:cs typeface="Arial"/>
                <a:sym typeface="Arial"/>
              </a:rPr>
              <a:t>Dependencias bloqueantes</a:t>
            </a:r>
            <a:endParaRPr sz="1300" b="0" i="0" u="none" strike="noStrike" cap="none">
              <a:solidFill>
                <a:srgbClr val="000000"/>
              </a:solidFill>
              <a:latin typeface="Arial"/>
              <a:ea typeface="Arial"/>
              <a:cs typeface="Arial"/>
              <a:sym typeface="Arial"/>
            </a:endParaRPr>
          </a:p>
          <a:p>
            <a:pPr marL="457200" marR="0" lvl="0" indent="-311150" algn="l" rtl="0">
              <a:lnSpc>
                <a:spcPct val="100000"/>
              </a:lnSpc>
              <a:spcBef>
                <a:spcPts val="0"/>
              </a:spcBef>
              <a:spcAft>
                <a:spcPts val="0"/>
              </a:spcAft>
              <a:buClr>
                <a:srgbClr val="000000"/>
              </a:buClr>
              <a:buSzPts val="1300"/>
              <a:buFont typeface="Arial"/>
              <a:buChar char="-"/>
            </a:pPr>
            <a:r>
              <a:rPr lang="es-ES" sz="1300" b="0" i="0" u="none" strike="noStrike" cap="none">
                <a:solidFill>
                  <a:srgbClr val="000000"/>
                </a:solidFill>
                <a:latin typeface="Arial"/>
                <a:ea typeface="Arial"/>
                <a:cs typeface="Arial"/>
                <a:sym typeface="Arial"/>
              </a:rPr>
              <a:t>Evaluación de calidad de la app y su  rendimiento</a:t>
            </a:r>
            <a:endParaRPr sz="1300" b="0" i="0" u="none" strike="noStrike" cap="none">
              <a:solidFill>
                <a:srgbClr val="000000"/>
              </a:solidFill>
              <a:latin typeface="Arial"/>
              <a:ea typeface="Arial"/>
              <a:cs typeface="Arial"/>
              <a:sym typeface="Arial"/>
            </a:endParaRPr>
          </a:p>
          <a:p>
            <a:pPr marL="457200" marR="0" lvl="0" indent="-311150" algn="l" rtl="0">
              <a:lnSpc>
                <a:spcPct val="100000"/>
              </a:lnSpc>
              <a:spcBef>
                <a:spcPts val="0"/>
              </a:spcBef>
              <a:spcAft>
                <a:spcPts val="0"/>
              </a:spcAft>
              <a:buClr>
                <a:srgbClr val="000000"/>
              </a:buClr>
              <a:buSzPts val="1300"/>
              <a:buFont typeface="Arial"/>
              <a:buChar char="-"/>
            </a:pPr>
            <a:r>
              <a:rPr lang="es-ES" sz="1300" b="0" i="0" u="none" strike="noStrike" cap="none">
                <a:solidFill>
                  <a:srgbClr val="000000"/>
                </a:solidFill>
                <a:latin typeface="Arial"/>
                <a:ea typeface="Arial"/>
                <a:cs typeface="Arial"/>
                <a:sym typeface="Arial"/>
              </a:rPr>
              <a:t>Diagnóstico de necesidades (reforzar promoción, concienciación, incluir </a:t>
            </a:r>
            <a:r>
              <a:rPr lang="es-ES" sz="1300" b="0" i="1" u="none" strike="noStrike" cap="none">
                <a:solidFill>
                  <a:srgbClr val="000000"/>
                </a:solidFill>
                <a:latin typeface="Arial"/>
                <a:ea typeface="Arial"/>
                <a:cs typeface="Arial"/>
                <a:sym typeface="Arial"/>
              </a:rPr>
              <a:t>features</a:t>
            </a:r>
            <a:r>
              <a:rPr lang="es-ES" sz="1300" b="0" i="0" u="none" strike="noStrike" cap="none">
                <a:solidFill>
                  <a:srgbClr val="000000"/>
                </a:solidFill>
                <a:latin typeface="Arial"/>
                <a:ea typeface="Arial"/>
                <a:cs typeface="Arial"/>
                <a:sym typeface="Arial"/>
              </a:rPr>
              <a:t>,...)</a:t>
            </a:r>
            <a:endParaRPr sz="1300" b="0" i="0" u="none" strike="noStrike" cap="none">
              <a:solidFill>
                <a:srgbClr val="000000"/>
              </a:solidFill>
              <a:latin typeface="Arial"/>
              <a:ea typeface="Arial"/>
              <a:cs typeface="Arial"/>
              <a:sym typeface="Arial"/>
            </a:endParaRPr>
          </a:p>
        </p:txBody>
      </p:sp>
      <p:sp>
        <p:nvSpPr>
          <p:cNvPr id="1435" name="Google Shape;1435;g7826bb8c5e_0_3576"/>
          <p:cNvSpPr txBox="1">
            <a:spLocks noGrp="1"/>
          </p:cNvSpPr>
          <p:nvPr>
            <p:ph type="body" idx="1"/>
          </p:nvPr>
        </p:nvSpPr>
        <p:spPr>
          <a:xfrm>
            <a:off x="336000" y="128400"/>
            <a:ext cx="11519400" cy="251400"/>
          </a:xfrm>
          <a:prstGeom prst="rect">
            <a:avLst/>
          </a:prstGeom>
          <a:noFill/>
          <a:ln>
            <a:noFill/>
          </a:ln>
        </p:spPr>
        <p:txBody>
          <a:bodyPr spcFirstLastPara="1" wrap="square" lIns="0" tIns="45700" rIns="91425" bIns="45700" anchor="t" anchorCtr="0">
            <a:noAutofit/>
          </a:bodyPr>
          <a:lstStyle/>
          <a:p>
            <a:pPr marL="0" lvl="0" indent="0" algn="l" rtl="0">
              <a:lnSpc>
                <a:spcPct val="90000"/>
              </a:lnSpc>
              <a:spcBef>
                <a:spcPts val="0"/>
              </a:spcBef>
              <a:spcAft>
                <a:spcPts val="0"/>
              </a:spcAft>
              <a:buClr>
                <a:srgbClr val="1A3B47"/>
              </a:buClr>
              <a:buSzPts val="1400"/>
              <a:buNone/>
            </a:pPr>
            <a:r>
              <a:rPr lang="es-ES" sz="1400">
                <a:latin typeface="Playfair Display"/>
                <a:ea typeface="Playfair Display"/>
                <a:cs typeface="Playfair Display"/>
                <a:sym typeface="Playfair Display"/>
              </a:rPr>
              <a:t>Covid-19 app - Alcance y enfoque del trabajo propuesto</a:t>
            </a:r>
            <a:endParaRPr/>
          </a:p>
        </p:txBody>
      </p:sp>
      <p:grpSp>
        <p:nvGrpSpPr>
          <p:cNvPr id="1436" name="Google Shape;1436;g7826bb8c5e_0_3576"/>
          <p:cNvGrpSpPr/>
          <p:nvPr/>
        </p:nvGrpSpPr>
        <p:grpSpPr>
          <a:xfrm>
            <a:off x="10992330" y="88959"/>
            <a:ext cx="1104735" cy="536493"/>
            <a:chOff x="508100" y="1640544"/>
            <a:chExt cx="11238400" cy="4620956"/>
          </a:xfrm>
        </p:grpSpPr>
        <p:grpSp>
          <p:nvGrpSpPr>
            <p:cNvPr id="1437" name="Google Shape;1437;g7826bb8c5e_0_3576"/>
            <p:cNvGrpSpPr/>
            <p:nvPr/>
          </p:nvGrpSpPr>
          <p:grpSpPr>
            <a:xfrm>
              <a:off x="508106" y="1640544"/>
              <a:ext cx="11232175" cy="21551"/>
              <a:chOff x="431923" y="1640499"/>
              <a:chExt cx="9605075" cy="31800"/>
            </a:xfrm>
          </p:grpSpPr>
          <p:cxnSp>
            <p:nvCxnSpPr>
              <p:cNvPr id="1438" name="Google Shape;1438;g7826bb8c5e_0_3576"/>
              <p:cNvCxnSpPr/>
              <p:nvPr/>
            </p:nvCxnSpPr>
            <p:spPr>
              <a:xfrm>
                <a:off x="431923" y="1640499"/>
                <a:ext cx="4651200" cy="15900"/>
              </a:xfrm>
              <a:prstGeom prst="straightConnector1">
                <a:avLst/>
              </a:prstGeom>
              <a:noFill/>
              <a:ln w="76200" cap="flat" cmpd="sng">
                <a:solidFill>
                  <a:srgbClr val="CCCCCC"/>
                </a:solidFill>
                <a:prstDash val="solid"/>
                <a:round/>
                <a:headEnd type="none" w="sm" len="sm"/>
                <a:tailEnd type="none" w="sm" len="sm"/>
              </a:ln>
            </p:spPr>
          </p:cxnSp>
          <p:cxnSp>
            <p:nvCxnSpPr>
              <p:cNvPr id="1439" name="Google Shape;1439;g7826bb8c5e_0_3576"/>
              <p:cNvCxnSpPr/>
              <p:nvPr/>
            </p:nvCxnSpPr>
            <p:spPr>
              <a:xfrm>
                <a:off x="5385798" y="1656399"/>
                <a:ext cx="4651200" cy="15900"/>
              </a:xfrm>
              <a:prstGeom prst="straightConnector1">
                <a:avLst/>
              </a:prstGeom>
              <a:noFill/>
              <a:ln w="76200" cap="flat" cmpd="sng">
                <a:solidFill>
                  <a:schemeClr val="accent2"/>
                </a:solidFill>
                <a:prstDash val="solid"/>
                <a:round/>
                <a:headEnd type="none" w="sm" len="sm"/>
                <a:tailEnd type="none" w="sm" len="sm"/>
              </a:ln>
            </p:spPr>
          </p:cxnSp>
        </p:grpSp>
        <p:sp>
          <p:nvSpPr>
            <p:cNvPr id="1440" name="Google Shape;1440;g7826bb8c5e_0_3576"/>
            <p:cNvSpPr/>
            <p:nvPr/>
          </p:nvSpPr>
          <p:spPr>
            <a:xfrm>
              <a:off x="508100" y="2035875"/>
              <a:ext cx="1390500" cy="4225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441" name="Google Shape;1441;g7826bb8c5e_0_3576"/>
            <p:cNvSpPr/>
            <p:nvPr/>
          </p:nvSpPr>
          <p:spPr>
            <a:xfrm>
              <a:off x="2132113" y="5255000"/>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442" name="Google Shape;1442;g7826bb8c5e_0_3576"/>
            <p:cNvSpPr/>
            <p:nvPr/>
          </p:nvSpPr>
          <p:spPr>
            <a:xfrm>
              <a:off x="2132113" y="3108917"/>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443" name="Google Shape;1443;g7826bb8c5e_0_3576"/>
            <p:cNvSpPr/>
            <p:nvPr/>
          </p:nvSpPr>
          <p:spPr>
            <a:xfrm>
              <a:off x="2132113" y="4181958"/>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444" name="Google Shape;1444;g7826bb8c5e_0_3576"/>
            <p:cNvSpPr/>
            <p:nvPr/>
          </p:nvSpPr>
          <p:spPr>
            <a:xfrm>
              <a:off x="6343925" y="2035875"/>
              <a:ext cx="5396400" cy="1350300"/>
            </a:xfrm>
            <a:prstGeom prst="rect">
              <a:avLst/>
            </a:prstGeom>
            <a:solidFill>
              <a:srgbClr val="FDEDE0"/>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445" name="Google Shape;1445;g7826bb8c5e_0_3576"/>
            <p:cNvSpPr/>
            <p:nvPr/>
          </p:nvSpPr>
          <p:spPr>
            <a:xfrm>
              <a:off x="6350100" y="3481700"/>
              <a:ext cx="5396400" cy="13521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446" name="Google Shape;1446;g7826bb8c5e_0_3576"/>
            <p:cNvSpPr/>
            <p:nvPr/>
          </p:nvSpPr>
          <p:spPr>
            <a:xfrm>
              <a:off x="6343925" y="4945700"/>
              <a:ext cx="5396400" cy="13158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447" name="Google Shape;1447;g7826bb8c5e_0_3576"/>
            <p:cNvSpPr/>
            <p:nvPr/>
          </p:nvSpPr>
          <p:spPr>
            <a:xfrm>
              <a:off x="2132113" y="2035875"/>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grpSp>
      <p:sp>
        <p:nvSpPr>
          <p:cNvPr id="1448" name="Google Shape;1448;g7826bb8c5e_0_3576"/>
          <p:cNvSpPr txBox="1"/>
          <p:nvPr/>
        </p:nvSpPr>
        <p:spPr>
          <a:xfrm>
            <a:off x="335998" y="649092"/>
            <a:ext cx="11232600" cy="7221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2400"/>
              <a:buFont typeface="Playfair Display"/>
              <a:buNone/>
            </a:pPr>
            <a:r>
              <a:rPr lang="es-ES" sz="2400" b="1" i="0" u="none" strike="noStrike" cap="none">
                <a:solidFill>
                  <a:schemeClr val="dk1"/>
                </a:solidFill>
                <a:latin typeface="Playfair Display"/>
                <a:ea typeface="Playfair Display"/>
                <a:cs typeface="Playfair Display"/>
                <a:sym typeface="Playfair Display"/>
              </a:rPr>
              <a:t>Piloto: Seguimiento</a:t>
            </a:r>
            <a:r>
              <a:rPr lang="es-ES" sz="2400" b="0" i="0" u="none" strike="noStrike" cap="none">
                <a:solidFill>
                  <a:schemeClr val="dk1"/>
                </a:solidFill>
                <a:latin typeface="Playfair Display"/>
                <a:ea typeface="Playfair Display"/>
                <a:cs typeface="Playfair Display"/>
                <a:sym typeface="Playfair Display"/>
              </a:rPr>
              <a:t>. Planteamos el análisis continuo del éxito y avance del piloto de cara a sustentar decisiones subsiguientes</a:t>
            </a:r>
            <a:endParaRPr sz="2400" b="0" i="0" u="none" strike="noStrike" cap="none">
              <a:solidFill>
                <a:schemeClr val="dk1"/>
              </a:solidFill>
              <a:latin typeface="Playfair Display"/>
              <a:ea typeface="Playfair Display"/>
              <a:cs typeface="Playfair Display"/>
              <a:sym typeface="Playfair Display"/>
            </a:endParaRPr>
          </a:p>
        </p:txBody>
      </p:sp>
      <p:sp>
        <p:nvSpPr>
          <p:cNvPr id="1449" name="Google Shape;1449;g7826bb8c5e_0_3576"/>
          <p:cNvSpPr/>
          <p:nvPr/>
        </p:nvSpPr>
        <p:spPr>
          <a:xfrm>
            <a:off x="2507425" y="1640500"/>
            <a:ext cx="2507700" cy="3163800"/>
          </a:xfrm>
          <a:prstGeom prst="rect">
            <a:avLst/>
          </a:prstGeom>
          <a:noFill/>
          <a:ln w="9525" cap="flat" cmpd="sng">
            <a:solidFill>
              <a:schemeClr val="accent4"/>
            </a:solidFill>
            <a:prstDash val="solid"/>
            <a:round/>
            <a:headEnd type="none" w="sm" len="sm"/>
            <a:tailEnd type="none" w="sm" len="sm"/>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800"/>
              <a:buFont typeface="Arial"/>
              <a:buNone/>
            </a:pPr>
            <a:r>
              <a:rPr lang="es-ES" sz="1800" b="0" i="0" u="none" strike="noStrike" cap="none">
                <a:solidFill>
                  <a:srgbClr val="000000"/>
                </a:solidFill>
                <a:latin typeface="Playfair Display"/>
                <a:ea typeface="Playfair Display"/>
                <a:cs typeface="Playfair Display"/>
                <a:sym typeface="Playfair Display"/>
              </a:rPr>
              <a:t>Éxito del piloto</a:t>
            </a:r>
            <a:endParaRPr sz="1800" b="0" i="0" u="none" strike="noStrike" cap="none">
              <a:solidFill>
                <a:srgbClr val="000000"/>
              </a:solidFill>
              <a:latin typeface="Playfair Display"/>
              <a:ea typeface="Playfair Display"/>
              <a:cs typeface="Playfair Display"/>
              <a:sym typeface="Playfair Display"/>
            </a:endParaRPr>
          </a:p>
          <a:p>
            <a:pPr marL="0" marR="0" lvl="0" indent="0" algn="l" rtl="0">
              <a:lnSpc>
                <a:spcPct val="100000"/>
              </a:lnSpc>
              <a:spcBef>
                <a:spcPts val="0"/>
              </a:spcBef>
              <a:spcAft>
                <a:spcPts val="0"/>
              </a:spcAft>
              <a:buClr>
                <a:srgbClr val="000000"/>
              </a:buClr>
              <a:buSzPts val="1300"/>
              <a:buFont typeface="Arial"/>
              <a:buNone/>
            </a:pPr>
            <a:endParaRPr sz="13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300"/>
              <a:buFont typeface="Arial"/>
              <a:buNone/>
            </a:pPr>
            <a:r>
              <a:rPr lang="es-ES" sz="1300" b="0" i="0" u="none" strike="noStrike" cap="none">
                <a:solidFill>
                  <a:srgbClr val="000000"/>
                </a:solidFill>
                <a:latin typeface="Arial"/>
                <a:ea typeface="Arial"/>
                <a:cs typeface="Arial"/>
                <a:sym typeface="Arial"/>
              </a:rPr>
              <a:t>Análisis de éxito del piloto:</a:t>
            </a:r>
            <a:endParaRPr sz="1300" b="0" i="0" u="none" strike="noStrike" cap="none">
              <a:solidFill>
                <a:srgbClr val="000000"/>
              </a:solidFill>
              <a:latin typeface="Arial"/>
              <a:ea typeface="Arial"/>
              <a:cs typeface="Arial"/>
              <a:sym typeface="Arial"/>
            </a:endParaRPr>
          </a:p>
          <a:p>
            <a:pPr marL="457200" marR="0" lvl="0" indent="-311150" algn="l" rtl="0">
              <a:lnSpc>
                <a:spcPct val="100000"/>
              </a:lnSpc>
              <a:spcBef>
                <a:spcPts val="0"/>
              </a:spcBef>
              <a:spcAft>
                <a:spcPts val="0"/>
              </a:spcAft>
              <a:buClr>
                <a:srgbClr val="000000"/>
              </a:buClr>
              <a:buSzPts val="1300"/>
              <a:buFont typeface="Arial"/>
              <a:buChar char="-"/>
            </a:pPr>
            <a:r>
              <a:rPr lang="es-ES" sz="1300" b="0" i="0" u="none" strike="noStrike" cap="none">
                <a:solidFill>
                  <a:srgbClr val="000000"/>
                </a:solidFill>
                <a:latin typeface="Arial"/>
                <a:ea typeface="Arial"/>
                <a:cs typeface="Arial"/>
                <a:sym typeface="Arial"/>
              </a:rPr>
              <a:t>Número de descargas</a:t>
            </a:r>
            <a:endParaRPr sz="1300" b="0" i="0" u="none" strike="noStrike" cap="none">
              <a:solidFill>
                <a:srgbClr val="000000"/>
              </a:solidFill>
              <a:latin typeface="Arial"/>
              <a:ea typeface="Arial"/>
              <a:cs typeface="Arial"/>
              <a:sym typeface="Arial"/>
            </a:endParaRPr>
          </a:p>
          <a:p>
            <a:pPr marL="457200" marR="0" lvl="0" indent="-311150" algn="l" rtl="0">
              <a:lnSpc>
                <a:spcPct val="100000"/>
              </a:lnSpc>
              <a:spcBef>
                <a:spcPts val="0"/>
              </a:spcBef>
              <a:spcAft>
                <a:spcPts val="0"/>
              </a:spcAft>
              <a:buClr>
                <a:srgbClr val="000000"/>
              </a:buClr>
              <a:buSzPts val="1300"/>
              <a:buFont typeface="Arial"/>
              <a:buChar char="-"/>
            </a:pPr>
            <a:r>
              <a:rPr lang="es-ES" sz="1300" b="0" i="0" u="none" strike="noStrike" cap="none">
                <a:solidFill>
                  <a:srgbClr val="000000"/>
                </a:solidFill>
                <a:latin typeface="Arial"/>
                <a:ea typeface="Arial"/>
                <a:cs typeface="Arial"/>
                <a:sym typeface="Arial"/>
              </a:rPr>
              <a:t>Intensidad de uso</a:t>
            </a:r>
            <a:endParaRPr sz="1300" b="0" i="0" u="none" strike="noStrike" cap="none">
              <a:solidFill>
                <a:srgbClr val="000000"/>
              </a:solidFill>
              <a:latin typeface="Arial"/>
              <a:ea typeface="Arial"/>
              <a:cs typeface="Arial"/>
              <a:sym typeface="Arial"/>
            </a:endParaRPr>
          </a:p>
          <a:p>
            <a:pPr marL="457200" marR="0" lvl="0" indent="-311150" algn="l" rtl="0">
              <a:lnSpc>
                <a:spcPct val="100000"/>
              </a:lnSpc>
              <a:spcBef>
                <a:spcPts val="0"/>
              </a:spcBef>
              <a:spcAft>
                <a:spcPts val="0"/>
              </a:spcAft>
              <a:buClr>
                <a:srgbClr val="000000"/>
              </a:buClr>
              <a:buSzPts val="1300"/>
              <a:buFont typeface="Arial"/>
              <a:buChar char="-"/>
            </a:pPr>
            <a:r>
              <a:rPr lang="es-ES" sz="1300" b="0" i="0" u="none" strike="noStrike" cap="none">
                <a:solidFill>
                  <a:srgbClr val="000000"/>
                </a:solidFill>
                <a:latin typeface="Arial"/>
                <a:ea typeface="Arial"/>
                <a:cs typeface="Arial"/>
                <a:sym typeface="Arial"/>
              </a:rPr>
              <a:t>Número de casos reportados versus registrados en la CCAA</a:t>
            </a:r>
            <a:endParaRPr sz="1300" b="0" i="0" u="none" strike="noStrike" cap="none">
              <a:solidFill>
                <a:srgbClr val="000000"/>
              </a:solidFill>
              <a:latin typeface="Arial"/>
              <a:ea typeface="Arial"/>
              <a:cs typeface="Arial"/>
              <a:sym typeface="Arial"/>
            </a:endParaRPr>
          </a:p>
          <a:p>
            <a:pPr marL="457200" marR="0" lvl="0" indent="-311150" algn="l" rtl="0">
              <a:lnSpc>
                <a:spcPct val="100000"/>
              </a:lnSpc>
              <a:spcBef>
                <a:spcPts val="0"/>
              </a:spcBef>
              <a:spcAft>
                <a:spcPts val="0"/>
              </a:spcAft>
              <a:buClr>
                <a:srgbClr val="000000"/>
              </a:buClr>
              <a:buSzPts val="1300"/>
              <a:buFont typeface="Arial"/>
              <a:buChar char="-"/>
            </a:pPr>
            <a:r>
              <a:rPr lang="es-ES" sz="1300" b="0" i="0" u="none" strike="noStrike" cap="none">
                <a:solidFill>
                  <a:srgbClr val="000000"/>
                </a:solidFill>
                <a:latin typeface="Arial"/>
                <a:ea typeface="Arial"/>
                <a:cs typeface="Arial"/>
                <a:sym typeface="Arial"/>
              </a:rPr>
              <a:t>Incidencias reportadas</a:t>
            </a:r>
            <a:endParaRPr sz="1300" b="0" i="0" u="none" strike="noStrike" cap="none">
              <a:solidFill>
                <a:srgbClr val="000000"/>
              </a:solidFill>
              <a:latin typeface="Arial"/>
              <a:ea typeface="Arial"/>
              <a:cs typeface="Arial"/>
              <a:sym typeface="Arial"/>
            </a:endParaRPr>
          </a:p>
        </p:txBody>
      </p:sp>
      <p:sp>
        <p:nvSpPr>
          <p:cNvPr id="1450" name="Google Shape;1450;g7826bb8c5e_0_3576"/>
          <p:cNvSpPr/>
          <p:nvPr/>
        </p:nvSpPr>
        <p:spPr>
          <a:xfrm rot="2131111">
            <a:off x="2513678" y="3876565"/>
            <a:ext cx="1251708" cy="310521"/>
          </a:xfrm>
          <a:prstGeom prst="rect">
            <a:avLst/>
          </a:prstGeom>
          <a:solidFill>
            <a:srgbClr val="F3F3F3"/>
          </a:solidFill>
          <a:ln w="9525" cap="flat" cmpd="sng">
            <a:solidFill>
              <a:srgbClr val="D9D9D9"/>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100"/>
              <a:buFont typeface="Arial"/>
              <a:buNone/>
            </a:pPr>
            <a:r>
              <a:rPr lang="es-ES" sz="1100" b="0" i="0" u="none" strike="noStrike" cap="none">
                <a:solidFill>
                  <a:srgbClr val="999999"/>
                </a:solidFill>
                <a:latin typeface="Arial"/>
                <a:ea typeface="Arial"/>
                <a:cs typeface="Arial"/>
                <a:sym typeface="Arial"/>
              </a:rPr>
              <a:t>Métricas no exhaustivas</a:t>
            </a:r>
            <a:endParaRPr sz="1100" b="0" i="0" u="none" strike="noStrike" cap="none">
              <a:solidFill>
                <a:srgbClr val="999999"/>
              </a:solidFill>
              <a:latin typeface="Arial"/>
              <a:ea typeface="Arial"/>
              <a:cs typeface="Arial"/>
              <a:sym typeface="Arial"/>
            </a:endParaRPr>
          </a:p>
        </p:txBody>
      </p:sp>
      <p:sp>
        <p:nvSpPr>
          <p:cNvPr id="1451" name="Google Shape;1451;g7826bb8c5e_0_3576"/>
          <p:cNvSpPr/>
          <p:nvPr/>
        </p:nvSpPr>
        <p:spPr>
          <a:xfrm>
            <a:off x="2089675" y="4676675"/>
            <a:ext cx="1785600" cy="1728900"/>
          </a:xfrm>
          <a:prstGeom prst="ellipse">
            <a:avLst/>
          </a:prstGeom>
          <a:solidFill>
            <a:schemeClr val="accent4"/>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s-ES" sz="1400" b="0" i="0" u="none" strike="noStrike" cap="none">
                <a:solidFill>
                  <a:srgbClr val="FFFFFF"/>
                </a:solidFill>
                <a:latin typeface="Arial"/>
                <a:ea typeface="Arial"/>
                <a:cs typeface="Arial"/>
                <a:sym typeface="Arial"/>
              </a:rPr>
              <a:t>Recopilación de métricas</a:t>
            </a:r>
            <a:endParaRPr sz="1400" b="0" i="0" u="none" strike="noStrike" cap="none">
              <a:solidFill>
                <a:srgbClr val="FFFFFF"/>
              </a:solidFill>
              <a:latin typeface="Arial"/>
              <a:ea typeface="Arial"/>
              <a:cs typeface="Arial"/>
              <a:sym typeface="Arial"/>
            </a:endParaRPr>
          </a:p>
        </p:txBody>
      </p:sp>
      <p:sp>
        <p:nvSpPr>
          <p:cNvPr id="1452" name="Google Shape;1452;g7826bb8c5e_0_3576"/>
          <p:cNvSpPr/>
          <p:nvPr/>
        </p:nvSpPr>
        <p:spPr>
          <a:xfrm>
            <a:off x="4274725" y="4676675"/>
            <a:ext cx="1785600" cy="1728900"/>
          </a:xfrm>
          <a:prstGeom prst="ellipse">
            <a:avLst/>
          </a:prstGeom>
          <a:solidFill>
            <a:schemeClr val="accent4"/>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s-ES" sz="1400" b="0" i="0" u="none" strike="noStrike" cap="none">
                <a:solidFill>
                  <a:srgbClr val="FFFFFF"/>
                </a:solidFill>
                <a:latin typeface="Arial"/>
                <a:ea typeface="Arial"/>
                <a:cs typeface="Arial"/>
                <a:sym typeface="Arial"/>
              </a:rPr>
              <a:t>Análisis</a:t>
            </a:r>
            <a:endParaRPr sz="1400" b="0" i="0" u="none" strike="noStrike" cap="none">
              <a:solidFill>
                <a:srgbClr val="FFFFFF"/>
              </a:solidFill>
              <a:latin typeface="Arial"/>
              <a:ea typeface="Arial"/>
              <a:cs typeface="Arial"/>
              <a:sym typeface="Arial"/>
            </a:endParaRPr>
          </a:p>
        </p:txBody>
      </p:sp>
      <p:sp>
        <p:nvSpPr>
          <p:cNvPr id="1453" name="Google Shape;1453;g7826bb8c5e_0_3576"/>
          <p:cNvSpPr/>
          <p:nvPr/>
        </p:nvSpPr>
        <p:spPr>
          <a:xfrm>
            <a:off x="6439525" y="4676675"/>
            <a:ext cx="1785600" cy="1728900"/>
          </a:xfrm>
          <a:prstGeom prst="ellipse">
            <a:avLst/>
          </a:prstGeom>
          <a:solidFill>
            <a:schemeClr val="accent4"/>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s-ES" sz="1400" b="0" i="0" u="none" strike="noStrike" cap="none">
                <a:solidFill>
                  <a:srgbClr val="FFFFFF"/>
                </a:solidFill>
                <a:latin typeface="Arial"/>
                <a:ea typeface="Arial"/>
                <a:cs typeface="Arial"/>
                <a:sym typeface="Arial"/>
              </a:rPr>
              <a:t>Valoración de conclusiones</a:t>
            </a:r>
            <a:endParaRPr sz="1400" b="0" i="0" u="none" strike="noStrike" cap="none">
              <a:solidFill>
                <a:srgbClr val="FFFFFF"/>
              </a:solidFill>
              <a:latin typeface="Arial"/>
              <a:ea typeface="Arial"/>
              <a:cs typeface="Arial"/>
              <a:sym typeface="Arial"/>
            </a:endParaRPr>
          </a:p>
        </p:txBody>
      </p:sp>
      <p:sp>
        <p:nvSpPr>
          <p:cNvPr id="1454" name="Google Shape;1454;g7826bb8c5e_0_3576"/>
          <p:cNvSpPr/>
          <p:nvPr/>
        </p:nvSpPr>
        <p:spPr>
          <a:xfrm>
            <a:off x="8662575" y="4676675"/>
            <a:ext cx="1785600" cy="1728900"/>
          </a:xfrm>
          <a:prstGeom prst="ellipse">
            <a:avLst/>
          </a:prstGeom>
          <a:solidFill>
            <a:schemeClr val="accent4"/>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s-ES" sz="1400" b="0" i="0" u="none" strike="noStrike" cap="none">
                <a:solidFill>
                  <a:srgbClr val="FFFFFF"/>
                </a:solidFill>
                <a:latin typeface="Arial"/>
                <a:ea typeface="Arial"/>
                <a:cs typeface="Arial"/>
                <a:sym typeface="Arial"/>
              </a:rPr>
              <a:t>Toma de decisiones</a:t>
            </a:r>
            <a:endParaRPr sz="1400" b="0" i="0" u="none" strike="noStrike" cap="none">
              <a:solidFill>
                <a:srgbClr val="FFFFFF"/>
              </a:solidFill>
              <a:latin typeface="Arial"/>
              <a:ea typeface="Arial"/>
              <a:cs typeface="Arial"/>
              <a:sym typeface="Arial"/>
            </a:endParaRPr>
          </a:p>
        </p:txBody>
      </p:sp>
      <p:sp>
        <p:nvSpPr>
          <p:cNvPr id="1455" name="Google Shape;1455;g7826bb8c5e_0_3576"/>
          <p:cNvSpPr/>
          <p:nvPr/>
        </p:nvSpPr>
        <p:spPr>
          <a:xfrm>
            <a:off x="341950" y="2222675"/>
            <a:ext cx="1899600" cy="1842900"/>
          </a:xfrm>
          <a:prstGeom prst="ellipse">
            <a:avLst/>
          </a:prstGeom>
          <a:noFill/>
          <a:ln w="28575" cap="flat" cmpd="sng">
            <a:solidFill>
              <a:schemeClr val="accent4"/>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500"/>
              <a:buFont typeface="Arial"/>
              <a:buNone/>
            </a:pPr>
            <a:r>
              <a:rPr lang="es-ES" sz="1500" b="0" i="0" u="none" strike="noStrike" cap="none">
                <a:solidFill>
                  <a:srgbClr val="000000"/>
                </a:solidFill>
                <a:latin typeface="Playfair Display"/>
                <a:ea typeface="Playfair Display"/>
                <a:cs typeface="Playfair Display"/>
                <a:sym typeface="Playfair Display"/>
              </a:rPr>
              <a:t>Lanzamiento </a:t>
            </a:r>
            <a:r>
              <a:rPr lang="es-ES" sz="2000" b="0" i="0" u="none" strike="noStrike" cap="none">
                <a:solidFill>
                  <a:srgbClr val="000000"/>
                </a:solidFill>
                <a:latin typeface="Playfair Display"/>
                <a:ea typeface="Playfair Display"/>
                <a:cs typeface="Playfair Display"/>
                <a:sym typeface="Playfair Display"/>
              </a:rPr>
              <a:t>piloto</a:t>
            </a:r>
            <a:endParaRPr sz="2000" b="0" i="0" u="none" strike="noStrike" cap="none">
              <a:solidFill>
                <a:srgbClr val="000000"/>
              </a:solidFill>
              <a:latin typeface="Playfair Display"/>
              <a:ea typeface="Playfair Display"/>
              <a:cs typeface="Playfair Display"/>
              <a:sym typeface="Playfair Display"/>
            </a:endParaRPr>
          </a:p>
        </p:txBody>
      </p:sp>
      <p:cxnSp>
        <p:nvCxnSpPr>
          <p:cNvPr id="1456" name="Google Shape;1456;g7826bb8c5e_0_3576"/>
          <p:cNvCxnSpPr>
            <a:endCxn id="1455" idx="0"/>
          </p:cNvCxnSpPr>
          <p:nvPr/>
        </p:nvCxnSpPr>
        <p:spPr>
          <a:xfrm flipH="1">
            <a:off x="1291750" y="1671875"/>
            <a:ext cx="1254000" cy="550800"/>
          </a:xfrm>
          <a:prstGeom prst="straightConnector1">
            <a:avLst/>
          </a:prstGeom>
          <a:noFill/>
          <a:ln w="9525" cap="flat" cmpd="sng">
            <a:solidFill>
              <a:schemeClr val="accent4"/>
            </a:solidFill>
            <a:prstDash val="dot"/>
            <a:round/>
            <a:headEnd type="none" w="sm" len="sm"/>
            <a:tailEnd type="none" w="sm" len="sm"/>
          </a:ln>
        </p:spPr>
      </p:cxnSp>
      <p:cxnSp>
        <p:nvCxnSpPr>
          <p:cNvPr id="1457" name="Google Shape;1457;g7826bb8c5e_0_3576"/>
          <p:cNvCxnSpPr>
            <a:stCxn id="1432" idx="0"/>
          </p:cNvCxnSpPr>
          <p:nvPr/>
        </p:nvCxnSpPr>
        <p:spPr>
          <a:xfrm rot="10800000">
            <a:off x="9992575" y="1633775"/>
            <a:ext cx="1154700" cy="588900"/>
          </a:xfrm>
          <a:prstGeom prst="straightConnector1">
            <a:avLst/>
          </a:prstGeom>
          <a:noFill/>
          <a:ln w="9525" cap="flat" cmpd="sng">
            <a:solidFill>
              <a:schemeClr val="accent4"/>
            </a:solidFill>
            <a:prstDash val="dot"/>
            <a:round/>
            <a:headEnd type="none" w="sm" len="sm"/>
            <a:tailEnd type="none" w="sm" len="sm"/>
          </a:ln>
        </p:spPr>
      </p:cxnSp>
      <p:cxnSp>
        <p:nvCxnSpPr>
          <p:cNvPr id="1458" name="Google Shape;1458;g7826bb8c5e_0_3576"/>
          <p:cNvCxnSpPr>
            <a:stCxn id="1455" idx="4"/>
            <a:endCxn id="1451" idx="1"/>
          </p:cNvCxnSpPr>
          <p:nvPr/>
        </p:nvCxnSpPr>
        <p:spPr>
          <a:xfrm>
            <a:off x="1291750" y="4065575"/>
            <a:ext cx="1059300" cy="864300"/>
          </a:xfrm>
          <a:prstGeom prst="straightConnector1">
            <a:avLst/>
          </a:prstGeom>
          <a:noFill/>
          <a:ln w="9525" cap="flat" cmpd="sng">
            <a:solidFill>
              <a:schemeClr val="accent4"/>
            </a:solidFill>
            <a:prstDash val="solid"/>
            <a:round/>
            <a:headEnd type="none" w="sm" len="sm"/>
            <a:tailEnd type="triangle" w="med" len="med"/>
          </a:ln>
        </p:spPr>
      </p:cxnSp>
      <p:cxnSp>
        <p:nvCxnSpPr>
          <p:cNvPr id="1459" name="Google Shape;1459;g7826bb8c5e_0_3576"/>
          <p:cNvCxnSpPr>
            <a:stCxn id="1451" idx="6"/>
            <a:endCxn id="1452" idx="2"/>
          </p:cNvCxnSpPr>
          <p:nvPr/>
        </p:nvCxnSpPr>
        <p:spPr>
          <a:xfrm>
            <a:off x="3875275" y="5541125"/>
            <a:ext cx="399300" cy="0"/>
          </a:xfrm>
          <a:prstGeom prst="straightConnector1">
            <a:avLst/>
          </a:prstGeom>
          <a:noFill/>
          <a:ln w="9525" cap="flat" cmpd="sng">
            <a:solidFill>
              <a:schemeClr val="accent4"/>
            </a:solidFill>
            <a:prstDash val="solid"/>
            <a:round/>
            <a:headEnd type="none" w="sm" len="sm"/>
            <a:tailEnd type="triangle" w="med" len="med"/>
          </a:ln>
        </p:spPr>
      </p:cxnSp>
      <p:cxnSp>
        <p:nvCxnSpPr>
          <p:cNvPr id="1460" name="Google Shape;1460;g7826bb8c5e_0_3576"/>
          <p:cNvCxnSpPr/>
          <p:nvPr/>
        </p:nvCxnSpPr>
        <p:spPr>
          <a:xfrm>
            <a:off x="6069125" y="5541125"/>
            <a:ext cx="399600" cy="0"/>
          </a:xfrm>
          <a:prstGeom prst="straightConnector1">
            <a:avLst/>
          </a:prstGeom>
          <a:noFill/>
          <a:ln w="9525" cap="flat" cmpd="sng">
            <a:solidFill>
              <a:schemeClr val="accent4"/>
            </a:solidFill>
            <a:prstDash val="solid"/>
            <a:round/>
            <a:headEnd type="none" w="sm" len="sm"/>
            <a:tailEnd type="triangle" w="med" len="med"/>
          </a:ln>
        </p:spPr>
      </p:cxnSp>
      <p:cxnSp>
        <p:nvCxnSpPr>
          <p:cNvPr id="1461" name="Google Shape;1461;g7826bb8c5e_0_3576"/>
          <p:cNvCxnSpPr/>
          <p:nvPr/>
        </p:nvCxnSpPr>
        <p:spPr>
          <a:xfrm>
            <a:off x="8225125" y="5541125"/>
            <a:ext cx="399600" cy="0"/>
          </a:xfrm>
          <a:prstGeom prst="straightConnector1">
            <a:avLst/>
          </a:prstGeom>
          <a:noFill/>
          <a:ln w="9525" cap="flat" cmpd="sng">
            <a:solidFill>
              <a:schemeClr val="accent4"/>
            </a:solidFill>
            <a:prstDash val="solid"/>
            <a:round/>
            <a:headEnd type="none" w="sm" len="sm"/>
            <a:tailEnd type="triangle" w="med" len="med"/>
          </a:ln>
        </p:spPr>
      </p:cxnSp>
      <p:cxnSp>
        <p:nvCxnSpPr>
          <p:cNvPr id="1462" name="Google Shape;1462;g7826bb8c5e_0_3576"/>
          <p:cNvCxnSpPr>
            <a:stCxn id="1454" idx="7"/>
            <a:endCxn id="1432" idx="4"/>
          </p:cNvCxnSpPr>
          <p:nvPr/>
        </p:nvCxnSpPr>
        <p:spPr>
          <a:xfrm rot="10800000" flipH="1">
            <a:off x="10186680" y="4065567"/>
            <a:ext cx="960600" cy="864300"/>
          </a:xfrm>
          <a:prstGeom prst="straightConnector1">
            <a:avLst/>
          </a:prstGeom>
          <a:noFill/>
          <a:ln w="9525" cap="flat" cmpd="sng">
            <a:solidFill>
              <a:schemeClr val="accent4"/>
            </a:solidFill>
            <a:prstDash val="solid"/>
            <a:round/>
            <a:headEnd type="none" w="sm" len="sm"/>
            <a:tailEnd type="triangle" w="med" len="med"/>
          </a:ln>
        </p:spPr>
      </p:cxn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466"/>
        <p:cNvGrpSpPr/>
        <p:nvPr/>
      </p:nvGrpSpPr>
      <p:grpSpPr>
        <a:xfrm>
          <a:off x="0" y="0"/>
          <a:ext cx="0" cy="0"/>
          <a:chOff x="0" y="0"/>
          <a:chExt cx="0" cy="0"/>
        </a:xfrm>
      </p:grpSpPr>
      <p:sp>
        <p:nvSpPr>
          <p:cNvPr id="1467" name="Google Shape;1467;g7826bb8c5e_0_3042"/>
          <p:cNvSpPr/>
          <p:nvPr/>
        </p:nvSpPr>
        <p:spPr>
          <a:xfrm>
            <a:off x="7521708" y="1483874"/>
            <a:ext cx="4305300" cy="3889200"/>
          </a:xfrm>
          <a:prstGeom prst="parallelogram">
            <a:avLst>
              <a:gd name="adj" fmla="val 19558"/>
            </a:avLst>
          </a:prstGeom>
          <a:solidFill>
            <a:srgbClr val="FDEDE0"/>
          </a:solidFill>
          <a:ln>
            <a:noFill/>
          </a:ln>
        </p:spPr>
        <p:txBody>
          <a:bodyPr spcFirstLastPara="1" wrap="square" lIns="91425" tIns="45700" rIns="91425" bIns="45700" anchor="ctr" anchorCtr="0">
            <a:noAutofit/>
          </a:bodyPr>
          <a:lstStyle/>
          <a:p>
            <a:pPr marL="355600" marR="0" lvl="0" indent="0" algn="ctr" rtl="0">
              <a:lnSpc>
                <a:spcPct val="100000"/>
              </a:lnSpc>
              <a:spcBef>
                <a:spcPts val="0"/>
              </a:spcBef>
              <a:spcAft>
                <a:spcPts val="0"/>
              </a:spcAft>
              <a:buClr>
                <a:srgbClr val="000000"/>
              </a:buClr>
              <a:buSzPts val="1799"/>
              <a:buFont typeface="Arial"/>
              <a:buNone/>
            </a:pPr>
            <a:r>
              <a:rPr lang="es-ES" sz="1799" b="0" i="0" u="none" strike="noStrike" cap="none">
                <a:solidFill>
                  <a:srgbClr val="1A3B47"/>
                </a:solidFill>
                <a:latin typeface="Playfair Display"/>
                <a:ea typeface="Playfair Display"/>
                <a:cs typeface="Playfair Display"/>
                <a:sym typeface="Playfair Display"/>
              </a:rPr>
              <a:t>¿Qué entregables se generan?</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600"/>
              </a:spcBef>
              <a:spcAft>
                <a:spcPts val="0"/>
              </a:spcAft>
              <a:buClr>
                <a:srgbClr val="000000"/>
              </a:buClr>
              <a:buSzPts val="1050"/>
              <a:buFont typeface="Arial"/>
              <a:buNone/>
            </a:pPr>
            <a:r>
              <a:rPr lang="es-ES" sz="1050" b="0" i="0" u="none" strike="noStrike" cap="none">
                <a:solidFill>
                  <a:srgbClr val="1A3B47"/>
                </a:solidFill>
                <a:latin typeface="Helvetica Neue"/>
                <a:ea typeface="Helvetica Neue"/>
                <a:cs typeface="Helvetica Neue"/>
                <a:sym typeface="Helvetica Neue"/>
              </a:rPr>
              <a:t>Actualización de entregables previos, en el mismo soporte en que se hubieran generado inicialmente:</a:t>
            </a:r>
            <a:endParaRPr sz="1050" b="0" i="0" u="none" strike="noStrike" cap="none">
              <a:solidFill>
                <a:srgbClr val="1A3B47"/>
              </a:solidFill>
              <a:latin typeface="Helvetica Neue"/>
              <a:ea typeface="Helvetica Neue"/>
              <a:cs typeface="Helvetica Neue"/>
              <a:sym typeface="Helvetica Neue"/>
            </a:endParaRPr>
          </a:p>
          <a:p>
            <a:pPr marL="355600" marR="0" lvl="0" indent="-185737" algn="l" rtl="0">
              <a:lnSpc>
                <a:spcPct val="100000"/>
              </a:lnSpc>
              <a:spcBef>
                <a:spcPts val="600"/>
              </a:spcBef>
              <a:spcAft>
                <a:spcPts val="0"/>
              </a:spcAft>
              <a:buClr>
                <a:srgbClr val="1A3B47"/>
              </a:buClr>
              <a:buSzPts val="1050"/>
              <a:buFont typeface="Helvetica Neue"/>
              <a:buChar char="•"/>
            </a:pPr>
            <a:r>
              <a:rPr lang="es-ES" sz="1050" b="1" i="0" u="none" strike="noStrike" cap="none">
                <a:solidFill>
                  <a:srgbClr val="1A3B47"/>
                </a:solidFill>
                <a:latin typeface="Helvetica Neue"/>
                <a:ea typeface="Helvetica Neue"/>
                <a:cs typeface="Helvetica Neue"/>
                <a:sym typeface="Helvetica Neue"/>
              </a:rPr>
              <a:t>Documento funcional</a:t>
            </a:r>
            <a:endParaRPr sz="1050" b="1" i="0" u="none" strike="noStrike" cap="none">
              <a:solidFill>
                <a:srgbClr val="1A3B47"/>
              </a:solidFill>
              <a:latin typeface="Helvetica Neue"/>
              <a:ea typeface="Helvetica Neue"/>
              <a:cs typeface="Helvetica Neue"/>
              <a:sym typeface="Helvetica Neue"/>
            </a:endParaRPr>
          </a:p>
          <a:p>
            <a:pPr marL="355600" marR="0" lvl="0" indent="-185737" algn="l" rtl="0">
              <a:lnSpc>
                <a:spcPct val="100000"/>
              </a:lnSpc>
              <a:spcBef>
                <a:spcPts val="600"/>
              </a:spcBef>
              <a:spcAft>
                <a:spcPts val="0"/>
              </a:spcAft>
              <a:buClr>
                <a:srgbClr val="1A3B47"/>
              </a:buClr>
              <a:buSzPts val="1050"/>
              <a:buFont typeface="Helvetica Neue"/>
              <a:buChar char="•"/>
            </a:pPr>
            <a:r>
              <a:rPr lang="es-ES" sz="1050" b="1" i="0" u="none" strike="noStrike" cap="none">
                <a:solidFill>
                  <a:schemeClr val="dk1"/>
                </a:solidFill>
                <a:latin typeface="Helvetica Neue"/>
                <a:ea typeface="Helvetica Neue"/>
                <a:cs typeface="Helvetica Neue"/>
                <a:sym typeface="Helvetica Neue"/>
              </a:rPr>
              <a:t>Diseño UX</a:t>
            </a:r>
            <a:endParaRPr sz="1050" b="0" i="0" u="none" strike="noStrike" cap="none">
              <a:solidFill>
                <a:schemeClr val="dk1"/>
              </a:solidFill>
              <a:latin typeface="Helvetica Neue"/>
              <a:ea typeface="Helvetica Neue"/>
              <a:cs typeface="Helvetica Neue"/>
              <a:sym typeface="Helvetica Neue"/>
            </a:endParaRPr>
          </a:p>
          <a:p>
            <a:pPr marL="355600" marR="0" lvl="0" indent="-185737" algn="l" rtl="0">
              <a:lnSpc>
                <a:spcPct val="100000"/>
              </a:lnSpc>
              <a:spcBef>
                <a:spcPts val="600"/>
              </a:spcBef>
              <a:spcAft>
                <a:spcPts val="0"/>
              </a:spcAft>
              <a:buClr>
                <a:srgbClr val="1A3B47"/>
              </a:buClr>
              <a:buSzPts val="1050"/>
              <a:buFont typeface="Helvetica Neue"/>
              <a:buChar char="•"/>
            </a:pPr>
            <a:r>
              <a:rPr lang="es-ES" sz="1050" b="1" i="0" u="none" strike="noStrike" cap="none">
                <a:solidFill>
                  <a:schemeClr val="dk1"/>
                </a:solidFill>
                <a:latin typeface="Helvetica Neue"/>
                <a:ea typeface="Helvetica Neue"/>
                <a:cs typeface="Helvetica Neue"/>
                <a:sym typeface="Helvetica Neue"/>
              </a:rPr>
              <a:t>Informe de Ciberseguridad</a:t>
            </a:r>
            <a:endParaRPr sz="1050" b="0" i="0" u="none" strike="noStrike" cap="none">
              <a:solidFill>
                <a:schemeClr val="dk1"/>
              </a:solidFill>
              <a:latin typeface="Helvetica Neue"/>
              <a:ea typeface="Helvetica Neue"/>
              <a:cs typeface="Helvetica Neue"/>
              <a:sym typeface="Helvetica Neue"/>
            </a:endParaRPr>
          </a:p>
          <a:p>
            <a:pPr marL="355600" marR="0" lvl="0" indent="-185737" algn="l" rtl="0">
              <a:lnSpc>
                <a:spcPct val="100000"/>
              </a:lnSpc>
              <a:spcBef>
                <a:spcPts val="600"/>
              </a:spcBef>
              <a:spcAft>
                <a:spcPts val="0"/>
              </a:spcAft>
              <a:buClr>
                <a:schemeClr val="dk1"/>
              </a:buClr>
              <a:buSzPts val="1050"/>
              <a:buFont typeface="Helvetica Neue"/>
              <a:buChar char="•"/>
            </a:pPr>
            <a:r>
              <a:rPr lang="es-ES" sz="1050" b="1" i="0" u="none" strike="noStrike" cap="none">
                <a:solidFill>
                  <a:schemeClr val="dk1"/>
                </a:solidFill>
                <a:latin typeface="Helvetica Neue"/>
                <a:ea typeface="Helvetica Neue"/>
                <a:cs typeface="Helvetica Neue"/>
                <a:sym typeface="Helvetica Neue"/>
              </a:rPr>
              <a:t>Actualización de arquitectura </a:t>
            </a:r>
            <a:r>
              <a:rPr lang="es-ES" sz="1050" b="0" i="0" u="none" strike="noStrike" cap="none">
                <a:solidFill>
                  <a:schemeClr val="dk1"/>
                </a:solidFill>
                <a:latin typeface="Helvetica Neue"/>
                <a:ea typeface="Helvetica Neue"/>
                <a:cs typeface="Helvetica Neue"/>
                <a:sym typeface="Helvetica Neue"/>
              </a:rPr>
              <a:t>(si necesario)</a:t>
            </a:r>
            <a:endParaRPr sz="1050" b="0" i="0" u="none" strike="noStrike" cap="none">
              <a:solidFill>
                <a:schemeClr val="dk1"/>
              </a:solidFill>
              <a:latin typeface="Helvetica Neue"/>
              <a:ea typeface="Helvetica Neue"/>
              <a:cs typeface="Helvetica Neue"/>
              <a:sym typeface="Helvetica Neue"/>
            </a:endParaRPr>
          </a:p>
          <a:p>
            <a:pPr marL="457200" marR="0" lvl="0" indent="0" algn="l" rtl="0">
              <a:lnSpc>
                <a:spcPct val="100000"/>
              </a:lnSpc>
              <a:spcBef>
                <a:spcPts val="600"/>
              </a:spcBef>
              <a:spcAft>
                <a:spcPts val="0"/>
              </a:spcAft>
              <a:buClr>
                <a:srgbClr val="000000"/>
              </a:buClr>
              <a:buSzPts val="1050"/>
              <a:buFont typeface="Arial"/>
              <a:buNone/>
            </a:pPr>
            <a:endParaRPr sz="1050" b="0" i="0" u="none" strike="noStrike" cap="none">
              <a:solidFill>
                <a:schemeClr val="dk1"/>
              </a:solidFill>
              <a:latin typeface="Helvetica Neue"/>
              <a:ea typeface="Helvetica Neue"/>
              <a:cs typeface="Helvetica Neue"/>
              <a:sym typeface="Helvetica Neue"/>
            </a:endParaRPr>
          </a:p>
        </p:txBody>
      </p:sp>
      <p:sp>
        <p:nvSpPr>
          <p:cNvPr id="1468" name="Google Shape;1468;g7826bb8c5e_0_3042"/>
          <p:cNvSpPr txBox="1"/>
          <p:nvPr/>
        </p:nvSpPr>
        <p:spPr>
          <a:xfrm>
            <a:off x="335998" y="649092"/>
            <a:ext cx="11232600" cy="7221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2400"/>
              <a:buFont typeface="Playfair Display"/>
              <a:buNone/>
            </a:pPr>
            <a:r>
              <a:rPr lang="es-ES" sz="2400" b="1" i="0" u="none" strike="noStrike" cap="none">
                <a:solidFill>
                  <a:schemeClr val="dk1"/>
                </a:solidFill>
                <a:latin typeface="Playfair Display"/>
                <a:ea typeface="Playfair Display"/>
                <a:cs typeface="Playfair Display"/>
                <a:sym typeface="Playfair Display"/>
              </a:rPr>
              <a:t>Piloto: Evolución</a:t>
            </a:r>
            <a:r>
              <a:rPr lang="es-ES" sz="2400" b="0" i="0" u="none" strike="noStrike" cap="none">
                <a:solidFill>
                  <a:schemeClr val="dk1"/>
                </a:solidFill>
                <a:latin typeface="Playfair Display"/>
                <a:ea typeface="Playfair Display"/>
                <a:cs typeface="Playfair Display"/>
                <a:sym typeface="Playfair Display"/>
              </a:rPr>
              <a:t>. Perfeccionamiento continuo del MVP para reforzar la protección al ciudadano</a:t>
            </a:r>
            <a:endParaRPr sz="2400" b="0" i="0" u="none" strike="noStrike" cap="none">
              <a:solidFill>
                <a:schemeClr val="dk1"/>
              </a:solidFill>
              <a:latin typeface="Playfair Display"/>
              <a:ea typeface="Playfair Display"/>
              <a:cs typeface="Playfair Display"/>
              <a:sym typeface="Playfair Display"/>
            </a:endParaRPr>
          </a:p>
        </p:txBody>
      </p:sp>
      <p:sp>
        <p:nvSpPr>
          <p:cNvPr id="1469" name="Google Shape;1469;g7826bb8c5e_0_3042"/>
          <p:cNvSpPr txBox="1">
            <a:spLocks noGrp="1"/>
          </p:cNvSpPr>
          <p:nvPr>
            <p:ph type="body" idx="1"/>
          </p:nvPr>
        </p:nvSpPr>
        <p:spPr>
          <a:xfrm>
            <a:off x="336000" y="128400"/>
            <a:ext cx="4635900" cy="251400"/>
          </a:xfrm>
          <a:prstGeom prst="rect">
            <a:avLst/>
          </a:prstGeom>
          <a:noFill/>
          <a:ln>
            <a:noFill/>
          </a:ln>
        </p:spPr>
        <p:txBody>
          <a:bodyPr spcFirstLastPara="1" wrap="square" lIns="0" tIns="45700" rIns="91425" bIns="45700" anchor="t" anchorCtr="0">
            <a:noAutofit/>
          </a:bodyPr>
          <a:lstStyle/>
          <a:p>
            <a:pPr marL="0" lvl="0" indent="0" algn="l" rtl="0">
              <a:lnSpc>
                <a:spcPct val="90000"/>
              </a:lnSpc>
              <a:spcBef>
                <a:spcPts val="0"/>
              </a:spcBef>
              <a:spcAft>
                <a:spcPts val="0"/>
              </a:spcAft>
              <a:buClr>
                <a:srgbClr val="1A3B47"/>
              </a:buClr>
              <a:buSzPts val="1400"/>
              <a:buNone/>
            </a:pPr>
            <a:r>
              <a:rPr lang="es-ES" sz="1400">
                <a:latin typeface="Playfair Display"/>
                <a:ea typeface="Playfair Display"/>
                <a:cs typeface="Playfair Display"/>
                <a:sym typeface="Playfair Display"/>
              </a:rPr>
              <a:t>Covid-19 app - Alcance y enfoque del trabajo propuesto</a:t>
            </a:r>
            <a:endParaRPr/>
          </a:p>
        </p:txBody>
      </p:sp>
      <p:sp>
        <p:nvSpPr>
          <p:cNvPr id="1470" name="Google Shape;1470;g7826bb8c5e_0_3042"/>
          <p:cNvSpPr/>
          <p:nvPr/>
        </p:nvSpPr>
        <p:spPr>
          <a:xfrm>
            <a:off x="7596258" y="5074673"/>
            <a:ext cx="4116300" cy="1373700"/>
          </a:xfrm>
          <a:prstGeom prst="parallelogram">
            <a:avLst>
              <a:gd name="adj" fmla="val 25000"/>
            </a:avLst>
          </a:prstGeom>
          <a:solidFill>
            <a:srgbClr val="E2E2E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700"/>
              <a:buFont typeface="Arial"/>
              <a:buNone/>
            </a:pPr>
            <a:endParaRPr sz="1700" b="0" i="0" u="none" strike="noStrike" cap="none">
              <a:solidFill>
                <a:srgbClr val="FFFFFF"/>
              </a:solidFill>
              <a:latin typeface="Playfair Display"/>
              <a:ea typeface="Playfair Display"/>
              <a:cs typeface="Playfair Display"/>
              <a:sym typeface="Playfair Display"/>
            </a:endParaRPr>
          </a:p>
        </p:txBody>
      </p:sp>
      <p:grpSp>
        <p:nvGrpSpPr>
          <p:cNvPr id="1471" name="Google Shape;1471;g7826bb8c5e_0_3042"/>
          <p:cNvGrpSpPr/>
          <p:nvPr/>
        </p:nvGrpSpPr>
        <p:grpSpPr>
          <a:xfrm>
            <a:off x="407381" y="2363271"/>
            <a:ext cx="3094512" cy="1626702"/>
            <a:chOff x="660126" y="1663894"/>
            <a:chExt cx="2881028" cy="1789354"/>
          </a:xfrm>
        </p:grpSpPr>
        <p:sp>
          <p:nvSpPr>
            <p:cNvPr id="1472" name="Google Shape;1472;g7826bb8c5e_0_3042"/>
            <p:cNvSpPr/>
            <p:nvPr/>
          </p:nvSpPr>
          <p:spPr>
            <a:xfrm>
              <a:off x="705554" y="1929848"/>
              <a:ext cx="2835600" cy="15234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050"/>
                <a:buFont typeface="Arial"/>
                <a:buNone/>
              </a:pPr>
              <a:endParaRPr sz="1050" b="0" i="0" u="none" strike="noStrike" cap="none">
                <a:solidFill>
                  <a:srgbClr val="1A3B47"/>
                </a:solidFill>
                <a:latin typeface="Helvetica Neue"/>
                <a:ea typeface="Helvetica Neue"/>
                <a:cs typeface="Helvetica Neue"/>
                <a:sym typeface="Helvetica Neue"/>
              </a:endParaRPr>
            </a:p>
            <a:p>
              <a:pPr marL="355600" marR="0" lvl="0" indent="-195262" algn="l" rtl="0">
                <a:lnSpc>
                  <a:spcPct val="100000"/>
                </a:lnSpc>
                <a:spcBef>
                  <a:spcPts val="0"/>
                </a:spcBef>
                <a:spcAft>
                  <a:spcPts val="0"/>
                </a:spcAft>
                <a:buClr>
                  <a:srgbClr val="1A3B47"/>
                </a:buClr>
                <a:buSzPts val="1200"/>
                <a:buFont typeface="Helvetica Neue"/>
                <a:buChar char="•"/>
              </a:pPr>
              <a:r>
                <a:rPr lang="es-ES" sz="1200" b="0" i="0" u="none" strike="noStrike" cap="none">
                  <a:solidFill>
                    <a:srgbClr val="1A3B47"/>
                  </a:solidFill>
                  <a:latin typeface="Helvetica Neue"/>
                  <a:ea typeface="Helvetica Neue"/>
                  <a:cs typeface="Helvetica Neue"/>
                  <a:sym typeface="Helvetica Neue"/>
                </a:rPr>
                <a:t>Mejora continua de  la aplicación para aportar más valor al ciudadano (notificaciones, tracking GPS,...) y a la Administración (dashboard de análisis epidemiológico, </a:t>
              </a:r>
              <a:r>
                <a:rPr lang="es-ES" sz="1200" b="0" i="0" u="none" strike="noStrike" cap="none">
                  <a:solidFill>
                    <a:schemeClr val="dk1"/>
                  </a:solidFill>
                  <a:latin typeface="Helvetica Neue"/>
                  <a:ea typeface="Helvetica Neue"/>
                  <a:cs typeface="Helvetica Neue"/>
                  <a:sym typeface="Helvetica Neue"/>
                </a:rPr>
                <a:t>enriquecimiento de IA,...) y robustecer la contención del Covid-19</a:t>
              </a:r>
              <a:endParaRPr sz="1200" b="0" i="0" u="none" strike="noStrike" cap="none">
                <a:solidFill>
                  <a:srgbClr val="1A3B47"/>
                </a:solidFill>
                <a:latin typeface="Helvetica Neue"/>
                <a:ea typeface="Helvetica Neue"/>
                <a:cs typeface="Helvetica Neue"/>
                <a:sym typeface="Helvetica Neue"/>
              </a:endParaRPr>
            </a:p>
          </p:txBody>
        </p:sp>
        <p:sp>
          <p:nvSpPr>
            <p:cNvPr id="1473" name="Google Shape;1473;g7826bb8c5e_0_3042"/>
            <p:cNvSpPr/>
            <p:nvPr/>
          </p:nvSpPr>
          <p:spPr>
            <a:xfrm>
              <a:off x="660126" y="1663894"/>
              <a:ext cx="2355900" cy="338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s-ES" sz="1600" b="0" i="0" u="none" strike="noStrike" cap="none">
                  <a:solidFill>
                    <a:srgbClr val="639FCB"/>
                  </a:solidFill>
                  <a:latin typeface="Playfair Display"/>
                  <a:ea typeface="Playfair Display"/>
                  <a:cs typeface="Playfair Display"/>
                  <a:sym typeface="Playfair Display"/>
                </a:rPr>
                <a:t>Objetivo</a:t>
              </a:r>
              <a:endParaRPr sz="1400" b="0" i="0" u="none" strike="noStrike" cap="none">
                <a:solidFill>
                  <a:srgbClr val="000000"/>
                </a:solidFill>
                <a:latin typeface="Arial"/>
                <a:ea typeface="Arial"/>
                <a:cs typeface="Arial"/>
                <a:sym typeface="Arial"/>
              </a:endParaRPr>
            </a:p>
          </p:txBody>
        </p:sp>
      </p:grpSp>
      <p:sp>
        <p:nvSpPr>
          <p:cNvPr id="1474" name="Google Shape;1474;g7826bb8c5e_0_3042"/>
          <p:cNvSpPr/>
          <p:nvPr/>
        </p:nvSpPr>
        <p:spPr>
          <a:xfrm>
            <a:off x="8522950" y="5320550"/>
            <a:ext cx="2985600" cy="1111200"/>
          </a:xfrm>
          <a:prstGeom prst="rect">
            <a:avLst/>
          </a:prstGeom>
          <a:noFill/>
          <a:ln>
            <a:noFill/>
          </a:ln>
        </p:spPr>
        <p:txBody>
          <a:bodyPr spcFirstLastPara="1" wrap="square" lIns="91425" tIns="45700" rIns="91425" bIns="45700" anchor="t" anchorCtr="0">
            <a:noAutofit/>
          </a:bodyPr>
          <a:lstStyle/>
          <a:p>
            <a:pPr marL="173037" marR="0" lvl="0" indent="0" algn="l" rtl="0">
              <a:lnSpc>
                <a:spcPct val="100000"/>
              </a:lnSpc>
              <a:spcBef>
                <a:spcPts val="0"/>
              </a:spcBef>
              <a:spcAft>
                <a:spcPts val="0"/>
              </a:spcAft>
              <a:buClr>
                <a:srgbClr val="000000"/>
              </a:buClr>
              <a:buSzPts val="1050"/>
              <a:buFont typeface="Arial"/>
              <a:buNone/>
            </a:pPr>
            <a:r>
              <a:rPr lang="es-ES" sz="1050" b="1" i="0" u="none" strike="noStrike" cap="none" dirty="0">
                <a:solidFill>
                  <a:srgbClr val="1A3B47"/>
                </a:solidFill>
                <a:latin typeface="Helvetica Neue"/>
                <a:ea typeface="Helvetica Neue"/>
                <a:cs typeface="Helvetica Neue"/>
                <a:sym typeface="Helvetica Neue"/>
              </a:rPr>
              <a:t>A tener en cuenta</a:t>
            </a:r>
            <a:endParaRPr sz="1050" b="1" i="0" u="none" strike="noStrike" cap="none" dirty="0">
              <a:solidFill>
                <a:srgbClr val="1A3B47"/>
              </a:solidFill>
              <a:latin typeface="Helvetica Neue"/>
              <a:ea typeface="Helvetica Neue"/>
              <a:cs typeface="Helvetica Neue"/>
              <a:sym typeface="Helvetica Neue"/>
            </a:endParaRPr>
          </a:p>
          <a:p>
            <a:pPr marL="173037" marR="0" lvl="0" indent="0" algn="l" rtl="0">
              <a:lnSpc>
                <a:spcPct val="100000"/>
              </a:lnSpc>
              <a:spcBef>
                <a:spcPts val="0"/>
              </a:spcBef>
              <a:spcAft>
                <a:spcPts val="0"/>
              </a:spcAft>
              <a:buClr>
                <a:srgbClr val="000000"/>
              </a:buClr>
              <a:buSzPts val="1050"/>
              <a:buFont typeface="Arial"/>
              <a:buNone/>
            </a:pPr>
            <a:r>
              <a:rPr lang="es-ES" sz="1050" b="0" i="0" u="none" strike="noStrike" cap="none" dirty="0">
                <a:solidFill>
                  <a:srgbClr val="1A3B47"/>
                </a:solidFill>
                <a:latin typeface="Helvetica Neue"/>
                <a:ea typeface="Helvetica Neue"/>
                <a:cs typeface="Helvetica Neue"/>
                <a:sym typeface="Helvetica Neue"/>
              </a:rPr>
              <a:t>Proponemos una metodología iterativa, que permita la experimentación y el contraste de hipótesis de forma simple y ágil</a:t>
            </a:r>
            <a:endParaRPr sz="1050" b="0" i="0" u="none" strike="noStrike" cap="none" dirty="0">
              <a:solidFill>
                <a:srgbClr val="1A3B47"/>
              </a:solidFill>
              <a:latin typeface="Helvetica Neue"/>
              <a:ea typeface="Helvetica Neue"/>
              <a:cs typeface="Helvetica Neue"/>
              <a:sym typeface="Helvetica Neue"/>
            </a:endParaRPr>
          </a:p>
        </p:txBody>
      </p:sp>
      <p:sp>
        <p:nvSpPr>
          <p:cNvPr id="1475" name="Google Shape;1475;g7826bb8c5e_0_3042"/>
          <p:cNvSpPr/>
          <p:nvPr/>
        </p:nvSpPr>
        <p:spPr>
          <a:xfrm>
            <a:off x="-312712" y="1484784"/>
            <a:ext cx="5976600" cy="657000"/>
          </a:xfrm>
          <a:prstGeom prst="parallelogram">
            <a:avLst>
              <a:gd name="adj" fmla="val 25000"/>
            </a:avLst>
          </a:prstGeom>
          <a:solidFill>
            <a:srgbClr val="FDEDE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799"/>
              <a:buFont typeface="Arial"/>
              <a:buNone/>
            </a:pPr>
            <a:r>
              <a:rPr lang="es-ES" sz="1799" b="0" i="0" u="none" strike="noStrike" cap="none">
                <a:solidFill>
                  <a:srgbClr val="1A3B47"/>
                </a:solidFill>
                <a:latin typeface="Playfair Display"/>
                <a:ea typeface="Playfair Display"/>
                <a:cs typeface="Playfair Display"/>
                <a:sym typeface="Playfair Display"/>
              </a:rPr>
              <a:t>¿En qué consiste este bloque?</a:t>
            </a:r>
            <a:endParaRPr sz="1400" b="0" i="0" u="none" strike="noStrike" cap="none">
              <a:solidFill>
                <a:srgbClr val="000000"/>
              </a:solidFill>
              <a:latin typeface="Arial"/>
              <a:ea typeface="Arial"/>
              <a:cs typeface="Arial"/>
              <a:sym typeface="Arial"/>
            </a:endParaRPr>
          </a:p>
        </p:txBody>
      </p:sp>
      <p:grpSp>
        <p:nvGrpSpPr>
          <p:cNvPr id="1476" name="Google Shape;1476;g7826bb8c5e_0_3042"/>
          <p:cNvGrpSpPr/>
          <p:nvPr/>
        </p:nvGrpSpPr>
        <p:grpSpPr>
          <a:xfrm>
            <a:off x="4163763" y="2439469"/>
            <a:ext cx="2116826" cy="1626679"/>
            <a:chOff x="660126" y="1663894"/>
            <a:chExt cx="2939219" cy="1789329"/>
          </a:xfrm>
        </p:grpSpPr>
        <p:sp>
          <p:nvSpPr>
            <p:cNvPr id="1477" name="Google Shape;1477;g7826bb8c5e_0_3042"/>
            <p:cNvSpPr/>
            <p:nvPr/>
          </p:nvSpPr>
          <p:spPr>
            <a:xfrm>
              <a:off x="705545" y="1929823"/>
              <a:ext cx="2893800" cy="15234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050"/>
                <a:buFont typeface="Arial"/>
                <a:buNone/>
              </a:pPr>
              <a:endParaRPr sz="1050" b="0" i="0" u="none" strike="noStrike" cap="none">
                <a:solidFill>
                  <a:srgbClr val="1A3B47"/>
                </a:solidFill>
                <a:latin typeface="Helvetica Neue"/>
                <a:ea typeface="Helvetica Neue"/>
                <a:cs typeface="Helvetica Neue"/>
                <a:sym typeface="Helvetica Neue"/>
              </a:endParaRPr>
            </a:p>
            <a:p>
              <a:pPr marL="355600" marR="0" lvl="0" indent="-195262" algn="l" rtl="0">
                <a:lnSpc>
                  <a:spcPct val="100000"/>
                </a:lnSpc>
                <a:spcBef>
                  <a:spcPts val="0"/>
                </a:spcBef>
                <a:spcAft>
                  <a:spcPts val="0"/>
                </a:spcAft>
                <a:buClr>
                  <a:srgbClr val="1A3B47"/>
                </a:buClr>
                <a:buSzPts val="1200"/>
                <a:buFont typeface="Helvetica Neue"/>
                <a:buChar char="•"/>
              </a:pPr>
              <a:r>
                <a:rPr lang="es-ES" sz="1200" b="0" i="0" u="none" strike="noStrike" cap="none">
                  <a:solidFill>
                    <a:srgbClr val="1A3B47"/>
                  </a:solidFill>
                  <a:latin typeface="Helvetica Neue"/>
                  <a:ea typeface="Helvetica Neue"/>
                  <a:cs typeface="Helvetica Neue"/>
                  <a:sym typeface="Helvetica Neue"/>
                </a:rPr>
                <a:t>Actividad iterativa y sujeta a duración del piloto</a:t>
              </a:r>
              <a:endParaRPr sz="1200" b="0" i="0" u="none" strike="noStrike" cap="none">
                <a:solidFill>
                  <a:srgbClr val="1A3B47"/>
                </a:solidFill>
                <a:latin typeface="Helvetica Neue"/>
                <a:ea typeface="Helvetica Neue"/>
                <a:cs typeface="Helvetica Neue"/>
                <a:sym typeface="Helvetica Neue"/>
              </a:endParaRPr>
            </a:p>
          </p:txBody>
        </p:sp>
        <p:sp>
          <p:nvSpPr>
            <p:cNvPr id="1478" name="Google Shape;1478;g7826bb8c5e_0_3042"/>
            <p:cNvSpPr/>
            <p:nvPr/>
          </p:nvSpPr>
          <p:spPr>
            <a:xfrm>
              <a:off x="660126" y="1663894"/>
              <a:ext cx="2355900" cy="338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s-ES" sz="1600" b="0" i="0" u="none" strike="noStrike" cap="none">
                  <a:solidFill>
                    <a:srgbClr val="639FCB"/>
                  </a:solidFill>
                  <a:latin typeface="Playfair Display"/>
                  <a:ea typeface="Playfair Display"/>
                  <a:cs typeface="Playfair Display"/>
                  <a:sym typeface="Playfair Display"/>
                </a:rPr>
                <a:t>Plazo</a:t>
              </a:r>
              <a:endParaRPr sz="1400" b="0" i="0" u="none" strike="noStrike" cap="none">
                <a:solidFill>
                  <a:srgbClr val="000000"/>
                </a:solidFill>
                <a:latin typeface="Arial"/>
                <a:ea typeface="Arial"/>
                <a:cs typeface="Arial"/>
                <a:sym typeface="Arial"/>
              </a:endParaRPr>
            </a:p>
          </p:txBody>
        </p:sp>
      </p:grpSp>
      <p:grpSp>
        <p:nvGrpSpPr>
          <p:cNvPr id="1479" name="Google Shape;1479;g7826bb8c5e_0_3042"/>
          <p:cNvGrpSpPr/>
          <p:nvPr/>
        </p:nvGrpSpPr>
        <p:grpSpPr>
          <a:xfrm>
            <a:off x="408331" y="4335958"/>
            <a:ext cx="4941736" cy="1626690"/>
            <a:chOff x="660126" y="1663894"/>
            <a:chExt cx="2355900" cy="1789341"/>
          </a:xfrm>
        </p:grpSpPr>
        <p:sp>
          <p:nvSpPr>
            <p:cNvPr id="1480" name="Google Shape;1480;g7826bb8c5e_0_3042"/>
            <p:cNvSpPr/>
            <p:nvPr/>
          </p:nvSpPr>
          <p:spPr>
            <a:xfrm>
              <a:off x="705543" y="1929835"/>
              <a:ext cx="2299500" cy="15234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050"/>
                <a:buFont typeface="Arial"/>
                <a:buNone/>
              </a:pPr>
              <a:endParaRPr sz="1050" b="0" i="0" u="none" strike="noStrike" cap="none">
                <a:solidFill>
                  <a:srgbClr val="1A3B47"/>
                </a:solidFill>
                <a:latin typeface="Helvetica Neue"/>
                <a:ea typeface="Helvetica Neue"/>
                <a:cs typeface="Helvetica Neue"/>
                <a:sym typeface="Helvetica Neue"/>
              </a:endParaRPr>
            </a:p>
            <a:p>
              <a:pPr marL="355600" marR="0" lvl="0" indent="-195262" algn="l" rtl="0">
                <a:lnSpc>
                  <a:spcPct val="100000"/>
                </a:lnSpc>
                <a:spcBef>
                  <a:spcPts val="0"/>
                </a:spcBef>
                <a:spcAft>
                  <a:spcPts val="0"/>
                </a:spcAft>
                <a:buClr>
                  <a:srgbClr val="1A3B47"/>
                </a:buClr>
                <a:buSzPts val="1200"/>
                <a:buFont typeface="Helvetica Neue"/>
                <a:buChar char="•"/>
              </a:pPr>
              <a:r>
                <a:rPr lang="es-ES" sz="1200" b="0" i="0" u="none" strike="noStrike" cap="none">
                  <a:solidFill>
                    <a:srgbClr val="1A3B47"/>
                  </a:solidFill>
                  <a:latin typeface="Helvetica Neue"/>
                  <a:ea typeface="Helvetica Neue"/>
                  <a:cs typeface="Helvetica Neue"/>
                  <a:sym typeface="Helvetica Neue"/>
                </a:rPr>
                <a:t>Evolución funcional y técnica: definición de nuevos evolutivos a nivel funcional y técnico, incluyendo el análisis técnico continuo para la adaptación a posibles nuevos estándares</a:t>
              </a:r>
              <a:endParaRPr sz="1200" b="0" i="0" u="none" strike="noStrike" cap="none">
                <a:solidFill>
                  <a:srgbClr val="1A3B47"/>
                </a:solidFill>
                <a:latin typeface="Helvetica Neue"/>
                <a:ea typeface="Helvetica Neue"/>
                <a:cs typeface="Helvetica Neue"/>
                <a:sym typeface="Helvetica Neue"/>
              </a:endParaRPr>
            </a:p>
            <a:p>
              <a:pPr marL="355600" marR="0" lvl="0" indent="-195262" algn="l" rtl="0">
                <a:lnSpc>
                  <a:spcPct val="100000"/>
                </a:lnSpc>
                <a:spcBef>
                  <a:spcPts val="0"/>
                </a:spcBef>
                <a:spcAft>
                  <a:spcPts val="0"/>
                </a:spcAft>
                <a:buClr>
                  <a:srgbClr val="1A3B47"/>
                </a:buClr>
                <a:buSzPts val="1200"/>
                <a:buFont typeface="Helvetica Neue"/>
                <a:buChar char="•"/>
              </a:pPr>
              <a:r>
                <a:rPr lang="es-ES" sz="1200" b="0" i="0" u="none" strike="noStrike" cap="none">
                  <a:solidFill>
                    <a:srgbClr val="1A3B47"/>
                  </a:solidFill>
                  <a:latin typeface="Helvetica Neue"/>
                  <a:ea typeface="Helvetica Neue"/>
                  <a:cs typeface="Helvetica Neue"/>
                  <a:sym typeface="Helvetica Neue"/>
                </a:rPr>
                <a:t>Actualización de diseño UX bajo premisas de máxima adopción </a:t>
              </a:r>
              <a:endParaRPr sz="1200" b="0" i="0" u="none" strike="noStrike" cap="none">
                <a:solidFill>
                  <a:srgbClr val="1A3B47"/>
                </a:solidFill>
                <a:latin typeface="Helvetica Neue"/>
                <a:ea typeface="Helvetica Neue"/>
                <a:cs typeface="Helvetica Neue"/>
                <a:sym typeface="Helvetica Neue"/>
              </a:endParaRPr>
            </a:p>
            <a:p>
              <a:pPr marL="355600" marR="0" lvl="0" indent="-195262" algn="l" rtl="0">
                <a:lnSpc>
                  <a:spcPct val="100000"/>
                </a:lnSpc>
                <a:spcBef>
                  <a:spcPts val="0"/>
                </a:spcBef>
                <a:spcAft>
                  <a:spcPts val="0"/>
                </a:spcAft>
                <a:buClr>
                  <a:srgbClr val="1A3B47"/>
                </a:buClr>
                <a:buSzPts val="1200"/>
                <a:buFont typeface="Helvetica Neue"/>
                <a:buChar char="•"/>
              </a:pPr>
              <a:r>
                <a:rPr lang="es-ES" sz="1200" b="0" i="0" u="none" strike="noStrike" cap="none">
                  <a:solidFill>
                    <a:srgbClr val="1A3B47"/>
                  </a:solidFill>
                  <a:latin typeface="Helvetica Neue"/>
                  <a:ea typeface="Helvetica Neue"/>
                  <a:cs typeface="Helvetica Neue"/>
                  <a:sym typeface="Helvetica Neue"/>
                </a:rPr>
                <a:t>Desarrollo de nuevas funcionalidades con validación del producto por parte de la Administración</a:t>
              </a:r>
              <a:endParaRPr sz="1200" b="0" i="0" u="none" strike="noStrike" cap="none">
                <a:solidFill>
                  <a:srgbClr val="1A3B47"/>
                </a:solidFill>
                <a:latin typeface="Helvetica Neue"/>
                <a:ea typeface="Helvetica Neue"/>
                <a:cs typeface="Helvetica Neue"/>
                <a:sym typeface="Helvetica Neue"/>
              </a:endParaRPr>
            </a:p>
            <a:p>
              <a:pPr marL="355600" marR="0" lvl="0" indent="-195262" algn="l" rtl="0">
                <a:lnSpc>
                  <a:spcPct val="100000"/>
                </a:lnSpc>
                <a:spcBef>
                  <a:spcPts val="0"/>
                </a:spcBef>
                <a:spcAft>
                  <a:spcPts val="0"/>
                </a:spcAft>
                <a:buClr>
                  <a:srgbClr val="1A3B47"/>
                </a:buClr>
                <a:buSzPts val="1200"/>
                <a:buFont typeface="Helvetica Neue"/>
                <a:buChar char="•"/>
              </a:pPr>
              <a:r>
                <a:rPr lang="es-ES" sz="1200" b="0" i="0" u="none" strike="noStrike" cap="none">
                  <a:solidFill>
                    <a:srgbClr val="1A3B47"/>
                  </a:solidFill>
                  <a:latin typeface="Helvetica Neue"/>
                  <a:ea typeface="Helvetica Neue"/>
                  <a:cs typeface="Helvetica Neue"/>
                  <a:sym typeface="Helvetica Neue"/>
                </a:rPr>
                <a:t>Testeo de nuevas funcionalidades</a:t>
              </a:r>
              <a:endParaRPr sz="1200" b="0" i="0" u="none" strike="noStrike" cap="none">
                <a:solidFill>
                  <a:srgbClr val="1A3B47"/>
                </a:solidFill>
                <a:latin typeface="Helvetica Neue"/>
                <a:ea typeface="Helvetica Neue"/>
                <a:cs typeface="Helvetica Neue"/>
                <a:sym typeface="Helvetica Neue"/>
              </a:endParaRPr>
            </a:p>
          </p:txBody>
        </p:sp>
        <p:sp>
          <p:nvSpPr>
            <p:cNvPr id="1481" name="Google Shape;1481;g7826bb8c5e_0_3042"/>
            <p:cNvSpPr/>
            <p:nvPr/>
          </p:nvSpPr>
          <p:spPr>
            <a:xfrm>
              <a:off x="660126" y="1663894"/>
              <a:ext cx="2355900" cy="338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s-ES" sz="1600" b="0" i="0" u="none" strike="noStrike" cap="none">
                  <a:solidFill>
                    <a:srgbClr val="639FCB"/>
                  </a:solidFill>
                  <a:latin typeface="Playfair Display"/>
                  <a:ea typeface="Playfair Display"/>
                  <a:cs typeface="Playfair Display"/>
                  <a:sym typeface="Playfair Display"/>
                </a:rPr>
                <a:t>Actividades</a:t>
              </a:r>
              <a:endParaRPr sz="1400" b="0" i="0" u="none" strike="noStrike" cap="none">
                <a:solidFill>
                  <a:srgbClr val="000000"/>
                </a:solidFill>
                <a:latin typeface="Arial"/>
                <a:ea typeface="Arial"/>
                <a:cs typeface="Arial"/>
                <a:sym typeface="Arial"/>
              </a:endParaRPr>
            </a:p>
          </p:txBody>
        </p:sp>
      </p:grpSp>
      <p:pic>
        <p:nvPicPr>
          <p:cNvPr id="1482" name="Google Shape;1482;g7826bb8c5e_0_3042"/>
          <p:cNvPicPr preferRelativeResize="0"/>
          <p:nvPr/>
        </p:nvPicPr>
        <p:blipFill rotWithShape="1">
          <a:blip r:embed="rId3">
            <a:alphaModFix/>
          </a:blip>
          <a:srcRect/>
          <a:stretch/>
        </p:blipFill>
        <p:spPr>
          <a:xfrm>
            <a:off x="7929943" y="5320548"/>
            <a:ext cx="722100" cy="722100"/>
          </a:xfrm>
          <a:prstGeom prst="ellipse">
            <a:avLst/>
          </a:prstGeom>
          <a:noFill/>
          <a:ln>
            <a:noFill/>
          </a:ln>
        </p:spPr>
      </p:pic>
      <p:grpSp>
        <p:nvGrpSpPr>
          <p:cNvPr id="1483" name="Google Shape;1483;g7826bb8c5e_0_3042"/>
          <p:cNvGrpSpPr/>
          <p:nvPr/>
        </p:nvGrpSpPr>
        <p:grpSpPr>
          <a:xfrm>
            <a:off x="10992330" y="88959"/>
            <a:ext cx="1104735" cy="536493"/>
            <a:chOff x="508100" y="1640544"/>
            <a:chExt cx="11238400" cy="4620956"/>
          </a:xfrm>
        </p:grpSpPr>
        <p:grpSp>
          <p:nvGrpSpPr>
            <p:cNvPr id="1484" name="Google Shape;1484;g7826bb8c5e_0_3042"/>
            <p:cNvGrpSpPr/>
            <p:nvPr/>
          </p:nvGrpSpPr>
          <p:grpSpPr>
            <a:xfrm>
              <a:off x="508106" y="1640544"/>
              <a:ext cx="11232175" cy="21551"/>
              <a:chOff x="431923" y="1640499"/>
              <a:chExt cx="9605075" cy="31800"/>
            </a:xfrm>
          </p:grpSpPr>
          <p:cxnSp>
            <p:nvCxnSpPr>
              <p:cNvPr id="1485" name="Google Shape;1485;g7826bb8c5e_0_3042"/>
              <p:cNvCxnSpPr/>
              <p:nvPr/>
            </p:nvCxnSpPr>
            <p:spPr>
              <a:xfrm>
                <a:off x="431923" y="1640499"/>
                <a:ext cx="4651200" cy="15900"/>
              </a:xfrm>
              <a:prstGeom prst="straightConnector1">
                <a:avLst/>
              </a:prstGeom>
              <a:noFill/>
              <a:ln w="76200" cap="flat" cmpd="sng">
                <a:solidFill>
                  <a:srgbClr val="CCCCCC"/>
                </a:solidFill>
                <a:prstDash val="solid"/>
                <a:round/>
                <a:headEnd type="none" w="sm" len="sm"/>
                <a:tailEnd type="none" w="sm" len="sm"/>
              </a:ln>
            </p:spPr>
          </p:cxnSp>
          <p:cxnSp>
            <p:nvCxnSpPr>
              <p:cNvPr id="1486" name="Google Shape;1486;g7826bb8c5e_0_3042"/>
              <p:cNvCxnSpPr/>
              <p:nvPr/>
            </p:nvCxnSpPr>
            <p:spPr>
              <a:xfrm>
                <a:off x="5385798" y="1656399"/>
                <a:ext cx="4651200" cy="15900"/>
              </a:xfrm>
              <a:prstGeom prst="straightConnector1">
                <a:avLst/>
              </a:prstGeom>
              <a:noFill/>
              <a:ln w="76200" cap="flat" cmpd="sng">
                <a:solidFill>
                  <a:schemeClr val="accent2"/>
                </a:solidFill>
                <a:prstDash val="solid"/>
                <a:round/>
                <a:headEnd type="none" w="sm" len="sm"/>
                <a:tailEnd type="none" w="sm" len="sm"/>
              </a:ln>
            </p:spPr>
          </p:cxnSp>
        </p:grpSp>
        <p:sp>
          <p:nvSpPr>
            <p:cNvPr id="1487" name="Google Shape;1487;g7826bb8c5e_0_3042"/>
            <p:cNvSpPr/>
            <p:nvPr/>
          </p:nvSpPr>
          <p:spPr>
            <a:xfrm>
              <a:off x="508100" y="2035875"/>
              <a:ext cx="1390500" cy="4225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488" name="Google Shape;1488;g7826bb8c5e_0_3042"/>
            <p:cNvSpPr/>
            <p:nvPr/>
          </p:nvSpPr>
          <p:spPr>
            <a:xfrm>
              <a:off x="2132113" y="5255000"/>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489" name="Google Shape;1489;g7826bb8c5e_0_3042"/>
            <p:cNvSpPr/>
            <p:nvPr/>
          </p:nvSpPr>
          <p:spPr>
            <a:xfrm>
              <a:off x="2132113" y="3108917"/>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490" name="Google Shape;1490;g7826bb8c5e_0_3042"/>
            <p:cNvSpPr/>
            <p:nvPr/>
          </p:nvSpPr>
          <p:spPr>
            <a:xfrm>
              <a:off x="2132113" y="4181958"/>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491" name="Google Shape;1491;g7826bb8c5e_0_3042"/>
            <p:cNvSpPr/>
            <p:nvPr/>
          </p:nvSpPr>
          <p:spPr>
            <a:xfrm>
              <a:off x="6343925" y="2035875"/>
              <a:ext cx="5396400" cy="13503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492" name="Google Shape;1492;g7826bb8c5e_0_3042"/>
            <p:cNvSpPr/>
            <p:nvPr/>
          </p:nvSpPr>
          <p:spPr>
            <a:xfrm>
              <a:off x="6350100" y="3481700"/>
              <a:ext cx="5396400" cy="1352100"/>
            </a:xfrm>
            <a:prstGeom prst="rect">
              <a:avLst/>
            </a:prstGeom>
            <a:solidFill>
              <a:srgbClr val="FDEDE0"/>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493" name="Google Shape;1493;g7826bb8c5e_0_3042"/>
            <p:cNvSpPr/>
            <p:nvPr/>
          </p:nvSpPr>
          <p:spPr>
            <a:xfrm>
              <a:off x="6343925" y="4945700"/>
              <a:ext cx="5396400" cy="13158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494" name="Google Shape;1494;g7826bb8c5e_0_3042"/>
            <p:cNvSpPr/>
            <p:nvPr/>
          </p:nvSpPr>
          <p:spPr>
            <a:xfrm>
              <a:off x="2132113" y="2035875"/>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gr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404"/>
        <p:cNvGrpSpPr/>
        <p:nvPr/>
      </p:nvGrpSpPr>
      <p:grpSpPr>
        <a:xfrm>
          <a:off x="0" y="0"/>
          <a:ext cx="0" cy="0"/>
          <a:chOff x="0" y="0"/>
          <a:chExt cx="0" cy="0"/>
        </a:xfrm>
      </p:grpSpPr>
      <p:grpSp>
        <p:nvGrpSpPr>
          <p:cNvPr id="405" name="Google Shape;405;g7826bb8c5e_0_580"/>
          <p:cNvGrpSpPr/>
          <p:nvPr/>
        </p:nvGrpSpPr>
        <p:grpSpPr>
          <a:xfrm flipH="1">
            <a:off x="-2072107" y="-1533027"/>
            <a:ext cx="14468159" cy="8102988"/>
            <a:chOff x="-1240054" y="582463"/>
            <a:chExt cx="10851392" cy="6077393"/>
          </a:xfrm>
        </p:grpSpPr>
        <p:pic>
          <p:nvPicPr>
            <p:cNvPr id="406" name="Google Shape;406;g7826bb8c5e_0_580"/>
            <p:cNvPicPr preferRelativeResize="0"/>
            <p:nvPr/>
          </p:nvPicPr>
          <p:blipFill rotWithShape="1">
            <a:blip r:embed="rId3">
              <a:alphaModFix/>
            </a:blip>
            <a:srcRect/>
            <a:stretch/>
          </p:blipFill>
          <p:spPr>
            <a:xfrm>
              <a:off x="7841790" y="582463"/>
              <a:ext cx="1769548" cy="6068587"/>
            </a:xfrm>
            <a:prstGeom prst="rect">
              <a:avLst/>
            </a:prstGeom>
            <a:noFill/>
            <a:ln>
              <a:noFill/>
            </a:ln>
          </p:spPr>
        </p:pic>
        <p:pic>
          <p:nvPicPr>
            <p:cNvPr id="407" name="Google Shape;407;g7826bb8c5e_0_580"/>
            <p:cNvPicPr preferRelativeResize="0"/>
            <p:nvPr/>
          </p:nvPicPr>
          <p:blipFill rotWithShape="1">
            <a:blip r:embed="rId4">
              <a:alphaModFix/>
            </a:blip>
            <a:srcRect/>
            <a:stretch/>
          </p:blipFill>
          <p:spPr>
            <a:xfrm flipH="1">
              <a:off x="-1240054" y="591269"/>
              <a:ext cx="9102882" cy="6068587"/>
            </a:xfrm>
            <a:prstGeom prst="rect">
              <a:avLst/>
            </a:prstGeom>
            <a:noFill/>
            <a:ln>
              <a:noFill/>
            </a:ln>
          </p:spPr>
        </p:pic>
      </p:grpSp>
      <p:sp>
        <p:nvSpPr>
          <p:cNvPr id="408" name="Google Shape;408;g7826bb8c5e_0_580"/>
          <p:cNvSpPr/>
          <p:nvPr/>
        </p:nvSpPr>
        <p:spPr>
          <a:xfrm flipH="1">
            <a:off x="9073096" y="3621022"/>
            <a:ext cx="5042573" cy="6889623"/>
          </a:xfrm>
          <a:custGeom>
            <a:avLst/>
            <a:gdLst/>
            <a:ahLst/>
            <a:cxnLst/>
            <a:rect l="l" t="t" r="r" b="b"/>
            <a:pathLst>
              <a:path w="3589020" h="5151120" extrusionOk="0">
                <a:moveTo>
                  <a:pt x="15240" y="5090160"/>
                </a:moveTo>
                <a:lnTo>
                  <a:pt x="15240" y="1021080"/>
                </a:lnTo>
                <a:lnTo>
                  <a:pt x="3589020" y="0"/>
                </a:lnTo>
                <a:lnTo>
                  <a:pt x="3589020" y="5151120"/>
                </a:lnTo>
                <a:lnTo>
                  <a:pt x="0" y="5151120"/>
                </a:lnTo>
                <a:lnTo>
                  <a:pt x="15240" y="5090160"/>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Arial"/>
              <a:ea typeface="Arial"/>
              <a:cs typeface="Arial"/>
              <a:sym typeface="Arial"/>
            </a:endParaRPr>
          </a:p>
        </p:txBody>
      </p:sp>
      <p:sp>
        <p:nvSpPr>
          <p:cNvPr id="409" name="Google Shape;409;g7826bb8c5e_0_580"/>
          <p:cNvSpPr/>
          <p:nvPr/>
        </p:nvSpPr>
        <p:spPr>
          <a:xfrm flipH="1">
            <a:off x="-3645465" y="783277"/>
            <a:ext cx="15994780" cy="10813863"/>
          </a:xfrm>
          <a:custGeom>
            <a:avLst/>
            <a:gdLst/>
            <a:ahLst/>
            <a:cxnLst/>
            <a:rect l="l" t="t" r="r" b="b"/>
            <a:pathLst>
              <a:path w="11069052" h="7483642" extrusionOk="0">
                <a:moveTo>
                  <a:pt x="0" y="3176337"/>
                </a:moveTo>
                <a:lnTo>
                  <a:pt x="11069052" y="0"/>
                </a:lnTo>
                <a:lnTo>
                  <a:pt x="11069052" y="7483642"/>
                </a:lnTo>
                <a:lnTo>
                  <a:pt x="10804358" y="7483642"/>
                </a:lnTo>
                <a:lnTo>
                  <a:pt x="0" y="7483642"/>
                </a:lnTo>
                <a:lnTo>
                  <a:pt x="0" y="3176337"/>
                </a:lnTo>
                <a:close/>
              </a:path>
            </a:pathLst>
          </a:cu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Arial"/>
              <a:ea typeface="Arial"/>
              <a:cs typeface="Arial"/>
              <a:sym typeface="Arial"/>
            </a:endParaRPr>
          </a:p>
        </p:txBody>
      </p:sp>
      <p:sp>
        <p:nvSpPr>
          <p:cNvPr id="410" name="Google Shape;410;g7826bb8c5e_0_580"/>
          <p:cNvSpPr txBox="1"/>
          <p:nvPr/>
        </p:nvSpPr>
        <p:spPr>
          <a:xfrm>
            <a:off x="613126" y="3834300"/>
            <a:ext cx="3425100" cy="485700"/>
          </a:xfrm>
          <a:prstGeom prst="rect">
            <a:avLst/>
          </a:prstGeom>
          <a:noFill/>
          <a:ln>
            <a:noFill/>
          </a:ln>
        </p:spPr>
        <p:txBody>
          <a:bodyPr spcFirstLastPara="1" wrap="square" lIns="121900" tIns="60950" rIns="121900" bIns="60950" anchor="t" anchorCtr="0">
            <a:noAutofit/>
          </a:bodyPr>
          <a:lstStyle/>
          <a:p>
            <a:pPr marL="0" marR="0" lvl="0" indent="0" algn="l" rtl="0">
              <a:lnSpc>
                <a:spcPct val="80000"/>
              </a:lnSpc>
              <a:spcBef>
                <a:spcPts val="0"/>
              </a:spcBef>
              <a:spcAft>
                <a:spcPts val="0"/>
              </a:spcAft>
              <a:buClr>
                <a:srgbClr val="000000"/>
              </a:buClr>
              <a:buSzPts val="3733"/>
              <a:buFont typeface="Arial"/>
              <a:buNone/>
            </a:pPr>
            <a:r>
              <a:rPr lang="es-ES" sz="3733">
                <a:solidFill>
                  <a:srgbClr val="FFFFFF"/>
                </a:solidFill>
                <a:latin typeface="Playfair Display"/>
                <a:ea typeface="Playfair Display"/>
                <a:cs typeface="Playfair Display"/>
                <a:sym typeface="Playfair Display"/>
              </a:rPr>
              <a:t>Resumen ejecutivo</a:t>
            </a:r>
            <a:endParaRPr sz="1400" b="0" i="0" u="none" strike="noStrike" cap="none">
              <a:solidFill>
                <a:srgbClr val="000000"/>
              </a:solidFill>
              <a:latin typeface="Arial"/>
              <a:ea typeface="Arial"/>
              <a:cs typeface="Arial"/>
              <a:sym typeface="Arial"/>
            </a:endParaRPr>
          </a:p>
        </p:txBody>
      </p:sp>
      <p:sp>
        <p:nvSpPr>
          <p:cNvPr id="411" name="Google Shape;411;g7826bb8c5e_0_580"/>
          <p:cNvSpPr/>
          <p:nvPr/>
        </p:nvSpPr>
        <p:spPr>
          <a:xfrm>
            <a:off x="636125" y="4536315"/>
            <a:ext cx="5587800" cy="412500"/>
          </a:xfrm>
          <a:prstGeom prst="rect">
            <a:avLst/>
          </a:prstGeom>
          <a:noFill/>
          <a:ln>
            <a:noFill/>
          </a:ln>
        </p:spPr>
        <p:txBody>
          <a:bodyPr spcFirstLastPara="1" wrap="square" lIns="91425" tIns="45700" rIns="91425" bIns="45700" anchor="t" anchorCtr="0">
            <a:noAutofit/>
          </a:bodyPr>
          <a:lstStyle/>
          <a:p>
            <a:pPr marL="0" marR="0" lvl="0" indent="0" algn="l" rtl="0">
              <a:lnSpc>
                <a:spcPct val="130000"/>
              </a:lnSpc>
              <a:spcBef>
                <a:spcPts val="0"/>
              </a:spcBef>
              <a:spcAft>
                <a:spcPts val="0"/>
              </a:spcAft>
              <a:buClr>
                <a:srgbClr val="000000"/>
              </a:buClr>
              <a:buSzPts val="1600"/>
              <a:buFont typeface="Arial"/>
              <a:buNone/>
            </a:pPr>
            <a:r>
              <a:rPr lang="es-ES" sz="1600" b="0" i="0" u="none" strike="noStrike" cap="none">
                <a:solidFill>
                  <a:srgbClr val="FFFFFF"/>
                </a:solidFill>
                <a:latin typeface="Arial"/>
                <a:ea typeface="Arial"/>
                <a:cs typeface="Arial"/>
                <a:sym typeface="Arial"/>
              </a:rPr>
              <a:t>___</a:t>
            </a:r>
            <a:endParaRPr sz="1400" b="0" i="0" u="none" strike="noStrike" cap="none">
              <a:solidFill>
                <a:srgbClr val="000000"/>
              </a:solidFill>
              <a:latin typeface="Arial"/>
              <a:ea typeface="Arial"/>
              <a:cs typeface="Arial"/>
              <a:sym typeface="Arial"/>
            </a:endParaRPr>
          </a:p>
        </p:txBody>
      </p:sp>
      <p:sp>
        <p:nvSpPr>
          <p:cNvPr id="412" name="Google Shape;412;g7826bb8c5e_0_580"/>
          <p:cNvSpPr txBox="1"/>
          <p:nvPr/>
        </p:nvSpPr>
        <p:spPr>
          <a:xfrm>
            <a:off x="527382" y="2244463"/>
            <a:ext cx="3734700" cy="202170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FFFFFF"/>
              </a:buClr>
              <a:buSzPts val="10666"/>
              <a:buFont typeface="Arial"/>
              <a:buNone/>
            </a:pPr>
            <a:r>
              <a:rPr lang="es-ES" sz="10666" b="0" i="0" u="none" strike="noStrike" cap="none">
                <a:solidFill>
                  <a:srgbClr val="FFFFFF"/>
                </a:solidFill>
                <a:latin typeface="Playfair Display"/>
                <a:ea typeface="Playfair Display"/>
                <a:cs typeface="Playfair Display"/>
                <a:sym typeface="Playfair Display"/>
              </a:rPr>
              <a:t>1</a:t>
            </a:r>
            <a:endParaRPr sz="1400" b="0" i="0" u="none" strike="noStrike" cap="none">
              <a:solidFill>
                <a:srgbClr val="000000"/>
              </a:solidFill>
              <a:latin typeface="Arial"/>
              <a:ea typeface="Arial"/>
              <a:cs typeface="Arial"/>
              <a:sym typeface="Arial"/>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498"/>
        <p:cNvGrpSpPr/>
        <p:nvPr/>
      </p:nvGrpSpPr>
      <p:grpSpPr>
        <a:xfrm>
          <a:off x="0" y="0"/>
          <a:ext cx="0" cy="0"/>
          <a:chOff x="0" y="0"/>
          <a:chExt cx="0" cy="0"/>
        </a:xfrm>
      </p:grpSpPr>
      <p:sp>
        <p:nvSpPr>
          <p:cNvPr id="1499" name="Google Shape;1499;g7826bb8c5e_0_3113"/>
          <p:cNvSpPr/>
          <p:nvPr/>
        </p:nvSpPr>
        <p:spPr>
          <a:xfrm>
            <a:off x="839400" y="2303225"/>
            <a:ext cx="8376300" cy="1312200"/>
          </a:xfrm>
          <a:prstGeom prst="rect">
            <a:avLst/>
          </a:prstGeom>
          <a:noFill/>
          <a:ln w="38100" cap="flat" cmpd="sng">
            <a:solidFill>
              <a:schemeClr val="dk2"/>
            </a:solidFill>
            <a:prstDash val="solid"/>
            <a:round/>
            <a:headEnd type="none" w="sm" len="sm"/>
            <a:tailEnd type="none" w="sm" len="sm"/>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s-ES" sz="1600" b="0" i="0" u="none" strike="noStrike" cap="none">
                <a:solidFill>
                  <a:srgbClr val="000000"/>
                </a:solidFill>
                <a:latin typeface="Playfair Display"/>
                <a:ea typeface="Playfair Display"/>
                <a:cs typeface="Playfair Display"/>
                <a:sym typeface="Playfair Display"/>
              </a:rPr>
              <a:t>Evolución funcional y técnica</a:t>
            </a:r>
            <a:endParaRPr sz="1600" b="0" i="0" u="none" strike="noStrike" cap="none">
              <a:solidFill>
                <a:srgbClr val="000000"/>
              </a:solidFill>
              <a:latin typeface="Playfair Display"/>
              <a:ea typeface="Playfair Display"/>
              <a:cs typeface="Playfair Display"/>
              <a:sym typeface="Playfair Display"/>
            </a:endParaRPr>
          </a:p>
          <a:p>
            <a:pPr marL="457200" marR="0" lvl="0" indent="-304800" algn="l" rtl="0">
              <a:lnSpc>
                <a:spcPct val="100000"/>
              </a:lnSpc>
              <a:spcBef>
                <a:spcPts val="0"/>
              </a:spcBef>
              <a:spcAft>
                <a:spcPts val="0"/>
              </a:spcAft>
              <a:buClr>
                <a:srgbClr val="000000"/>
              </a:buClr>
              <a:buSzPts val="1200"/>
              <a:buFont typeface="Arial"/>
              <a:buChar char="●"/>
            </a:pPr>
            <a:r>
              <a:rPr lang="es-ES" sz="1200" b="0" i="0" u="none" strike="noStrike" cap="none">
                <a:solidFill>
                  <a:srgbClr val="000000"/>
                </a:solidFill>
                <a:latin typeface="Arial"/>
                <a:ea typeface="Arial"/>
                <a:cs typeface="Arial"/>
                <a:sym typeface="Arial"/>
              </a:rPr>
              <a:t>Priorización de nuevas funcionalidades a incluir (dashboard de la Administración, notificaciones, </a:t>
            </a:r>
            <a:r>
              <a:rPr lang="es-ES" sz="1200" b="0" i="1" u="none" strike="noStrike" cap="none">
                <a:solidFill>
                  <a:srgbClr val="000000"/>
                </a:solidFill>
                <a:latin typeface="Arial"/>
                <a:ea typeface="Arial"/>
                <a:cs typeface="Arial"/>
                <a:sym typeface="Arial"/>
              </a:rPr>
              <a:t>tracking </a:t>
            </a:r>
            <a:r>
              <a:rPr lang="es-ES" sz="1200" b="0" i="0" u="none" strike="noStrike" cap="none">
                <a:solidFill>
                  <a:srgbClr val="000000"/>
                </a:solidFill>
                <a:latin typeface="Arial"/>
                <a:ea typeface="Arial"/>
                <a:cs typeface="Arial"/>
                <a:sym typeface="Arial"/>
              </a:rPr>
              <a:t>GPS, evolución de modelos IA, autoevaluación, links de utilidad,...) en función de diagnóstico y recomendaciones facilitadas por el equipo de seguimiento del piloto</a:t>
            </a:r>
            <a:endParaRPr sz="1200" b="0" i="0" u="none" strike="noStrike" cap="none">
              <a:solidFill>
                <a:srgbClr val="000000"/>
              </a:solidFill>
              <a:latin typeface="Arial"/>
              <a:ea typeface="Arial"/>
              <a:cs typeface="Arial"/>
              <a:sym typeface="Arial"/>
            </a:endParaRPr>
          </a:p>
          <a:p>
            <a:pPr marL="457200" marR="0" lvl="0" indent="-304800" algn="l" rtl="0">
              <a:lnSpc>
                <a:spcPct val="100000"/>
              </a:lnSpc>
              <a:spcBef>
                <a:spcPts val="0"/>
              </a:spcBef>
              <a:spcAft>
                <a:spcPts val="0"/>
              </a:spcAft>
              <a:buClr>
                <a:srgbClr val="000000"/>
              </a:buClr>
              <a:buSzPts val="1200"/>
              <a:buFont typeface="Arial"/>
              <a:buChar char="●"/>
            </a:pPr>
            <a:r>
              <a:rPr lang="es-ES" sz="1200" b="0" i="0" u="none" strike="noStrike" cap="none">
                <a:solidFill>
                  <a:srgbClr val="000000"/>
                </a:solidFill>
                <a:latin typeface="Arial"/>
                <a:ea typeface="Arial"/>
                <a:cs typeface="Arial"/>
                <a:sym typeface="Arial"/>
              </a:rPr>
              <a:t>Análisis técnico continua y actualización del diseño técnicos en función de nuevas funcionalidades y estándares</a:t>
            </a:r>
            <a:endParaRPr sz="1200" b="0" i="0" u="none" strike="noStrike" cap="none">
              <a:solidFill>
                <a:srgbClr val="000000"/>
              </a:solidFill>
              <a:latin typeface="Arial"/>
              <a:ea typeface="Arial"/>
              <a:cs typeface="Arial"/>
              <a:sym typeface="Arial"/>
            </a:endParaRPr>
          </a:p>
          <a:p>
            <a:pPr marL="457200" marR="0" lvl="0" indent="-304800" algn="l" rtl="0">
              <a:lnSpc>
                <a:spcPct val="100000"/>
              </a:lnSpc>
              <a:spcBef>
                <a:spcPts val="0"/>
              </a:spcBef>
              <a:spcAft>
                <a:spcPts val="0"/>
              </a:spcAft>
              <a:buClr>
                <a:srgbClr val="000000"/>
              </a:buClr>
              <a:buSzPts val="1200"/>
              <a:buFont typeface="Arial"/>
              <a:buChar char="●"/>
            </a:pPr>
            <a:r>
              <a:rPr lang="es-ES" sz="1200" b="0" i="0" u="none" strike="noStrike" cap="none">
                <a:solidFill>
                  <a:srgbClr val="000000"/>
                </a:solidFill>
                <a:latin typeface="Arial"/>
                <a:ea typeface="Arial"/>
                <a:cs typeface="Arial"/>
                <a:sym typeface="Arial"/>
              </a:rPr>
              <a:t>Definición detallada de funcionalidades bajo principios de privacidad, enfoque </a:t>
            </a:r>
            <a:r>
              <a:rPr lang="es-ES" sz="1200" b="0" i="1" u="none" strike="noStrike" cap="none">
                <a:solidFill>
                  <a:srgbClr val="000000"/>
                </a:solidFill>
                <a:latin typeface="Arial"/>
                <a:ea typeface="Arial"/>
                <a:cs typeface="Arial"/>
                <a:sym typeface="Arial"/>
              </a:rPr>
              <a:t>user-centric </a:t>
            </a:r>
            <a:r>
              <a:rPr lang="es-ES" sz="1200" b="0" i="0" u="none" strike="noStrike" cap="none">
                <a:solidFill>
                  <a:srgbClr val="000000"/>
                </a:solidFill>
                <a:latin typeface="Arial"/>
                <a:ea typeface="Arial"/>
                <a:cs typeface="Arial"/>
                <a:sym typeface="Arial"/>
              </a:rPr>
              <a:t>y máxima adopción</a:t>
            </a:r>
            <a:endParaRPr sz="1200" b="0" i="0" u="none" strike="noStrike" cap="none">
              <a:solidFill>
                <a:srgbClr val="000000"/>
              </a:solidFill>
              <a:latin typeface="Arial"/>
              <a:ea typeface="Arial"/>
              <a:cs typeface="Arial"/>
              <a:sym typeface="Arial"/>
            </a:endParaRPr>
          </a:p>
        </p:txBody>
      </p:sp>
      <p:sp>
        <p:nvSpPr>
          <p:cNvPr id="1500" name="Google Shape;1500;g7826bb8c5e_0_3113"/>
          <p:cNvSpPr txBox="1"/>
          <p:nvPr/>
        </p:nvSpPr>
        <p:spPr>
          <a:xfrm>
            <a:off x="335998" y="649092"/>
            <a:ext cx="11232600" cy="7221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2400"/>
              <a:buFont typeface="Playfair Display"/>
              <a:buNone/>
            </a:pPr>
            <a:r>
              <a:rPr lang="es-ES" sz="2400" b="1" i="0" u="none" strike="noStrike" cap="none">
                <a:solidFill>
                  <a:schemeClr val="dk1"/>
                </a:solidFill>
                <a:latin typeface="Playfair Display"/>
                <a:ea typeface="Playfair Display"/>
                <a:cs typeface="Playfair Display"/>
                <a:sym typeface="Playfair Display"/>
              </a:rPr>
              <a:t>Piloto: Evolución</a:t>
            </a:r>
            <a:r>
              <a:rPr lang="es-ES" sz="2400" b="0" i="0" u="none" strike="noStrike" cap="none">
                <a:solidFill>
                  <a:schemeClr val="dk1"/>
                </a:solidFill>
                <a:latin typeface="Playfair Display"/>
                <a:ea typeface="Playfair Display"/>
                <a:cs typeface="Playfair Display"/>
                <a:sym typeface="Playfair Display"/>
              </a:rPr>
              <a:t>. La evolución de la app durante el piloto será iterativa y continua</a:t>
            </a:r>
            <a:endParaRPr sz="2400" b="0" i="0" u="none" strike="noStrike" cap="none">
              <a:solidFill>
                <a:schemeClr val="dk1"/>
              </a:solidFill>
              <a:latin typeface="Playfair Display"/>
              <a:ea typeface="Playfair Display"/>
              <a:cs typeface="Playfair Display"/>
              <a:sym typeface="Playfair Display"/>
            </a:endParaRPr>
          </a:p>
        </p:txBody>
      </p:sp>
      <p:sp>
        <p:nvSpPr>
          <p:cNvPr id="1501" name="Google Shape;1501;g7826bb8c5e_0_3113"/>
          <p:cNvSpPr txBox="1">
            <a:spLocks noGrp="1"/>
          </p:cNvSpPr>
          <p:nvPr>
            <p:ph type="body" idx="1"/>
          </p:nvPr>
        </p:nvSpPr>
        <p:spPr>
          <a:xfrm>
            <a:off x="336000" y="128400"/>
            <a:ext cx="11519400" cy="251400"/>
          </a:xfrm>
          <a:prstGeom prst="rect">
            <a:avLst/>
          </a:prstGeom>
          <a:noFill/>
          <a:ln>
            <a:noFill/>
          </a:ln>
        </p:spPr>
        <p:txBody>
          <a:bodyPr spcFirstLastPara="1" wrap="square" lIns="0" tIns="45700" rIns="91425" bIns="45700" anchor="t" anchorCtr="0">
            <a:noAutofit/>
          </a:bodyPr>
          <a:lstStyle/>
          <a:p>
            <a:pPr marL="0" lvl="0" indent="0" algn="l" rtl="0">
              <a:lnSpc>
                <a:spcPct val="90000"/>
              </a:lnSpc>
              <a:spcBef>
                <a:spcPts val="0"/>
              </a:spcBef>
              <a:spcAft>
                <a:spcPts val="0"/>
              </a:spcAft>
              <a:buClr>
                <a:srgbClr val="1A3B47"/>
              </a:buClr>
              <a:buSzPts val="1400"/>
              <a:buNone/>
            </a:pPr>
            <a:r>
              <a:rPr lang="es-ES" sz="1400">
                <a:latin typeface="Playfair Display"/>
                <a:ea typeface="Playfair Display"/>
                <a:cs typeface="Playfair Display"/>
                <a:sym typeface="Playfair Display"/>
              </a:rPr>
              <a:t>Covid-19 app - Alcance y enfoque del trabajo propuesto</a:t>
            </a:r>
            <a:endParaRPr/>
          </a:p>
        </p:txBody>
      </p:sp>
      <p:sp>
        <p:nvSpPr>
          <p:cNvPr id="1502" name="Google Shape;1502;g7826bb8c5e_0_3113"/>
          <p:cNvSpPr txBox="1"/>
          <p:nvPr/>
        </p:nvSpPr>
        <p:spPr>
          <a:xfrm>
            <a:off x="2579613" y="1605400"/>
            <a:ext cx="2017200" cy="339000"/>
          </a:xfrm>
          <a:prstGeom prst="rect">
            <a:avLst/>
          </a:prstGeom>
          <a:noFill/>
          <a:ln>
            <a:noFill/>
          </a:ln>
        </p:spPr>
        <p:txBody>
          <a:bodyPr spcFirstLastPara="1" wrap="square" lIns="91425" tIns="91425" rIns="91425" bIns="91425" anchor="t" anchorCtr="0">
            <a:noAutofit/>
          </a:bodyPr>
          <a:lstStyle/>
          <a:p>
            <a:pPr marL="0" marR="0" lvl="0" indent="0" algn="ctr" rtl="0">
              <a:lnSpc>
                <a:spcPct val="100000"/>
              </a:lnSpc>
              <a:spcBef>
                <a:spcPts val="0"/>
              </a:spcBef>
              <a:spcAft>
                <a:spcPts val="0"/>
              </a:spcAft>
              <a:buClr>
                <a:srgbClr val="000000"/>
              </a:buClr>
              <a:buSzPts val="1400"/>
              <a:buFont typeface="Arial"/>
              <a:buNone/>
            </a:pPr>
            <a:r>
              <a:rPr lang="es-ES" sz="1400" b="0" i="0" u="none" strike="noStrike" cap="none">
                <a:solidFill>
                  <a:srgbClr val="000000"/>
                </a:solidFill>
                <a:latin typeface="Playfair Display"/>
                <a:ea typeface="Playfair Display"/>
                <a:cs typeface="Playfair Display"/>
                <a:sym typeface="Playfair Display"/>
              </a:rPr>
              <a:t>Piloto</a:t>
            </a:r>
            <a:endParaRPr sz="1400" b="0" i="0" u="none" strike="noStrike" cap="none">
              <a:solidFill>
                <a:srgbClr val="000000"/>
              </a:solidFill>
              <a:latin typeface="Playfair Display"/>
              <a:ea typeface="Playfair Display"/>
              <a:cs typeface="Playfair Display"/>
              <a:sym typeface="Playfair Display"/>
            </a:endParaRPr>
          </a:p>
        </p:txBody>
      </p:sp>
      <p:sp>
        <p:nvSpPr>
          <p:cNvPr id="1503" name="Google Shape;1503;g7826bb8c5e_0_3113"/>
          <p:cNvSpPr/>
          <p:nvPr/>
        </p:nvSpPr>
        <p:spPr>
          <a:xfrm>
            <a:off x="465838" y="1872225"/>
            <a:ext cx="451800" cy="451800"/>
          </a:xfrm>
          <a:prstGeom prst="diamond">
            <a:avLst/>
          </a:prstGeom>
          <a:solidFill>
            <a:schemeClr val="accent1"/>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04" name="Google Shape;1504;g7826bb8c5e_0_3113"/>
          <p:cNvSpPr txBox="1"/>
          <p:nvPr/>
        </p:nvSpPr>
        <p:spPr>
          <a:xfrm>
            <a:off x="563675" y="1515300"/>
            <a:ext cx="1320000" cy="339000"/>
          </a:xfrm>
          <a:prstGeom prst="rect">
            <a:avLst/>
          </a:prstGeom>
          <a:noFill/>
          <a:ln>
            <a:noFill/>
          </a:ln>
        </p:spPr>
        <p:txBody>
          <a:bodyPr spcFirstLastPara="1" wrap="square" lIns="91425" tIns="91425" rIns="91425" bIns="91425" anchor="t" anchorCtr="0">
            <a:noAutofit/>
          </a:bodyPr>
          <a:lstStyle/>
          <a:p>
            <a:pPr marL="0" marR="0" lvl="0" indent="0" algn="ctr" rtl="0">
              <a:lnSpc>
                <a:spcPct val="100000"/>
              </a:lnSpc>
              <a:spcBef>
                <a:spcPts val="0"/>
              </a:spcBef>
              <a:spcAft>
                <a:spcPts val="0"/>
              </a:spcAft>
              <a:buClr>
                <a:srgbClr val="000000"/>
              </a:buClr>
              <a:buSzPts val="1200"/>
              <a:buFont typeface="Arial"/>
              <a:buNone/>
            </a:pPr>
            <a:r>
              <a:rPr lang="es-ES" sz="1200" b="0" i="0" u="none" strike="noStrike" cap="none">
                <a:solidFill>
                  <a:srgbClr val="000000"/>
                </a:solidFill>
                <a:latin typeface="Arial"/>
                <a:ea typeface="Arial"/>
                <a:cs typeface="Arial"/>
                <a:sym typeface="Arial"/>
              </a:rPr>
              <a:t>Lanzamiento piloto app</a:t>
            </a:r>
            <a:endParaRPr sz="1200" b="0" i="0" u="none" strike="noStrike" cap="none">
              <a:solidFill>
                <a:srgbClr val="000000"/>
              </a:solidFill>
              <a:latin typeface="Arial"/>
              <a:ea typeface="Arial"/>
              <a:cs typeface="Arial"/>
              <a:sym typeface="Arial"/>
            </a:endParaRPr>
          </a:p>
        </p:txBody>
      </p:sp>
      <p:pic>
        <p:nvPicPr>
          <p:cNvPr id="1505" name="Google Shape;1505;g7826bb8c5e_0_3113" descr="https://static.thenounproject.com/png/137540-200.png"/>
          <p:cNvPicPr preferRelativeResize="0"/>
          <p:nvPr/>
        </p:nvPicPr>
        <p:blipFill rotWithShape="1">
          <a:blip r:embed="rId3">
            <a:alphaModFix/>
          </a:blip>
          <a:srcRect/>
          <a:stretch/>
        </p:blipFill>
        <p:spPr>
          <a:xfrm>
            <a:off x="9189970" y="1640508"/>
            <a:ext cx="1105850" cy="1045929"/>
          </a:xfrm>
          <a:prstGeom prst="rect">
            <a:avLst/>
          </a:prstGeom>
          <a:noFill/>
          <a:ln>
            <a:noFill/>
          </a:ln>
        </p:spPr>
      </p:pic>
      <p:sp>
        <p:nvSpPr>
          <p:cNvPr id="1506" name="Google Shape;1506;g7826bb8c5e_0_3113"/>
          <p:cNvSpPr/>
          <p:nvPr/>
        </p:nvSpPr>
        <p:spPr>
          <a:xfrm>
            <a:off x="839400" y="3779433"/>
            <a:ext cx="8376300" cy="813300"/>
          </a:xfrm>
          <a:prstGeom prst="rect">
            <a:avLst/>
          </a:prstGeom>
          <a:noFill/>
          <a:ln w="38100" cap="flat" cmpd="sng">
            <a:solidFill>
              <a:schemeClr val="dk2"/>
            </a:solidFill>
            <a:prstDash val="solid"/>
            <a:round/>
            <a:headEnd type="none" w="sm" len="sm"/>
            <a:tailEnd type="none" w="sm" len="sm"/>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s-ES" sz="1600" b="0" i="0" u="none" strike="noStrike" cap="none">
                <a:solidFill>
                  <a:srgbClr val="000000"/>
                </a:solidFill>
                <a:latin typeface="Playfair Display"/>
                <a:ea typeface="Playfair Display"/>
                <a:cs typeface="Playfair Display"/>
                <a:sym typeface="Playfair Display"/>
              </a:rPr>
              <a:t>Actualización de diseño UX</a:t>
            </a:r>
            <a:endParaRPr sz="1600" b="0" i="0" u="none" strike="noStrike" cap="none">
              <a:solidFill>
                <a:srgbClr val="000000"/>
              </a:solidFill>
              <a:latin typeface="Playfair Display"/>
              <a:ea typeface="Playfair Display"/>
              <a:cs typeface="Playfair Display"/>
              <a:sym typeface="Playfair Display"/>
            </a:endParaRPr>
          </a:p>
          <a:p>
            <a:pPr marL="457200" marR="0" lvl="0" indent="-304800" algn="l" rtl="0">
              <a:lnSpc>
                <a:spcPct val="100000"/>
              </a:lnSpc>
              <a:spcBef>
                <a:spcPts val="0"/>
              </a:spcBef>
              <a:spcAft>
                <a:spcPts val="0"/>
              </a:spcAft>
              <a:buClr>
                <a:srgbClr val="000000"/>
              </a:buClr>
              <a:buSzPts val="1200"/>
              <a:buFont typeface="Arial"/>
              <a:buChar char="●"/>
            </a:pPr>
            <a:r>
              <a:rPr lang="es-ES" sz="1200" b="0" i="0" u="none" strike="noStrike" cap="none">
                <a:solidFill>
                  <a:srgbClr val="000000"/>
                </a:solidFill>
                <a:latin typeface="Arial"/>
                <a:ea typeface="Arial"/>
                <a:cs typeface="Arial"/>
                <a:sym typeface="Arial"/>
              </a:rPr>
              <a:t>Actualización del diseño UX incluyendo las nuevas funcionalidades bajo el principio de máxima usabilidad, inclusión de los usuarios y minimización de barreras de adopción</a:t>
            </a:r>
            <a:endParaRPr sz="1200" b="0" i="0" u="none" strike="noStrike" cap="none">
              <a:solidFill>
                <a:srgbClr val="000000"/>
              </a:solidFill>
              <a:latin typeface="Arial"/>
              <a:ea typeface="Arial"/>
              <a:cs typeface="Arial"/>
              <a:sym typeface="Arial"/>
            </a:endParaRPr>
          </a:p>
        </p:txBody>
      </p:sp>
      <p:grpSp>
        <p:nvGrpSpPr>
          <p:cNvPr id="1507" name="Google Shape;1507;g7826bb8c5e_0_3113"/>
          <p:cNvGrpSpPr/>
          <p:nvPr/>
        </p:nvGrpSpPr>
        <p:grpSpPr>
          <a:xfrm>
            <a:off x="868718" y="2087860"/>
            <a:ext cx="8266200" cy="29100"/>
            <a:chOff x="1173518" y="2316460"/>
            <a:chExt cx="8266200" cy="29100"/>
          </a:xfrm>
        </p:grpSpPr>
        <p:cxnSp>
          <p:nvCxnSpPr>
            <p:cNvPr id="1508" name="Google Shape;1508;g7826bb8c5e_0_3113"/>
            <p:cNvCxnSpPr/>
            <p:nvPr/>
          </p:nvCxnSpPr>
          <p:spPr>
            <a:xfrm>
              <a:off x="1173518" y="2316460"/>
              <a:ext cx="8266200" cy="29100"/>
            </a:xfrm>
            <a:prstGeom prst="straightConnector1">
              <a:avLst/>
            </a:prstGeom>
            <a:noFill/>
            <a:ln w="76200" cap="flat" cmpd="sng">
              <a:solidFill>
                <a:schemeClr val="accent2"/>
              </a:solidFill>
              <a:prstDash val="solid"/>
              <a:round/>
              <a:headEnd type="none" w="sm" len="sm"/>
              <a:tailEnd type="triangle" w="sm" len="sm"/>
            </a:ln>
          </p:spPr>
        </p:cxnSp>
        <p:cxnSp>
          <p:nvCxnSpPr>
            <p:cNvPr id="1509" name="Google Shape;1509;g7826bb8c5e_0_3113"/>
            <p:cNvCxnSpPr/>
            <p:nvPr/>
          </p:nvCxnSpPr>
          <p:spPr>
            <a:xfrm>
              <a:off x="7245275" y="2323060"/>
              <a:ext cx="1694400" cy="15900"/>
            </a:xfrm>
            <a:prstGeom prst="straightConnector1">
              <a:avLst/>
            </a:prstGeom>
            <a:noFill/>
            <a:ln w="76200" cap="flat" cmpd="sng">
              <a:solidFill>
                <a:srgbClr val="FFFFFF"/>
              </a:solidFill>
              <a:prstDash val="dot"/>
              <a:round/>
              <a:headEnd type="none" w="sm" len="sm"/>
              <a:tailEnd type="none" w="sm" len="sm"/>
            </a:ln>
          </p:spPr>
        </p:cxnSp>
        <p:cxnSp>
          <p:nvCxnSpPr>
            <p:cNvPr id="1510" name="Google Shape;1510;g7826bb8c5e_0_3113"/>
            <p:cNvCxnSpPr/>
            <p:nvPr/>
          </p:nvCxnSpPr>
          <p:spPr>
            <a:xfrm>
              <a:off x="7390500" y="2323060"/>
              <a:ext cx="1694400" cy="15900"/>
            </a:xfrm>
            <a:prstGeom prst="straightConnector1">
              <a:avLst/>
            </a:prstGeom>
            <a:noFill/>
            <a:ln w="76200" cap="flat" cmpd="sng">
              <a:solidFill>
                <a:srgbClr val="FFFFFF"/>
              </a:solidFill>
              <a:prstDash val="dot"/>
              <a:round/>
              <a:headEnd type="none" w="sm" len="sm"/>
              <a:tailEnd type="none" w="sm" len="sm"/>
            </a:ln>
          </p:spPr>
        </p:cxnSp>
      </p:grpSp>
      <p:sp>
        <p:nvSpPr>
          <p:cNvPr id="1511" name="Google Shape;1511;g7826bb8c5e_0_3113"/>
          <p:cNvSpPr/>
          <p:nvPr/>
        </p:nvSpPr>
        <p:spPr>
          <a:xfrm>
            <a:off x="813675" y="4756742"/>
            <a:ext cx="8376300" cy="813300"/>
          </a:xfrm>
          <a:prstGeom prst="rect">
            <a:avLst/>
          </a:prstGeom>
          <a:noFill/>
          <a:ln w="38100" cap="flat" cmpd="sng">
            <a:solidFill>
              <a:schemeClr val="dk2"/>
            </a:solidFill>
            <a:prstDash val="solid"/>
            <a:round/>
            <a:headEnd type="none" w="sm" len="sm"/>
            <a:tailEnd type="none" w="sm" len="sm"/>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s-ES" sz="1600" b="0" i="0" u="none" strike="noStrike" cap="none">
                <a:solidFill>
                  <a:srgbClr val="000000"/>
                </a:solidFill>
                <a:latin typeface="Playfair Display"/>
                <a:ea typeface="Playfair Display"/>
                <a:cs typeface="Playfair Display"/>
                <a:sym typeface="Playfair Display"/>
              </a:rPr>
              <a:t>Desarrollo de nuevas funcionalidades</a:t>
            </a:r>
            <a:endParaRPr sz="1600" b="0" i="0" u="none" strike="noStrike" cap="none">
              <a:solidFill>
                <a:srgbClr val="000000"/>
              </a:solidFill>
              <a:latin typeface="Playfair Display"/>
              <a:ea typeface="Playfair Display"/>
              <a:cs typeface="Playfair Display"/>
              <a:sym typeface="Playfair Display"/>
            </a:endParaRPr>
          </a:p>
          <a:p>
            <a:pPr marL="457200" marR="0" lvl="0" indent="-304800" algn="l" rtl="0">
              <a:lnSpc>
                <a:spcPct val="100000"/>
              </a:lnSpc>
              <a:spcBef>
                <a:spcPts val="0"/>
              </a:spcBef>
              <a:spcAft>
                <a:spcPts val="0"/>
              </a:spcAft>
              <a:buClr>
                <a:srgbClr val="000000"/>
              </a:buClr>
              <a:buSzPts val="1200"/>
              <a:buFont typeface="Arial"/>
              <a:buChar char="●"/>
            </a:pPr>
            <a:r>
              <a:rPr lang="es-ES" sz="1200" b="0" i="0" u="none" strike="noStrike" cap="none">
                <a:solidFill>
                  <a:srgbClr val="000000"/>
                </a:solidFill>
                <a:latin typeface="Arial"/>
                <a:ea typeface="Arial"/>
                <a:cs typeface="Arial"/>
                <a:sym typeface="Arial"/>
              </a:rPr>
              <a:t>Construcción de nuevas funcionalidades, o adición de activos existentes ya desarrollados por Minsait</a:t>
            </a:r>
            <a:endParaRPr sz="1200" b="0" i="0" u="none" strike="noStrike" cap="none">
              <a:solidFill>
                <a:srgbClr val="000000"/>
              </a:solidFill>
              <a:latin typeface="Arial"/>
              <a:ea typeface="Arial"/>
              <a:cs typeface="Arial"/>
              <a:sym typeface="Arial"/>
            </a:endParaRPr>
          </a:p>
          <a:p>
            <a:pPr marL="457200" marR="0" lvl="0" indent="-304800" algn="l" rtl="0">
              <a:lnSpc>
                <a:spcPct val="100000"/>
              </a:lnSpc>
              <a:spcBef>
                <a:spcPts val="0"/>
              </a:spcBef>
              <a:spcAft>
                <a:spcPts val="0"/>
              </a:spcAft>
              <a:buClr>
                <a:srgbClr val="000000"/>
              </a:buClr>
              <a:buSzPts val="1200"/>
              <a:buFont typeface="Arial"/>
              <a:buChar char="●"/>
            </a:pPr>
            <a:r>
              <a:rPr lang="es-ES" sz="1200" b="0" i="0" u="none" strike="noStrike" cap="none">
                <a:solidFill>
                  <a:srgbClr val="000000"/>
                </a:solidFill>
                <a:latin typeface="Arial"/>
                <a:ea typeface="Arial"/>
                <a:cs typeface="Arial"/>
                <a:sym typeface="Arial"/>
              </a:rPr>
              <a:t>Validación de los nuevos desarrollos en </a:t>
            </a:r>
            <a:r>
              <a:rPr lang="es-ES" sz="1200" b="0" i="1" u="none" strike="noStrike" cap="none">
                <a:solidFill>
                  <a:srgbClr val="000000"/>
                </a:solidFill>
                <a:latin typeface="Arial"/>
                <a:ea typeface="Arial"/>
                <a:cs typeface="Arial"/>
                <a:sym typeface="Arial"/>
              </a:rPr>
              <a:t>demos </a:t>
            </a:r>
            <a:r>
              <a:rPr lang="es-ES" sz="1200" b="0" i="0" u="none" strike="noStrike" cap="none">
                <a:solidFill>
                  <a:srgbClr val="000000"/>
                </a:solidFill>
                <a:latin typeface="Arial"/>
                <a:ea typeface="Arial"/>
                <a:cs typeface="Arial"/>
                <a:sym typeface="Arial"/>
              </a:rPr>
              <a:t>a la Administración</a:t>
            </a:r>
            <a:endParaRPr sz="1200" b="0" i="0" u="none" strike="noStrike" cap="none">
              <a:solidFill>
                <a:srgbClr val="000000"/>
              </a:solidFill>
              <a:latin typeface="Arial"/>
              <a:ea typeface="Arial"/>
              <a:cs typeface="Arial"/>
              <a:sym typeface="Arial"/>
            </a:endParaRPr>
          </a:p>
        </p:txBody>
      </p:sp>
      <p:sp>
        <p:nvSpPr>
          <p:cNvPr id="1512" name="Google Shape;1512;g7826bb8c5e_0_3113"/>
          <p:cNvSpPr/>
          <p:nvPr/>
        </p:nvSpPr>
        <p:spPr>
          <a:xfrm>
            <a:off x="839400" y="5734050"/>
            <a:ext cx="8376300" cy="584700"/>
          </a:xfrm>
          <a:prstGeom prst="rect">
            <a:avLst/>
          </a:prstGeom>
          <a:noFill/>
          <a:ln w="38100" cap="flat" cmpd="sng">
            <a:solidFill>
              <a:schemeClr val="dk2"/>
            </a:solidFill>
            <a:prstDash val="solid"/>
            <a:round/>
            <a:headEnd type="none" w="sm" len="sm"/>
            <a:tailEnd type="none" w="sm" len="sm"/>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s-ES" sz="1600" b="0" i="0" u="none" strike="noStrike" cap="none">
                <a:solidFill>
                  <a:srgbClr val="000000"/>
                </a:solidFill>
                <a:latin typeface="Playfair Display"/>
                <a:ea typeface="Playfair Display"/>
                <a:cs typeface="Playfair Display"/>
                <a:sym typeface="Playfair Display"/>
              </a:rPr>
              <a:t>Testeo de nuevas funcionalidades</a:t>
            </a:r>
            <a:endParaRPr sz="1600" b="0" i="0" u="none" strike="noStrike" cap="none">
              <a:solidFill>
                <a:srgbClr val="000000"/>
              </a:solidFill>
              <a:latin typeface="Playfair Display"/>
              <a:ea typeface="Playfair Display"/>
              <a:cs typeface="Playfair Display"/>
              <a:sym typeface="Playfair Display"/>
            </a:endParaRPr>
          </a:p>
          <a:p>
            <a:pPr marL="457200" marR="0" lvl="0" indent="-304800" algn="l" rtl="0">
              <a:lnSpc>
                <a:spcPct val="100000"/>
              </a:lnSpc>
              <a:spcBef>
                <a:spcPts val="0"/>
              </a:spcBef>
              <a:spcAft>
                <a:spcPts val="0"/>
              </a:spcAft>
              <a:buClr>
                <a:srgbClr val="000000"/>
              </a:buClr>
              <a:buSzPts val="1200"/>
              <a:buFont typeface="Arial"/>
              <a:buChar char="●"/>
            </a:pPr>
            <a:r>
              <a:rPr lang="es-ES" sz="1200" b="0" i="0" u="none" strike="noStrike" cap="none">
                <a:solidFill>
                  <a:srgbClr val="000000"/>
                </a:solidFill>
                <a:latin typeface="Arial"/>
                <a:ea typeface="Arial"/>
                <a:cs typeface="Arial"/>
                <a:sym typeface="Arial"/>
              </a:rPr>
              <a:t>Pruebas de nuevas funcionalidades a incluir con carácter previo a la actualización de la app en Producción</a:t>
            </a:r>
            <a:endParaRPr sz="1200" b="0" i="0" u="none" strike="noStrike" cap="none">
              <a:solidFill>
                <a:srgbClr val="000000"/>
              </a:solidFill>
              <a:latin typeface="Arial"/>
              <a:ea typeface="Arial"/>
              <a:cs typeface="Arial"/>
              <a:sym typeface="Arial"/>
            </a:endParaRPr>
          </a:p>
        </p:txBody>
      </p:sp>
      <p:sp>
        <p:nvSpPr>
          <p:cNvPr id="1513" name="Google Shape;1513;g7826bb8c5e_0_3113"/>
          <p:cNvSpPr txBox="1"/>
          <p:nvPr/>
        </p:nvSpPr>
        <p:spPr>
          <a:xfrm>
            <a:off x="10327198" y="1928625"/>
            <a:ext cx="1680600" cy="3390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900"/>
              <a:buFont typeface="Arial"/>
              <a:buNone/>
            </a:pPr>
            <a:r>
              <a:rPr lang="es-ES" sz="1900" b="0" i="0" u="none" strike="noStrike" cap="none">
                <a:solidFill>
                  <a:srgbClr val="000000"/>
                </a:solidFill>
                <a:latin typeface="Playfair Display"/>
                <a:ea typeface="Playfair Display"/>
                <a:cs typeface="Playfair Display"/>
                <a:sym typeface="Playfair Display"/>
              </a:rPr>
              <a:t>Iteración continua</a:t>
            </a:r>
            <a:endParaRPr sz="1900" b="0" i="0" u="none" strike="noStrike" cap="none">
              <a:solidFill>
                <a:srgbClr val="000000"/>
              </a:solidFill>
              <a:latin typeface="Playfair Display"/>
              <a:ea typeface="Playfair Display"/>
              <a:cs typeface="Playfair Display"/>
              <a:sym typeface="Playfair Display"/>
            </a:endParaRPr>
          </a:p>
        </p:txBody>
      </p:sp>
      <p:cxnSp>
        <p:nvCxnSpPr>
          <p:cNvPr id="1514" name="Google Shape;1514;g7826bb8c5e_0_3113"/>
          <p:cNvCxnSpPr>
            <a:stCxn id="1512" idx="3"/>
            <a:endCxn id="1515" idx="2"/>
          </p:cNvCxnSpPr>
          <p:nvPr/>
        </p:nvCxnSpPr>
        <p:spPr>
          <a:xfrm rot="10800000" flipH="1">
            <a:off x="9215700" y="4756800"/>
            <a:ext cx="1512600" cy="1269600"/>
          </a:xfrm>
          <a:prstGeom prst="bentConnector2">
            <a:avLst/>
          </a:prstGeom>
          <a:noFill/>
          <a:ln w="38100" cap="flat" cmpd="sng">
            <a:solidFill>
              <a:srgbClr val="FFFAE5"/>
            </a:solidFill>
            <a:prstDash val="solid"/>
            <a:round/>
            <a:headEnd type="none" w="sm" len="sm"/>
            <a:tailEnd type="none" w="sm" len="sm"/>
          </a:ln>
        </p:spPr>
      </p:cxnSp>
      <p:cxnSp>
        <p:nvCxnSpPr>
          <p:cNvPr id="1516" name="Google Shape;1516;g7826bb8c5e_0_3113"/>
          <p:cNvCxnSpPr>
            <a:stCxn id="1499" idx="3"/>
            <a:endCxn id="1515" idx="0"/>
          </p:cNvCxnSpPr>
          <p:nvPr/>
        </p:nvCxnSpPr>
        <p:spPr>
          <a:xfrm>
            <a:off x="9215700" y="2959325"/>
            <a:ext cx="1512600" cy="1259100"/>
          </a:xfrm>
          <a:prstGeom prst="bentConnector2">
            <a:avLst/>
          </a:prstGeom>
          <a:noFill/>
          <a:ln w="38100" cap="flat" cmpd="sng">
            <a:solidFill>
              <a:srgbClr val="FFFAE5"/>
            </a:solidFill>
            <a:prstDash val="solid"/>
            <a:round/>
            <a:headEnd type="none" w="sm" len="sm"/>
            <a:tailEnd type="none" w="sm" len="sm"/>
          </a:ln>
        </p:spPr>
      </p:cxnSp>
      <p:sp>
        <p:nvSpPr>
          <p:cNvPr id="1515" name="Google Shape;1515;g7826bb8c5e_0_3113"/>
          <p:cNvSpPr txBox="1"/>
          <p:nvPr/>
        </p:nvSpPr>
        <p:spPr>
          <a:xfrm>
            <a:off x="9888000" y="4218538"/>
            <a:ext cx="1680600" cy="5382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400"/>
              <a:buFont typeface="Arial"/>
              <a:buNone/>
            </a:pPr>
            <a:r>
              <a:rPr lang="es-ES" sz="1400" b="0" i="0" u="none" strike="noStrike" cap="none">
                <a:solidFill>
                  <a:srgbClr val="000000"/>
                </a:solidFill>
                <a:latin typeface="Arial"/>
                <a:ea typeface="Arial"/>
                <a:cs typeface="Arial"/>
                <a:sym typeface="Arial"/>
              </a:rPr>
              <a:t>Evolución continua de funcionalidades</a:t>
            </a:r>
            <a:endParaRPr sz="1400" b="0" i="0" u="none" strike="noStrike" cap="none">
              <a:solidFill>
                <a:srgbClr val="000000"/>
              </a:solidFill>
              <a:latin typeface="Arial"/>
              <a:ea typeface="Arial"/>
              <a:cs typeface="Arial"/>
              <a:sym typeface="Arial"/>
            </a:endParaRPr>
          </a:p>
        </p:txBody>
      </p:sp>
      <p:grpSp>
        <p:nvGrpSpPr>
          <p:cNvPr id="1517" name="Google Shape;1517;g7826bb8c5e_0_3113"/>
          <p:cNvGrpSpPr/>
          <p:nvPr/>
        </p:nvGrpSpPr>
        <p:grpSpPr>
          <a:xfrm>
            <a:off x="10992330" y="88959"/>
            <a:ext cx="1104735" cy="536493"/>
            <a:chOff x="508100" y="1640544"/>
            <a:chExt cx="11238400" cy="4620956"/>
          </a:xfrm>
        </p:grpSpPr>
        <p:grpSp>
          <p:nvGrpSpPr>
            <p:cNvPr id="1518" name="Google Shape;1518;g7826bb8c5e_0_3113"/>
            <p:cNvGrpSpPr/>
            <p:nvPr/>
          </p:nvGrpSpPr>
          <p:grpSpPr>
            <a:xfrm>
              <a:off x="508106" y="1640544"/>
              <a:ext cx="11232175" cy="21551"/>
              <a:chOff x="431923" y="1640499"/>
              <a:chExt cx="9605075" cy="31800"/>
            </a:xfrm>
          </p:grpSpPr>
          <p:cxnSp>
            <p:nvCxnSpPr>
              <p:cNvPr id="1519" name="Google Shape;1519;g7826bb8c5e_0_3113"/>
              <p:cNvCxnSpPr/>
              <p:nvPr/>
            </p:nvCxnSpPr>
            <p:spPr>
              <a:xfrm>
                <a:off x="431923" y="1640499"/>
                <a:ext cx="4651200" cy="15900"/>
              </a:xfrm>
              <a:prstGeom prst="straightConnector1">
                <a:avLst/>
              </a:prstGeom>
              <a:noFill/>
              <a:ln w="76200" cap="flat" cmpd="sng">
                <a:solidFill>
                  <a:srgbClr val="CCCCCC"/>
                </a:solidFill>
                <a:prstDash val="solid"/>
                <a:round/>
                <a:headEnd type="none" w="sm" len="sm"/>
                <a:tailEnd type="none" w="sm" len="sm"/>
              </a:ln>
            </p:spPr>
          </p:cxnSp>
          <p:cxnSp>
            <p:nvCxnSpPr>
              <p:cNvPr id="1520" name="Google Shape;1520;g7826bb8c5e_0_3113"/>
              <p:cNvCxnSpPr/>
              <p:nvPr/>
            </p:nvCxnSpPr>
            <p:spPr>
              <a:xfrm>
                <a:off x="5385798" y="1656399"/>
                <a:ext cx="4651200" cy="15900"/>
              </a:xfrm>
              <a:prstGeom prst="straightConnector1">
                <a:avLst/>
              </a:prstGeom>
              <a:noFill/>
              <a:ln w="76200" cap="flat" cmpd="sng">
                <a:solidFill>
                  <a:schemeClr val="accent2"/>
                </a:solidFill>
                <a:prstDash val="solid"/>
                <a:round/>
                <a:headEnd type="none" w="sm" len="sm"/>
                <a:tailEnd type="none" w="sm" len="sm"/>
              </a:ln>
            </p:spPr>
          </p:cxnSp>
        </p:grpSp>
        <p:sp>
          <p:nvSpPr>
            <p:cNvPr id="1521" name="Google Shape;1521;g7826bb8c5e_0_3113"/>
            <p:cNvSpPr/>
            <p:nvPr/>
          </p:nvSpPr>
          <p:spPr>
            <a:xfrm>
              <a:off x="508100" y="2035875"/>
              <a:ext cx="1390500" cy="4225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522" name="Google Shape;1522;g7826bb8c5e_0_3113"/>
            <p:cNvSpPr/>
            <p:nvPr/>
          </p:nvSpPr>
          <p:spPr>
            <a:xfrm>
              <a:off x="2132113" y="5255000"/>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523" name="Google Shape;1523;g7826bb8c5e_0_3113"/>
            <p:cNvSpPr/>
            <p:nvPr/>
          </p:nvSpPr>
          <p:spPr>
            <a:xfrm>
              <a:off x="2132113" y="3108917"/>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524" name="Google Shape;1524;g7826bb8c5e_0_3113"/>
            <p:cNvSpPr/>
            <p:nvPr/>
          </p:nvSpPr>
          <p:spPr>
            <a:xfrm>
              <a:off x="2132113" y="4181958"/>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525" name="Google Shape;1525;g7826bb8c5e_0_3113"/>
            <p:cNvSpPr/>
            <p:nvPr/>
          </p:nvSpPr>
          <p:spPr>
            <a:xfrm>
              <a:off x="6343925" y="2035875"/>
              <a:ext cx="5396400" cy="13503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526" name="Google Shape;1526;g7826bb8c5e_0_3113"/>
            <p:cNvSpPr/>
            <p:nvPr/>
          </p:nvSpPr>
          <p:spPr>
            <a:xfrm>
              <a:off x="6350100" y="3481700"/>
              <a:ext cx="5396400" cy="1352100"/>
            </a:xfrm>
            <a:prstGeom prst="rect">
              <a:avLst/>
            </a:prstGeom>
            <a:solidFill>
              <a:srgbClr val="FDEDE0"/>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527" name="Google Shape;1527;g7826bb8c5e_0_3113"/>
            <p:cNvSpPr/>
            <p:nvPr/>
          </p:nvSpPr>
          <p:spPr>
            <a:xfrm>
              <a:off x="6343925" y="4945700"/>
              <a:ext cx="5396400" cy="13158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528" name="Google Shape;1528;g7826bb8c5e_0_3113"/>
            <p:cNvSpPr/>
            <p:nvPr/>
          </p:nvSpPr>
          <p:spPr>
            <a:xfrm>
              <a:off x="2132113" y="2035875"/>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gr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1532"/>
        <p:cNvGrpSpPr/>
        <p:nvPr/>
      </p:nvGrpSpPr>
      <p:grpSpPr>
        <a:xfrm>
          <a:off x="0" y="0"/>
          <a:ext cx="0" cy="0"/>
          <a:chOff x="0" y="0"/>
          <a:chExt cx="0" cy="0"/>
        </a:xfrm>
      </p:grpSpPr>
      <p:sp>
        <p:nvSpPr>
          <p:cNvPr id="1533" name="Google Shape;1533;g7826bb8c5e_0_3072"/>
          <p:cNvSpPr/>
          <p:nvPr/>
        </p:nvSpPr>
        <p:spPr>
          <a:xfrm>
            <a:off x="7521708" y="1483874"/>
            <a:ext cx="4305300" cy="3889200"/>
          </a:xfrm>
          <a:prstGeom prst="parallelogram">
            <a:avLst>
              <a:gd name="adj" fmla="val 19558"/>
            </a:avLst>
          </a:prstGeom>
          <a:solidFill>
            <a:srgbClr val="FDEDE0"/>
          </a:solidFill>
          <a:ln>
            <a:noFill/>
          </a:ln>
        </p:spPr>
        <p:txBody>
          <a:bodyPr spcFirstLastPara="1" wrap="square" lIns="91425" tIns="45700" rIns="91425" bIns="45700" anchor="ctr" anchorCtr="0">
            <a:noAutofit/>
          </a:bodyPr>
          <a:lstStyle/>
          <a:p>
            <a:pPr marL="355600" marR="0" lvl="0" indent="0" algn="ctr" rtl="0">
              <a:lnSpc>
                <a:spcPct val="100000"/>
              </a:lnSpc>
              <a:spcBef>
                <a:spcPts val="0"/>
              </a:spcBef>
              <a:spcAft>
                <a:spcPts val="0"/>
              </a:spcAft>
              <a:buClr>
                <a:srgbClr val="000000"/>
              </a:buClr>
              <a:buSzPts val="1799"/>
              <a:buFont typeface="Arial"/>
              <a:buNone/>
            </a:pPr>
            <a:r>
              <a:rPr lang="es-ES" sz="1799" b="0" i="0" u="none" strike="noStrike" cap="none">
                <a:solidFill>
                  <a:srgbClr val="1A3B47"/>
                </a:solidFill>
                <a:latin typeface="Playfair Display"/>
                <a:ea typeface="Playfair Display"/>
                <a:cs typeface="Playfair Display"/>
                <a:sym typeface="Playfair Display"/>
              </a:rPr>
              <a:t>¿Qué entregables se generan?</a:t>
            </a:r>
            <a:endParaRPr sz="1400" b="0" i="0" u="none" strike="noStrike" cap="none">
              <a:solidFill>
                <a:srgbClr val="000000"/>
              </a:solidFill>
              <a:latin typeface="Arial"/>
              <a:ea typeface="Arial"/>
              <a:cs typeface="Arial"/>
              <a:sym typeface="Arial"/>
            </a:endParaRPr>
          </a:p>
          <a:p>
            <a:pPr marL="355600" marR="0" lvl="0" indent="-185737" algn="l" rtl="0">
              <a:lnSpc>
                <a:spcPct val="100000"/>
              </a:lnSpc>
              <a:spcBef>
                <a:spcPts val="600"/>
              </a:spcBef>
              <a:spcAft>
                <a:spcPts val="0"/>
              </a:spcAft>
              <a:buClr>
                <a:srgbClr val="1A3B47"/>
              </a:buClr>
              <a:buSzPts val="1050"/>
              <a:buFont typeface="Helvetica Neue"/>
              <a:buChar char="•"/>
            </a:pPr>
            <a:r>
              <a:rPr lang="es-ES" sz="1050" b="1" i="0" u="none" strike="noStrike" cap="none">
                <a:solidFill>
                  <a:srgbClr val="1A3B47"/>
                </a:solidFill>
                <a:latin typeface="Helvetica Neue"/>
                <a:ea typeface="Helvetica Neue"/>
                <a:cs typeface="Helvetica Neue"/>
                <a:sym typeface="Helvetica Neue"/>
              </a:rPr>
              <a:t>Algoritmos.</a:t>
            </a:r>
            <a:r>
              <a:rPr lang="es-ES" sz="1050" b="0" i="0" u="none" strike="noStrike" cap="none">
                <a:solidFill>
                  <a:srgbClr val="1A3B47"/>
                </a:solidFill>
                <a:latin typeface="Helvetica Neue"/>
                <a:ea typeface="Helvetica Neue"/>
                <a:cs typeface="Helvetica Neue"/>
                <a:sym typeface="Helvetica Neue"/>
              </a:rPr>
              <a:t> Modelos analíticos para detectar patrones de contagio en función de inputs (datos de relevancia) propuestos por las autoridades sanitarias</a:t>
            </a:r>
            <a:endParaRPr sz="1050" b="0" i="0" u="none" strike="noStrike" cap="none">
              <a:solidFill>
                <a:srgbClr val="1A3B47"/>
              </a:solidFill>
              <a:latin typeface="Helvetica Neue"/>
              <a:ea typeface="Helvetica Neue"/>
              <a:cs typeface="Helvetica Neue"/>
              <a:sym typeface="Helvetica Neue"/>
            </a:endParaRPr>
          </a:p>
          <a:p>
            <a:pPr marL="355600" marR="0" lvl="0" indent="-185737" algn="l" rtl="0">
              <a:lnSpc>
                <a:spcPct val="100000"/>
              </a:lnSpc>
              <a:spcBef>
                <a:spcPts val="600"/>
              </a:spcBef>
              <a:spcAft>
                <a:spcPts val="0"/>
              </a:spcAft>
              <a:buClr>
                <a:srgbClr val="1A3B47"/>
              </a:buClr>
              <a:buSzPts val="1050"/>
              <a:buFont typeface="Helvetica Neue"/>
              <a:buChar char="•"/>
            </a:pPr>
            <a:r>
              <a:rPr lang="es-ES" sz="1050" b="1" i="0" u="none" strike="noStrike" cap="none">
                <a:solidFill>
                  <a:schemeClr val="dk1"/>
                </a:solidFill>
                <a:latin typeface="Helvetica Neue"/>
                <a:ea typeface="Helvetica Neue"/>
                <a:cs typeface="Helvetica Neue"/>
                <a:sym typeface="Helvetica Neue"/>
              </a:rPr>
              <a:t>Reporte de </a:t>
            </a:r>
            <a:r>
              <a:rPr lang="es-ES" sz="1050" b="1" i="1" u="none" strike="noStrike" cap="none">
                <a:solidFill>
                  <a:schemeClr val="dk1"/>
                </a:solidFill>
                <a:latin typeface="Helvetica Neue"/>
                <a:ea typeface="Helvetica Neue"/>
                <a:cs typeface="Helvetica Neue"/>
                <a:sym typeface="Helvetica Neue"/>
              </a:rPr>
              <a:t>insights</a:t>
            </a:r>
            <a:r>
              <a:rPr lang="es-ES" sz="1050" b="1" i="0" u="none" strike="noStrike" cap="none">
                <a:solidFill>
                  <a:schemeClr val="dk1"/>
                </a:solidFill>
                <a:latin typeface="Helvetica Neue"/>
                <a:ea typeface="Helvetica Neue"/>
                <a:cs typeface="Helvetica Neue"/>
                <a:sym typeface="Helvetica Neue"/>
              </a:rPr>
              <a:t>.</a:t>
            </a:r>
            <a:r>
              <a:rPr lang="es-ES" sz="1050" b="0" i="0" u="none" strike="noStrike" cap="none">
                <a:solidFill>
                  <a:schemeClr val="dk1"/>
                </a:solidFill>
                <a:latin typeface="Helvetica Neue"/>
                <a:ea typeface="Helvetica Neue"/>
                <a:cs typeface="Helvetica Neue"/>
                <a:sym typeface="Helvetica Neue"/>
              </a:rPr>
              <a:t> Conclusiones documentadas incluyendo datos, modelo y explicación del </a:t>
            </a:r>
            <a:r>
              <a:rPr lang="es-ES" sz="1050" b="0" i="1" u="none" strike="noStrike" cap="none">
                <a:solidFill>
                  <a:schemeClr val="dk1"/>
                </a:solidFill>
                <a:latin typeface="Helvetica Neue"/>
                <a:ea typeface="Helvetica Neue"/>
                <a:cs typeface="Helvetica Neue"/>
                <a:sym typeface="Helvetica Neue"/>
              </a:rPr>
              <a:t>insight </a:t>
            </a:r>
            <a:r>
              <a:rPr lang="es-ES" sz="1050" b="0" i="0" u="none" strike="noStrike" cap="none">
                <a:solidFill>
                  <a:schemeClr val="dk1"/>
                </a:solidFill>
                <a:latin typeface="Helvetica Neue"/>
                <a:ea typeface="Helvetica Neue"/>
                <a:cs typeface="Helvetica Neue"/>
                <a:sym typeface="Helvetica Neue"/>
              </a:rPr>
              <a:t>para sustentar medidas de la Administración y siguientes pasos</a:t>
            </a:r>
            <a:endParaRPr sz="1050" b="0" i="0" u="none" strike="noStrike" cap="none">
              <a:solidFill>
                <a:schemeClr val="dk1"/>
              </a:solidFill>
              <a:latin typeface="Helvetica Neue"/>
              <a:ea typeface="Helvetica Neue"/>
              <a:cs typeface="Helvetica Neue"/>
              <a:sym typeface="Helvetica Neue"/>
            </a:endParaRPr>
          </a:p>
        </p:txBody>
      </p:sp>
      <p:sp>
        <p:nvSpPr>
          <p:cNvPr id="1534" name="Google Shape;1534;g7826bb8c5e_0_3072"/>
          <p:cNvSpPr txBox="1"/>
          <p:nvPr/>
        </p:nvSpPr>
        <p:spPr>
          <a:xfrm>
            <a:off x="335998" y="649092"/>
            <a:ext cx="11232600" cy="7221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2400"/>
              <a:buFont typeface="Playfair Display"/>
              <a:buNone/>
            </a:pPr>
            <a:r>
              <a:rPr lang="es-ES" sz="2400" b="1" i="0" u="none" strike="noStrike" cap="none">
                <a:solidFill>
                  <a:schemeClr val="dk1"/>
                </a:solidFill>
                <a:latin typeface="Playfair Display"/>
                <a:ea typeface="Playfair Display"/>
                <a:cs typeface="Playfair Display"/>
                <a:sym typeface="Playfair Display"/>
              </a:rPr>
              <a:t>Piloto: Aprendizaje</a:t>
            </a:r>
            <a:r>
              <a:rPr lang="es-ES" sz="2400" b="0" i="0" u="none" strike="noStrike" cap="none">
                <a:solidFill>
                  <a:schemeClr val="dk1"/>
                </a:solidFill>
                <a:latin typeface="Playfair Display"/>
                <a:ea typeface="Playfair Display"/>
                <a:cs typeface="Playfair Display"/>
                <a:sym typeface="Playfair Display"/>
              </a:rPr>
              <a:t>. </a:t>
            </a:r>
            <a:r>
              <a:rPr lang="es-ES" sz="2400" b="0" i="1" u="none" strike="noStrike" cap="none">
                <a:solidFill>
                  <a:schemeClr val="dk1"/>
                </a:solidFill>
                <a:latin typeface="Playfair Display"/>
                <a:ea typeface="Playfair Display"/>
                <a:cs typeface="Playfair Display"/>
                <a:sym typeface="Playfair Display"/>
              </a:rPr>
              <a:t>Insights </a:t>
            </a:r>
            <a:r>
              <a:rPr lang="es-ES" sz="2400" b="0" i="0" u="none" strike="noStrike" cap="none">
                <a:solidFill>
                  <a:schemeClr val="dk1"/>
                </a:solidFill>
                <a:latin typeface="Playfair Display"/>
                <a:ea typeface="Playfair Display"/>
                <a:cs typeface="Playfair Display"/>
                <a:sym typeface="Playfair Display"/>
              </a:rPr>
              <a:t>para aprender de los datos que la app nos facilita</a:t>
            </a:r>
            <a:endParaRPr sz="2400" b="0" i="0" u="none" strike="noStrike" cap="none">
              <a:solidFill>
                <a:schemeClr val="dk1"/>
              </a:solidFill>
              <a:latin typeface="Playfair Display"/>
              <a:ea typeface="Playfair Display"/>
              <a:cs typeface="Playfair Display"/>
              <a:sym typeface="Playfair Display"/>
            </a:endParaRPr>
          </a:p>
        </p:txBody>
      </p:sp>
      <p:sp>
        <p:nvSpPr>
          <p:cNvPr id="1535" name="Google Shape;1535;g7826bb8c5e_0_3072"/>
          <p:cNvSpPr txBox="1">
            <a:spLocks noGrp="1"/>
          </p:cNvSpPr>
          <p:nvPr>
            <p:ph type="body" idx="1"/>
          </p:nvPr>
        </p:nvSpPr>
        <p:spPr>
          <a:xfrm>
            <a:off x="336000" y="128400"/>
            <a:ext cx="11519400" cy="251400"/>
          </a:xfrm>
          <a:prstGeom prst="rect">
            <a:avLst/>
          </a:prstGeom>
          <a:noFill/>
          <a:ln>
            <a:noFill/>
          </a:ln>
        </p:spPr>
        <p:txBody>
          <a:bodyPr spcFirstLastPara="1" wrap="square" lIns="0" tIns="45700" rIns="91425" bIns="45700" anchor="t" anchorCtr="0">
            <a:noAutofit/>
          </a:bodyPr>
          <a:lstStyle/>
          <a:p>
            <a:pPr marL="0" lvl="0" indent="0" algn="l" rtl="0">
              <a:lnSpc>
                <a:spcPct val="90000"/>
              </a:lnSpc>
              <a:spcBef>
                <a:spcPts val="0"/>
              </a:spcBef>
              <a:spcAft>
                <a:spcPts val="0"/>
              </a:spcAft>
              <a:buClr>
                <a:srgbClr val="1A3B47"/>
              </a:buClr>
              <a:buSzPts val="1400"/>
              <a:buNone/>
            </a:pPr>
            <a:r>
              <a:rPr lang="es-ES" sz="1400">
                <a:latin typeface="Playfair Display"/>
                <a:ea typeface="Playfair Display"/>
                <a:cs typeface="Playfair Display"/>
                <a:sym typeface="Playfair Display"/>
              </a:rPr>
              <a:t>Covid-19 app - Alcance y enfoque del trabajo propuesto</a:t>
            </a:r>
            <a:endParaRPr/>
          </a:p>
        </p:txBody>
      </p:sp>
      <p:sp>
        <p:nvSpPr>
          <p:cNvPr id="1536" name="Google Shape;1536;g7826bb8c5e_0_3072"/>
          <p:cNvSpPr/>
          <p:nvPr/>
        </p:nvSpPr>
        <p:spPr>
          <a:xfrm>
            <a:off x="7596258" y="5074673"/>
            <a:ext cx="4116300" cy="1373700"/>
          </a:xfrm>
          <a:prstGeom prst="parallelogram">
            <a:avLst>
              <a:gd name="adj" fmla="val 25000"/>
            </a:avLst>
          </a:prstGeom>
          <a:solidFill>
            <a:srgbClr val="E2E2E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700"/>
              <a:buFont typeface="Arial"/>
              <a:buNone/>
            </a:pPr>
            <a:endParaRPr sz="1700" b="0" i="0" u="none" strike="noStrike" cap="none">
              <a:solidFill>
                <a:srgbClr val="FFFFFF"/>
              </a:solidFill>
              <a:latin typeface="Playfair Display"/>
              <a:ea typeface="Playfair Display"/>
              <a:cs typeface="Playfair Display"/>
              <a:sym typeface="Playfair Display"/>
            </a:endParaRPr>
          </a:p>
        </p:txBody>
      </p:sp>
      <p:grpSp>
        <p:nvGrpSpPr>
          <p:cNvPr id="1537" name="Google Shape;1537;g7826bb8c5e_0_3072"/>
          <p:cNvGrpSpPr/>
          <p:nvPr/>
        </p:nvGrpSpPr>
        <p:grpSpPr>
          <a:xfrm>
            <a:off x="407381" y="2363271"/>
            <a:ext cx="3094512" cy="1626702"/>
            <a:chOff x="660126" y="1663894"/>
            <a:chExt cx="2881028" cy="1789354"/>
          </a:xfrm>
        </p:grpSpPr>
        <p:sp>
          <p:nvSpPr>
            <p:cNvPr id="1538" name="Google Shape;1538;g7826bb8c5e_0_3072"/>
            <p:cNvSpPr/>
            <p:nvPr/>
          </p:nvSpPr>
          <p:spPr>
            <a:xfrm>
              <a:off x="705554" y="1929848"/>
              <a:ext cx="2835600" cy="15234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050"/>
                <a:buFont typeface="Arial"/>
                <a:buNone/>
              </a:pPr>
              <a:endParaRPr sz="1050" b="0" i="0" u="none" strike="noStrike" cap="none">
                <a:solidFill>
                  <a:srgbClr val="1A3B47"/>
                </a:solidFill>
                <a:latin typeface="Helvetica Neue"/>
                <a:ea typeface="Helvetica Neue"/>
                <a:cs typeface="Helvetica Neue"/>
                <a:sym typeface="Helvetica Neue"/>
              </a:endParaRPr>
            </a:p>
            <a:p>
              <a:pPr marL="355600" marR="0" lvl="0" indent="-195262" algn="l" rtl="0">
                <a:lnSpc>
                  <a:spcPct val="100000"/>
                </a:lnSpc>
                <a:spcBef>
                  <a:spcPts val="0"/>
                </a:spcBef>
                <a:spcAft>
                  <a:spcPts val="0"/>
                </a:spcAft>
                <a:buClr>
                  <a:srgbClr val="1A3B47"/>
                </a:buClr>
                <a:buSzPts val="1200"/>
                <a:buFont typeface="Helvetica Neue"/>
                <a:buChar char="•"/>
              </a:pPr>
              <a:r>
                <a:rPr lang="es-ES" sz="1200" b="0" i="0" u="none" strike="noStrike" cap="none">
                  <a:solidFill>
                    <a:srgbClr val="1A3B47"/>
                  </a:solidFill>
                  <a:latin typeface="Helvetica Neue"/>
                  <a:ea typeface="Helvetica Neue"/>
                  <a:cs typeface="Helvetica Neue"/>
                  <a:sym typeface="Helvetica Neue"/>
                </a:rPr>
                <a:t>Utilizar los datos facilitados por el </a:t>
              </a:r>
              <a:r>
                <a:rPr lang="es-ES" sz="1200" b="0" i="1" u="none" strike="noStrike" cap="none">
                  <a:solidFill>
                    <a:srgbClr val="1A3B47"/>
                  </a:solidFill>
                  <a:latin typeface="Helvetica Neue"/>
                  <a:ea typeface="Helvetica Neue"/>
                  <a:cs typeface="Helvetica Neue"/>
                  <a:sym typeface="Helvetica Neue"/>
                </a:rPr>
                <a:t>contact tracing </a:t>
              </a:r>
              <a:r>
                <a:rPr lang="es-ES" sz="1200" b="0" i="0" u="none" strike="noStrike" cap="none">
                  <a:solidFill>
                    <a:srgbClr val="1A3B47"/>
                  </a:solidFill>
                  <a:latin typeface="Helvetica Neue"/>
                  <a:ea typeface="Helvetica Neue"/>
                  <a:cs typeface="Helvetica Neue"/>
                  <a:sym typeface="Helvetica Neue"/>
                </a:rPr>
                <a:t>y posteriores funcionalidades que se incluyan para detectar </a:t>
              </a:r>
              <a:r>
                <a:rPr lang="es-ES" sz="1200" b="1" i="0" u="none" strike="noStrike" cap="none">
                  <a:solidFill>
                    <a:srgbClr val="1A3B47"/>
                  </a:solidFill>
                  <a:latin typeface="Helvetica Neue"/>
                  <a:ea typeface="Helvetica Neue"/>
                  <a:cs typeface="Helvetica Neue"/>
                  <a:sym typeface="Helvetica Neue"/>
                </a:rPr>
                <a:t>patrones de contagio</a:t>
              </a:r>
              <a:endParaRPr sz="1200" b="1" i="0" u="none" strike="noStrike" cap="none">
                <a:solidFill>
                  <a:srgbClr val="1A3B47"/>
                </a:solidFill>
                <a:latin typeface="Helvetica Neue"/>
                <a:ea typeface="Helvetica Neue"/>
                <a:cs typeface="Helvetica Neue"/>
                <a:sym typeface="Helvetica Neue"/>
              </a:endParaRPr>
            </a:p>
          </p:txBody>
        </p:sp>
        <p:sp>
          <p:nvSpPr>
            <p:cNvPr id="1539" name="Google Shape;1539;g7826bb8c5e_0_3072"/>
            <p:cNvSpPr/>
            <p:nvPr/>
          </p:nvSpPr>
          <p:spPr>
            <a:xfrm>
              <a:off x="660126" y="1663894"/>
              <a:ext cx="2355900" cy="338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s-ES" sz="1600" b="0" i="0" u="none" strike="noStrike" cap="none">
                  <a:solidFill>
                    <a:srgbClr val="639FCB"/>
                  </a:solidFill>
                  <a:latin typeface="Playfair Display"/>
                  <a:ea typeface="Playfair Display"/>
                  <a:cs typeface="Playfair Display"/>
                  <a:sym typeface="Playfair Display"/>
                </a:rPr>
                <a:t>Objetivo</a:t>
              </a:r>
              <a:endParaRPr sz="1400" b="0" i="0" u="none" strike="noStrike" cap="none">
                <a:solidFill>
                  <a:srgbClr val="000000"/>
                </a:solidFill>
                <a:latin typeface="Arial"/>
                <a:ea typeface="Arial"/>
                <a:cs typeface="Arial"/>
                <a:sym typeface="Arial"/>
              </a:endParaRPr>
            </a:p>
          </p:txBody>
        </p:sp>
      </p:grpSp>
      <p:sp>
        <p:nvSpPr>
          <p:cNvPr id="1540" name="Google Shape;1540;g7826bb8c5e_0_3072"/>
          <p:cNvSpPr/>
          <p:nvPr/>
        </p:nvSpPr>
        <p:spPr>
          <a:xfrm>
            <a:off x="8522950" y="5320550"/>
            <a:ext cx="2985600" cy="1111200"/>
          </a:xfrm>
          <a:prstGeom prst="rect">
            <a:avLst/>
          </a:prstGeom>
          <a:noFill/>
          <a:ln>
            <a:noFill/>
          </a:ln>
        </p:spPr>
        <p:txBody>
          <a:bodyPr spcFirstLastPara="1" wrap="square" lIns="91425" tIns="45700" rIns="91425" bIns="45700" anchor="t" anchorCtr="0">
            <a:noAutofit/>
          </a:bodyPr>
          <a:lstStyle/>
          <a:p>
            <a:pPr marL="173037" marR="0" lvl="0" indent="0" algn="l" rtl="0">
              <a:lnSpc>
                <a:spcPct val="100000"/>
              </a:lnSpc>
              <a:spcBef>
                <a:spcPts val="0"/>
              </a:spcBef>
              <a:spcAft>
                <a:spcPts val="0"/>
              </a:spcAft>
              <a:buClr>
                <a:srgbClr val="000000"/>
              </a:buClr>
              <a:buSzPts val="1050"/>
              <a:buFont typeface="Arial"/>
              <a:buNone/>
            </a:pPr>
            <a:r>
              <a:rPr lang="es-ES" sz="1050" b="1" i="0" u="none" strike="noStrike" cap="none">
                <a:solidFill>
                  <a:srgbClr val="1A3B47"/>
                </a:solidFill>
                <a:latin typeface="Helvetica Neue"/>
                <a:ea typeface="Helvetica Neue"/>
                <a:cs typeface="Helvetica Neue"/>
                <a:sym typeface="Helvetica Neue"/>
              </a:rPr>
              <a:t>A tener en cuenta</a:t>
            </a:r>
            <a:endParaRPr sz="1050" b="1" i="0" u="none" strike="noStrike" cap="none">
              <a:solidFill>
                <a:srgbClr val="1A3B47"/>
              </a:solidFill>
              <a:latin typeface="Helvetica Neue"/>
              <a:ea typeface="Helvetica Neue"/>
              <a:cs typeface="Helvetica Neue"/>
              <a:sym typeface="Helvetica Neue"/>
            </a:endParaRPr>
          </a:p>
          <a:p>
            <a:pPr marL="173037" marR="0" lvl="0" indent="0" algn="l" rtl="0">
              <a:lnSpc>
                <a:spcPct val="100000"/>
              </a:lnSpc>
              <a:spcBef>
                <a:spcPts val="0"/>
              </a:spcBef>
              <a:spcAft>
                <a:spcPts val="0"/>
              </a:spcAft>
              <a:buClr>
                <a:srgbClr val="000000"/>
              </a:buClr>
              <a:buSzPts val="1050"/>
              <a:buFont typeface="Arial"/>
              <a:buNone/>
            </a:pPr>
            <a:r>
              <a:rPr lang="es-ES" sz="1050" b="0" i="0" u="none" strike="noStrike" cap="none">
                <a:solidFill>
                  <a:srgbClr val="1A3B47"/>
                </a:solidFill>
                <a:latin typeface="Helvetica Neue"/>
                <a:ea typeface="Helvetica Neue"/>
                <a:cs typeface="Helvetica Neue"/>
                <a:sym typeface="Helvetica Neue"/>
              </a:rPr>
              <a:t>El apoyo de expertos epidemiólogos y de los servicios sanitarios será la contribución clave para la efectividad y precisión de los modelos</a:t>
            </a:r>
            <a:endParaRPr sz="1050" b="0" i="0" u="none" strike="noStrike" cap="none">
              <a:solidFill>
                <a:srgbClr val="1A3B47"/>
              </a:solidFill>
              <a:latin typeface="Helvetica Neue"/>
              <a:ea typeface="Helvetica Neue"/>
              <a:cs typeface="Helvetica Neue"/>
              <a:sym typeface="Helvetica Neue"/>
            </a:endParaRPr>
          </a:p>
        </p:txBody>
      </p:sp>
      <p:sp>
        <p:nvSpPr>
          <p:cNvPr id="1541" name="Google Shape;1541;g7826bb8c5e_0_3072"/>
          <p:cNvSpPr/>
          <p:nvPr/>
        </p:nvSpPr>
        <p:spPr>
          <a:xfrm>
            <a:off x="-312712" y="1484784"/>
            <a:ext cx="5976600" cy="657000"/>
          </a:xfrm>
          <a:prstGeom prst="parallelogram">
            <a:avLst>
              <a:gd name="adj" fmla="val 25000"/>
            </a:avLst>
          </a:prstGeom>
          <a:solidFill>
            <a:srgbClr val="FDEDE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799"/>
              <a:buFont typeface="Arial"/>
              <a:buNone/>
            </a:pPr>
            <a:r>
              <a:rPr lang="es-ES" sz="1799" b="0" i="0" u="none" strike="noStrike" cap="none">
                <a:solidFill>
                  <a:srgbClr val="1A3B47"/>
                </a:solidFill>
                <a:latin typeface="Playfair Display"/>
                <a:ea typeface="Playfair Display"/>
                <a:cs typeface="Playfair Display"/>
                <a:sym typeface="Playfair Display"/>
              </a:rPr>
              <a:t>¿En qué consiste este bloque?</a:t>
            </a:r>
            <a:endParaRPr sz="1400" b="0" i="0" u="none" strike="noStrike" cap="none">
              <a:solidFill>
                <a:srgbClr val="000000"/>
              </a:solidFill>
              <a:latin typeface="Arial"/>
              <a:ea typeface="Arial"/>
              <a:cs typeface="Arial"/>
              <a:sym typeface="Arial"/>
            </a:endParaRPr>
          </a:p>
        </p:txBody>
      </p:sp>
      <p:grpSp>
        <p:nvGrpSpPr>
          <p:cNvPr id="1542" name="Google Shape;1542;g7826bb8c5e_0_3072"/>
          <p:cNvGrpSpPr/>
          <p:nvPr/>
        </p:nvGrpSpPr>
        <p:grpSpPr>
          <a:xfrm>
            <a:off x="3630363" y="2363269"/>
            <a:ext cx="1696719" cy="1626685"/>
            <a:chOff x="660126" y="1663894"/>
            <a:chExt cx="2355900" cy="1789336"/>
          </a:xfrm>
        </p:grpSpPr>
        <p:sp>
          <p:nvSpPr>
            <p:cNvPr id="1543" name="Google Shape;1543;g7826bb8c5e_0_3072"/>
            <p:cNvSpPr/>
            <p:nvPr/>
          </p:nvSpPr>
          <p:spPr>
            <a:xfrm>
              <a:off x="705550" y="1929830"/>
              <a:ext cx="2052900" cy="15234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050"/>
                <a:buFont typeface="Arial"/>
                <a:buNone/>
              </a:pPr>
              <a:endParaRPr sz="1050" b="0" i="0" u="none" strike="noStrike" cap="none">
                <a:solidFill>
                  <a:srgbClr val="1A3B47"/>
                </a:solidFill>
                <a:latin typeface="Helvetica Neue"/>
                <a:ea typeface="Helvetica Neue"/>
                <a:cs typeface="Helvetica Neue"/>
                <a:sym typeface="Helvetica Neue"/>
              </a:endParaRPr>
            </a:p>
            <a:p>
              <a:pPr marL="355600" marR="0" lvl="0" indent="-195262" algn="l" rtl="0">
                <a:lnSpc>
                  <a:spcPct val="100000"/>
                </a:lnSpc>
                <a:spcBef>
                  <a:spcPts val="0"/>
                </a:spcBef>
                <a:spcAft>
                  <a:spcPts val="0"/>
                </a:spcAft>
                <a:buClr>
                  <a:srgbClr val="1A3B47"/>
                </a:buClr>
                <a:buSzPts val="1200"/>
                <a:buFont typeface="Helvetica Neue"/>
                <a:buChar char="•"/>
              </a:pPr>
              <a:r>
                <a:rPr lang="es-ES" sz="1200" b="0" i="0" u="none" strike="noStrike" cap="none">
                  <a:solidFill>
                    <a:srgbClr val="1A3B47"/>
                  </a:solidFill>
                  <a:latin typeface="Helvetica Neue"/>
                  <a:ea typeface="Helvetica Neue"/>
                  <a:cs typeface="Helvetica Neue"/>
                  <a:sym typeface="Helvetica Neue"/>
                </a:rPr>
                <a:t>Actividad de apoyo al piloto iterativa y sujeta a duración del mismo</a:t>
              </a:r>
              <a:endParaRPr sz="1200" b="0" i="0" u="none" strike="noStrike" cap="none">
                <a:solidFill>
                  <a:srgbClr val="1A3B47"/>
                </a:solidFill>
                <a:latin typeface="Helvetica Neue"/>
                <a:ea typeface="Helvetica Neue"/>
                <a:cs typeface="Helvetica Neue"/>
                <a:sym typeface="Helvetica Neue"/>
              </a:endParaRPr>
            </a:p>
          </p:txBody>
        </p:sp>
        <p:sp>
          <p:nvSpPr>
            <p:cNvPr id="1544" name="Google Shape;1544;g7826bb8c5e_0_3072"/>
            <p:cNvSpPr/>
            <p:nvPr/>
          </p:nvSpPr>
          <p:spPr>
            <a:xfrm>
              <a:off x="660126" y="1663894"/>
              <a:ext cx="2355900" cy="338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s-ES" sz="1600" b="0" i="0" u="none" strike="noStrike" cap="none">
                  <a:solidFill>
                    <a:srgbClr val="639FCB"/>
                  </a:solidFill>
                  <a:latin typeface="Playfair Display"/>
                  <a:ea typeface="Playfair Display"/>
                  <a:cs typeface="Playfair Display"/>
                  <a:sym typeface="Playfair Display"/>
                </a:rPr>
                <a:t>Plazo</a:t>
              </a:r>
              <a:endParaRPr sz="1400" b="0" i="0" u="none" strike="noStrike" cap="none">
                <a:solidFill>
                  <a:srgbClr val="000000"/>
                </a:solidFill>
                <a:latin typeface="Arial"/>
                <a:ea typeface="Arial"/>
                <a:cs typeface="Arial"/>
                <a:sym typeface="Arial"/>
              </a:endParaRPr>
            </a:p>
          </p:txBody>
        </p:sp>
      </p:grpSp>
      <p:grpSp>
        <p:nvGrpSpPr>
          <p:cNvPr id="1545" name="Google Shape;1545;g7826bb8c5e_0_3072"/>
          <p:cNvGrpSpPr/>
          <p:nvPr/>
        </p:nvGrpSpPr>
        <p:grpSpPr>
          <a:xfrm>
            <a:off x="408331" y="4335958"/>
            <a:ext cx="4941736" cy="1626690"/>
            <a:chOff x="660126" y="1663894"/>
            <a:chExt cx="2355900" cy="1789341"/>
          </a:xfrm>
        </p:grpSpPr>
        <p:sp>
          <p:nvSpPr>
            <p:cNvPr id="1546" name="Google Shape;1546;g7826bb8c5e_0_3072"/>
            <p:cNvSpPr/>
            <p:nvPr/>
          </p:nvSpPr>
          <p:spPr>
            <a:xfrm>
              <a:off x="705543" y="1929835"/>
              <a:ext cx="2299500" cy="15234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050"/>
                <a:buFont typeface="Arial"/>
                <a:buNone/>
              </a:pPr>
              <a:endParaRPr sz="1050" b="0" i="0" u="none" strike="noStrike" cap="none">
                <a:solidFill>
                  <a:srgbClr val="1A3B47"/>
                </a:solidFill>
                <a:latin typeface="Helvetica Neue"/>
                <a:ea typeface="Helvetica Neue"/>
                <a:cs typeface="Helvetica Neue"/>
                <a:sym typeface="Helvetica Neue"/>
              </a:endParaRPr>
            </a:p>
            <a:p>
              <a:pPr marL="355600" marR="0" lvl="0" indent="-195262" algn="l" rtl="0">
                <a:lnSpc>
                  <a:spcPct val="100000"/>
                </a:lnSpc>
                <a:spcBef>
                  <a:spcPts val="0"/>
                </a:spcBef>
                <a:spcAft>
                  <a:spcPts val="0"/>
                </a:spcAft>
                <a:buClr>
                  <a:srgbClr val="1A3B47"/>
                </a:buClr>
                <a:buSzPts val="1200"/>
                <a:buFont typeface="Helvetica Neue"/>
                <a:buChar char="•"/>
              </a:pPr>
              <a:r>
                <a:rPr lang="es-ES" sz="1200" b="0" i="0" u="none" strike="noStrike" cap="none">
                  <a:solidFill>
                    <a:srgbClr val="1A3B47"/>
                  </a:solidFill>
                  <a:latin typeface="Helvetica Neue"/>
                  <a:ea typeface="Helvetica Neue"/>
                  <a:cs typeface="Helvetica Neue"/>
                  <a:sym typeface="Helvetica Neue"/>
                </a:rPr>
                <a:t>Definición de datos de relevancia por parte de las autoridades sanitarias para el refuerzo del conocimiento de los patrones de contagio</a:t>
              </a:r>
              <a:endParaRPr sz="1200" b="0" i="0" u="none" strike="noStrike" cap="none">
                <a:solidFill>
                  <a:srgbClr val="1A3B47"/>
                </a:solidFill>
                <a:latin typeface="Helvetica Neue"/>
                <a:ea typeface="Helvetica Neue"/>
                <a:cs typeface="Helvetica Neue"/>
                <a:sym typeface="Helvetica Neue"/>
              </a:endParaRPr>
            </a:p>
            <a:p>
              <a:pPr marL="355600" marR="0" lvl="0" indent="-195262" algn="l" rtl="0">
                <a:lnSpc>
                  <a:spcPct val="100000"/>
                </a:lnSpc>
                <a:spcBef>
                  <a:spcPts val="0"/>
                </a:spcBef>
                <a:spcAft>
                  <a:spcPts val="0"/>
                </a:spcAft>
                <a:buClr>
                  <a:srgbClr val="1A3B47"/>
                </a:buClr>
                <a:buSzPts val="1200"/>
                <a:buFont typeface="Helvetica Neue"/>
                <a:buChar char="•"/>
              </a:pPr>
              <a:r>
                <a:rPr lang="es-ES" sz="1200" b="0" i="0" u="none" strike="noStrike" cap="none">
                  <a:solidFill>
                    <a:srgbClr val="1A3B47"/>
                  </a:solidFill>
                  <a:latin typeface="Helvetica Neue"/>
                  <a:ea typeface="Helvetica Neue"/>
                  <a:cs typeface="Helvetica Neue"/>
                  <a:sym typeface="Helvetica Neue"/>
                </a:rPr>
                <a:t>Creación de laboratorio de análisis epidemiológico conjunto entre Minsait y la Administración</a:t>
              </a:r>
              <a:endParaRPr sz="1200" b="0" i="0" u="none" strike="noStrike" cap="none">
                <a:solidFill>
                  <a:srgbClr val="1A3B47"/>
                </a:solidFill>
                <a:latin typeface="Helvetica Neue"/>
                <a:ea typeface="Helvetica Neue"/>
                <a:cs typeface="Helvetica Neue"/>
                <a:sym typeface="Helvetica Neue"/>
              </a:endParaRPr>
            </a:p>
            <a:p>
              <a:pPr marL="355600" marR="0" lvl="0" indent="-195262" algn="l" rtl="0">
                <a:lnSpc>
                  <a:spcPct val="100000"/>
                </a:lnSpc>
                <a:spcBef>
                  <a:spcPts val="0"/>
                </a:spcBef>
                <a:spcAft>
                  <a:spcPts val="0"/>
                </a:spcAft>
                <a:buClr>
                  <a:srgbClr val="1A3B47"/>
                </a:buClr>
                <a:buSzPts val="1200"/>
                <a:buFont typeface="Helvetica Neue"/>
                <a:buChar char="•"/>
              </a:pPr>
              <a:r>
                <a:rPr lang="es-ES" sz="1200" b="0" i="0" u="none" strike="noStrike" cap="none">
                  <a:solidFill>
                    <a:srgbClr val="1A3B47"/>
                  </a:solidFill>
                  <a:latin typeface="Helvetica Neue"/>
                  <a:ea typeface="Helvetica Neue"/>
                  <a:cs typeface="Helvetica Neue"/>
                  <a:sym typeface="Helvetica Neue"/>
                </a:rPr>
                <a:t>Generación de </a:t>
              </a:r>
              <a:r>
                <a:rPr lang="es-ES" sz="1200" b="0" i="1" u="none" strike="noStrike" cap="none">
                  <a:solidFill>
                    <a:srgbClr val="1A3B47"/>
                  </a:solidFill>
                  <a:latin typeface="Helvetica Neue"/>
                  <a:ea typeface="Helvetica Neue"/>
                  <a:cs typeface="Helvetica Neue"/>
                  <a:sym typeface="Helvetica Neue"/>
                </a:rPr>
                <a:t>insights</a:t>
              </a:r>
              <a:r>
                <a:rPr lang="es-ES" sz="1200" b="0" i="0" u="none" strike="noStrike" cap="none">
                  <a:solidFill>
                    <a:srgbClr val="1A3B47"/>
                  </a:solidFill>
                  <a:latin typeface="Helvetica Neue"/>
                  <a:ea typeface="Helvetica Neue"/>
                  <a:cs typeface="Helvetica Neue"/>
                  <a:sym typeface="Helvetica Neue"/>
                </a:rPr>
                <a:t> y análisis de los patrones de contagio como input de las decisiones de la Administración (nuevas medidas y preferencias de evolutivos)</a:t>
              </a:r>
              <a:endParaRPr sz="1200" b="0" i="0" u="none" strike="noStrike" cap="none">
                <a:solidFill>
                  <a:srgbClr val="1A3B47"/>
                </a:solidFill>
                <a:latin typeface="Helvetica Neue"/>
                <a:ea typeface="Helvetica Neue"/>
                <a:cs typeface="Helvetica Neue"/>
                <a:sym typeface="Helvetica Neue"/>
              </a:endParaRPr>
            </a:p>
          </p:txBody>
        </p:sp>
        <p:sp>
          <p:nvSpPr>
            <p:cNvPr id="1547" name="Google Shape;1547;g7826bb8c5e_0_3072"/>
            <p:cNvSpPr/>
            <p:nvPr/>
          </p:nvSpPr>
          <p:spPr>
            <a:xfrm>
              <a:off x="660126" y="1663894"/>
              <a:ext cx="2355900" cy="338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s-ES" sz="1600" b="0" i="0" u="none" strike="noStrike" cap="none">
                  <a:solidFill>
                    <a:srgbClr val="639FCB"/>
                  </a:solidFill>
                  <a:latin typeface="Playfair Display"/>
                  <a:ea typeface="Playfair Display"/>
                  <a:cs typeface="Playfair Display"/>
                  <a:sym typeface="Playfair Display"/>
                </a:rPr>
                <a:t>Actividades</a:t>
              </a:r>
              <a:endParaRPr sz="1400" b="0" i="0" u="none" strike="noStrike" cap="none">
                <a:solidFill>
                  <a:srgbClr val="000000"/>
                </a:solidFill>
                <a:latin typeface="Arial"/>
                <a:ea typeface="Arial"/>
                <a:cs typeface="Arial"/>
                <a:sym typeface="Arial"/>
              </a:endParaRPr>
            </a:p>
          </p:txBody>
        </p:sp>
      </p:grpSp>
      <p:pic>
        <p:nvPicPr>
          <p:cNvPr id="1548" name="Google Shape;1548;g7826bb8c5e_0_3072"/>
          <p:cNvPicPr preferRelativeResize="0"/>
          <p:nvPr/>
        </p:nvPicPr>
        <p:blipFill rotWithShape="1">
          <a:blip r:embed="rId3">
            <a:alphaModFix/>
          </a:blip>
          <a:srcRect/>
          <a:stretch/>
        </p:blipFill>
        <p:spPr>
          <a:xfrm>
            <a:off x="7929943" y="5320548"/>
            <a:ext cx="722100" cy="722100"/>
          </a:xfrm>
          <a:prstGeom prst="ellipse">
            <a:avLst/>
          </a:prstGeom>
          <a:noFill/>
          <a:ln>
            <a:noFill/>
          </a:ln>
        </p:spPr>
      </p:pic>
      <p:grpSp>
        <p:nvGrpSpPr>
          <p:cNvPr id="1549" name="Google Shape;1549;g7826bb8c5e_0_3072"/>
          <p:cNvGrpSpPr/>
          <p:nvPr/>
        </p:nvGrpSpPr>
        <p:grpSpPr>
          <a:xfrm>
            <a:off x="10992330" y="88959"/>
            <a:ext cx="1104735" cy="536493"/>
            <a:chOff x="508100" y="1640544"/>
            <a:chExt cx="11238400" cy="4620956"/>
          </a:xfrm>
        </p:grpSpPr>
        <p:grpSp>
          <p:nvGrpSpPr>
            <p:cNvPr id="1550" name="Google Shape;1550;g7826bb8c5e_0_3072"/>
            <p:cNvGrpSpPr/>
            <p:nvPr/>
          </p:nvGrpSpPr>
          <p:grpSpPr>
            <a:xfrm>
              <a:off x="508106" y="1640544"/>
              <a:ext cx="11232175" cy="21551"/>
              <a:chOff x="431923" y="1640499"/>
              <a:chExt cx="9605075" cy="31800"/>
            </a:xfrm>
          </p:grpSpPr>
          <p:cxnSp>
            <p:nvCxnSpPr>
              <p:cNvPr id="1551" name="Google Shape;1551;g7826bb8c5e_0_3072"/>
              <p:cNvCxnSpPr/>
              <p:nvPr/>
            </p:nvCxnSpPr>
            <p:spPr>
              <a:xfrm>
                <a:off x="431923" y="1640499"/>
                <a:ext cx="4651200" cy="15900"/>
              </a:xfrm>
              <a:prstGeom prst="straightConnector1">
                <a:avLst/>
              </a:prstGeom>
              <a:noFill/>
              <a:ln w="76200" cap="flat" cmpd="sng">
                <a:solidFill>
                  <a:srgbClr val="CCCCCC"/>
                </a:solidFill>
                <a:prstDash val="solid"/>
                <a:round/>
                <a:headEnd type="none" w="sm" len="sm"/>
                <a:tailEnd type="none" w="sm" len="sm"/>
              </a:ln>
            </p:spPr>
          </p:cxnSp>
          <p:cxnSp>
            <p:nvCxnSpPr>
              <p:cNvPr id="1552" name="Google Shape;1552;g7826bb8c5e_0_3072"/>
              <p:cNvCxnSpPr/>
              <p:nvPr/>
            </p:nvCxnSpPr>
            <p:spPr>
              <a:xfrm>
                <a:off x="5385798" y="1656399"/>
                <a:ext cx="4651200" cy="15900"/>
              </a:xfrm>
              <a:prstGeom prst="straightConnector1">
                <a:avLst/>
              </a:prstGeom>
              <a:noFill/>
              <a:ln w="76200" cap="flat" cmpd="sng">
                <a:solidFill>
                  <a:schemeClr val="accent2"/>
                </a:solidFill>
                <a:prstDash val="solid"/>
                <a:round/>
                <a:headEnd type="none" w="sm" len="sm"/>
                <a:tailEnd type="none" w="sm" len="sm"/>
              </a:ln>
            </p:spPr>
          </p:cxnSp>
        </p:grpSp>
        <p:sp>
          <p:nvSpPr>
            <p:cNvPr id="1553" name="Google Shape;1553;g7826bb8c5e_0_3072"/>
            <p:cNvSpPr/>
            <p:nvPr/>
          </p:nvSpPr>
          <p:spPr>
            <a:xfrm>
              <a:off x="508100" y="2035875"/>
              <a:ext cx="1390500" cy="4225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554" name="Google Shape;1554;g7826bb8c5e_0_3072"/>
            <p:cNvSpPr/>
            <p:nvPr/>
          </p:nvSpPr>
          <p:spPr>
            <a:xfrm>
              <a:off x="2132113" y="5255000"/>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555" name="Google Shape;1555;g7826bb8c5e_0_3072"/>
            <p:cNvSpPr/>
            <p:nvPr/>
          </p:nvSpPr>
          <p:spPr>
            <a:xfrm>
              <a:off x="2132113" y="3108917"/>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556" name="Google Shape;1556;g7826bb8c5e_0_3072"/>
            <p:cNvSpPr/>
            <p:nvPr/>
          </p:nvSpPr>
          <p:spPr>
            <a:xfrm>
              <a:off x="2132113" y="4181958"/>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557" name="Google Shape;1557;g7826bb8c5e_0_3072"/>
            <p:cNvSpPr/>
            <p:nvPr/>
          </p:nvSpPr>
          <p:spPr>
            <a:xfrm>
              <a:off x="6343925" y="2035875"/>
              <a:ext cx="5396400" cy="13503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558" name="Google Shape;1558;g7826bb8c5e_0_3072"/>
            <p:cNvSpPr/>
            <p:nvPr/>
          </p:nvSpPr>
          <p:spPr>
            <a:xfrm>
              <a:off x="6350100" y="3481700"/>
              <a:ext cx="5396400" cy="13521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559" name="Google Shape;1559;g7826bb8c5e_0_3072"/>
            <p:cNvSpPr/>
            <p:nvPr/>
          </p:nvSpPr>
          <p:spPr>
            <a:xfrm>
              <a:off x="6343925" y="4945700"/>
              <a:ext cx="5396400" cy="1315800"/>
            </a:xfrm>
            <a:prstGeom prst="rect">
              <a:avLst/>
            </a:prstGeom>
            <a:solidFill>
              <a:srgbClr val="FDEDE0"/>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560" name="Google Shape;1560;g7826bb8c5e_0_3072"/>
            <p:cNvSpPr/>
            <p:nvPr/>
          </p:nvSpPr>
          <p:spPr>
            <a:xfrm>
              <a:off x="2132113" y="2035875"/>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gr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1564"/>
        <p:cNvGrpSpPr/>
        <p:nvPr/>
      </p:nvGrpSpPr>
      <p:grpSpPr>
        <a:xfrm>
          <a:off x="0" y="0"/>
          <a:ext cx="0" cy="0"/>
          <a:chOff x="0" y="0"/>
          <a:chExt cx="0" cy="0"/>
        </a:xfrm>
      </p:grpSpPr>
      <p:sp>
        <p:nvSpPr>
          <p:cNvPr id="1565" name="Google Shape;1565;g7826bb8c5e_0_2991"/>
          <p:cNvSpPr txBox="1"/>
          <p:nvPr/>
        </p:nvSpPr>
        <p:spPr>
          <a:xfrm>
            <a:off x="4444458" y="4111778"/>
            <a:ext cx="1947600" cy="5358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800"/>
              <a:buFont typeface="Arial"/>
              <a:buNone/>
            </a:pPr>
            <a:r>
              <a:rPr lang="es-ES" sz="1800">
                <a:solidFill>
                  <a:schemeClr val="dk1"/>
                </a:solidFill>
                <a:latin typeface="Playfair Display"/>
                <a:ea typeface="Playfair Display"/>
                <a:cs typeface="Playfair Display"/>
                <a:sym typeface="Playfair Display"/>
              </a:rPr>
              <a:t>Servicio centralizado</a:t>
            </a:r>
            <a:endParaRPr sz="1800" b="0" i="0" u="none" strike="noStrike" cap="none">
              <a:solidFill>
                <a:schemeClr val="dk1"/>
              </a:solidFill>
              <a:latin typeface="Playfair Display"/>
              <a:ea typeface="Playfair Display"/>
              <a:cs typeface="Playfair Display"/>
              <a:sym typeface="Playfair Display"/>
            </a:endParaRPr>
          </a:p>
        </p:txBody>
      </p:sp>
      <p:sp>
        <p:nvSpPr>
          <p:cNvPr id="1566" name="Google Shape;1566;g7826bb8c5e_0_2991"/>
          <p:cNvSpPr txBox="1"/>
          <p:nvPr/>
        </p:nvSpPr>
        <p:spPr>
          <a:xfrm>
            <a:off x="7469700" y="2116638"/>
            <a:ext cx="4385700" cy="535800"/>
          </a:xfrm>
          <a:prstGeom prst="rect">
            <a:avLst/>
          </a:prstGeom>
          <a:noFill/>
          <a:ln>
            <a:noFill/>
          </a:ln>
        </p:spPr>
        <p:txBody>
          <a:bodyPr spcFirstLastPara="1" wrap="square" lIns="91425" tIns="45700" rIns="91425" bIns="45700" anchor="t" anchorCtr="0">
            <a:noAutofit/>
          </a:bodyPr>
          <a:lstStyle/>
          <a:p>
            <a:pPr marL="457200" marR="0" lvl="0" indent="-317500" algn="l" rtl="0">
              <a:lnSpc>
                <a:spcPct val="100000"/>
              </a:lnSpc>
              <a:spcBef>
                <a:spcPts val="0"/>
              </a:spcBef>
              <a:spcAft>
                <a:spcPts val="0"/>
              </a:spcAft>
              <a:buClr>
                <a:schemeClr val="dk1"/>
              </a:buClr>
              <a:buSzPts val="1400"/>
              <a:buFont typeface="Arial"/>
              <a:buChar char="●"/>
            </a:pPr>
            <a:r>
              <a:rPr lang="es-ES" sz="1400" b="0" i="0" u="none" strike="noStrike" cap="none">
                <a:solidFill>
                  <a:schemeClr val="dk1"/>
                </a:solidFill>
                <a:latin typeface="Arial"/>
                <a:ea typeface="Arial"/>
                <a:cs typeface="Arial"/>
                <a:sym typeface="Arial"/>
              </a:rPr>
              <a:t>Distancia de la interacción. </a:t>
            </a:r>
            <a:r>
              <a:rPr lang="es-ES" sz="1400" b="0" i="1" u="none" strike="noStrike" cap="none">
                <a:solidFill>
                  <a:schemeClr val="dk1"/>
                </a:solidFill>
                <a:latin typeface="Arial"/>
                <a:ea typeface="Arial"/>
                <a:cs typeface="Arial"/>
                <a:sym typeface="Arial"/>
              </a:rPr>
              <a:t>¿A qué distancia hay más probabilidad de contagiarse? ¿Con qué frecuencia se dan contagios a 1, 2, 3 m?</a:t>
            </a:r>
            <a:endParaRPr sz="1400" b="0" i="1" u="none" strike="noStrike" cap="none">
              <a:solidFill>
                <a:schemeClr val="dk1"/>
              </a:solidFill>
              <a:latin typeface="Arial"/>
              <a:ea typeface="Arial"/>
              <a:cs typeface="Arial"/>
              <a:sym typeface="Arial"/>
            </a:endParaRPr>
          </a:p>
        </p:txBody>
      </p:sp>
      <p:sp>
        <p:nvSpPr>
          <p:cNvPr id="1567" name="Google Shape;1567;g7826bb8c5e_0_2991"/>
          <p:cNvSpPr txBox="1"/>
          <p:nvPr/>
        </p:nvSpPr>
        <p:spPr>
          <a:xfrm>
            <a:off x="335998" y="649092"/>
            <a:ext cx="11232600" cy="7221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2400"/>
              <a:buFont typeface="Playfair Display"/>
              <a:buNone/>
            </a:pPr>
            <a:r>
              <a:rPr lang="es-ES" sz="2400" b="1" i="0" u="none" strike="noStrike" cap="none">
                <a:solidFill>
                  <a:schemeClr val="dk1"/>
                </a:solidFill>
                <a:latin typeface="Playfair Display"/>
                <a:ea typeface="Playfair Display"/>
                <a:cs typeface="Playfair Display"/>
                <a:sym typeface="Playfair Display"/>
              </a:rPr>
              <a:t>Piloto: Aprendizaje</a:t>
            </a:r>
            <a:r>
              <a:rPr lang="es-ES" sz="2400" b="0" i="0" u="none" strike="noStrike" cap="none">
                <a:solidFill>
                  <a:schemeClr val="dk1"/>
                </a:solidFill>
                <a:latin typeface="Playfair Display"/>
                <a:ea typeface="Playfair Display"/>
                <a:cs typeface="Playfair Display"/>
                <a:sym typeface="Playfair Display"/>
              </a:rPr>
              <a:t>. Se propone un laboratorio de análisis epidemiológico en  función de resultados de la app*</a:t>
            </a:r>
            <a:endParaRPr sz="2400" b="0" i="0" u="none" strike="noStrike" cap="none">
              <a:solidFill>
                <a:schemeClr val="dk1"/>
              </a:solidFill>
              <a:latin typeface="Playfair Display"/>
              <a:ea typeface="Playfair Display"/>
              <a:cs typeface="Playfair Display"/>
              <a:sym typeface="Playfair Display"/>
            </a:endParaRPr>
          </a:p>
        </p:txBody>
      </p:sp>
      <p:sp>
        <p:nvSpPr>
          <p:cNvPr id="1568" name="Google Shape;1568;g7826bb8c5e_0_2991"/>
          <p:cNvSpPr txBox="1"/>
          <p:nvPr/>
        </p:nvSpPr>
        <p:spPr>
          <a:xfrm>
            <a:off x="1836100" y="6504675"/>
            <a:ext cx="8473200" cy="2154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00"/>
              <a:buFont typeface="Arial"/>
              <a:buNone/>
            </a:pPr>
            <a:r>
              <a:rPr lang="es-ES" sz="1300" b="0" i="0" u="none" strike="noStrike" cap="none">
                <a:solidFill>
                  <a:schemeClr val="dk1"/>
                </a:solidFill>
                <a:latin typeface="Arial"/>
                <a:ea typeface="Arial"/>
                <a:cs typeface="Arial"/>
                <a:sym typeface="Arial"/>
              </a:rPr>
              <a:t>* Requiere determinar datos a centralizar para el análisis epidemiológico por parte de autoridades sanitarias</a:t>
            </a:r>
            <a:endParaRPr sz="1300" b="0" i="0" u="none" strike="noStrike" cap="none">
              <a:solidFill>
                <a:schemeClr val="dk1"/>
              </a:solidFill>
              <a:latin typeface="Arial"/>
              <a:ea typeface="Arial"/>
              <a:cs typeface="Arial"/>
              <a:sym typeface="Arial"/>
            </a:endParaRPr>
          </a:p>
        </p:txBody>
      </p:sp>
      <p:sp>
        <p:nvSpPr>
          <p:cNvPr id="1569" name="Google Shape;1569;g7826bb8c5e_0_2991"/>
          <p:cNvSpPr txBox="1"/>
          <p:nvPr/>
        </p:nvSpPr>
        <p:spPr>
          <a:xfrm>
            <a:off x="336008" y="2705715"/>
            <a:ext cx="1947600" cy="5358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800"/>
              <a:buFont typeface="Arial"/>
              <a:buNone/>
            </a:pPr>
            <a:r>
              <a:rPr lang="es-ES" sz="1800" b="0" i="0" u="none" strike="noStrike" cap="none">
                <a:solidFill>
                  <a:schemeClr val="dk1"/>
                </a:solidFill>
                <a:latin typeface="Playfair Display"/>
                <a:ea typeface="Playfair Display"/>
                <a:cs typeface="Playfair Display"/>
                <a:sym typeface="Playfair Display"/>
              </a:rPr>
              <a:t>Servicios sanitarios</a:t>
            </a:r>
            <a:endParaRPr sz="1800" b="0" i="0" u="none" strike="noStrike" cap="none">
              <a:solidFill>
                <a:schemeClr val="dk1"/>
              </a:solidFill>
              <a:latin typeface="Playfair Display"/>
              <a:ea typeface="Playfair Display"/>
              <a:cs typeface="Playfair Display"/>
              <a:sym typeface="Playfair Display"/>
            </a:endParaRPr>
          </a:p>
        </p:txBody>
      </p:sp>
      <p:sp>
        <p:nvSpPr>
          <p:cNvPr id="1570" name="Google Shape;1570;g7826bb8c5e_0_2991"/>
          <p:cNvSpPr txBox="1"/>
          <p:nvPr/>
        </p:nvSpPr>
        <p:spPr>
          <a:xfrm>
            <a:off x="336008" y="5466153"/>
            <a:ext cx="1947600" cy="5358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800"/>
              <a:buFont typeface="Arial"/>
              <a:buNone/>
            </a:pPr>
            <a:r>
              <a:rPr lang="es-ES" sz="1800" b="0" i="0" u="none" strike="noStrike" cap="none">
                <a:solidFill>
                  <a:schemeClr val="dk1"/>
                </a:solidFill>
                <a:latin typeface="Playfair Display"/>
                <a:ea typeface="Playfair Display"/>
                <a:cs typeface="Playfair Display"/>
                <a:sym typeface="Playfair Display"/>
              </a:rPr>
              <a:t>Histórico </a:t>
            </a:r>
            <a:endParaRPr sz="1800" b="0" i="0" u="none" strike="noStrike" cap="none">
              <a:solidFill>
                <a:schemeClr val="dk1"/>
              </a:solidFill>
              <a:latin typeface="Playfair Display"/>
              <a:ea typeface="Playfair Display"/>
              <a:cs typeface="Playfair Display"/>
              <a:sym typeface="Playfair Display"/>
            </a:endParaRPr>
          </a:p>
          <a:p>
            <a:pPr marL="0" marR="0" lvl="0" indent="0" algn="ctr" rtl="0">
              <a:lnSpc>
                <a:spcPct val="100000"/>
              </a:lnSpc>
              <a:spcBef>
                <a:spcPts val="0"/>
              </a:spcBef>
              <a:spcAft>
                <a:spcPts val="0"/>
              </a:spcAft>
              <a:buClr>
                <a:srgbClr val="000000"/>
              </a:buClr>
              <a:buSzPts val="1800"/>
              <a:buFont typeface="Arial"/>
              <a:buNone/>
            </a:pPr>
            <a:r>
              <a:rPr lang="es-ES" sz="1800" b="0" i="1" u="none" strike="noStrike" cap="none">
                <a:solidFill>
                  <a:schemeClr val="dk1"/>
                </a:solidFill>
                <a:latin typeface="Playfair Display"/>
                <a:ea typeface="Playfair Display"/>
                <a:cs typeface="Playfair Display"/>
                <a:sym typeface="Playfair Display"/>
              </a:rPr>
              <a:t>contact tracing</a:t>
            </a:r>
            <a:endParaRPr sz="1800" b="0" i="1" u="none" strike="noStrike" cap="none">
              <a:solidFill>
                <a:schemeClr val="dk1"/>
              </a:solidFill>
              <a:latin typeface="Playfair Display"/>
              <a:ea typeface="Playfair Display"/>
              <a:cs typeface="Playfair Display"/>
              <a:sym typeface="Playfair Display"/>
            </a:endParaRPr>
          </a:p>
        </p:txBody>
      </p:sp>
      <p:sp>
        <p:nvSpPr>
          <p:cNvPr id="1571" name="Google Shape;1571;g7826bb8c5e_0_2991"/>
          <p:cNvSpPr/>
          <p:nvPr/>
        </p:nvSpPr>
        <p:spPr>
          <a:xfrm>
            <a:off x="6550000" y="3337125"/>
            <a:ext cx="621300" cy="535800"/>
          </a:xfrm>
          <a:prstGeom prst="rightArrow">
            <a:avLst>
              <a:gd name="adj1" fmla="val 50000"/>
              <a:gd name="adj2" fmla="val 50000"/>
            </a:avLst>
          </a:prstGeom>
          <a:solidFill>
            <a:srgbClr val="0C343D"/>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72" name="Google Shape;1572;g7826bb8c5e_0_2991"/>
          <p:cNvSpPr txBox="1"/>
          <p:nvPr/>
        </p:nvSpPr>
        <p:spPr>
          <a:xfrm>
            <a:off x="1913650" y="1897825"/>
            <a:ext cx="2530800" cy="535800"/>
          </a:xfrm>
          <a:prstGeom prst="rect">
            <a:avLst/>
          </a:prstGeom>
          <a:noFill/>
          <a:ln>
            <a:noFill/>
          </a:ln>
        </p:spPr>
        <p:txBody>
          <a:bodyPr spcFirstLastPara="1" wrap="square" lIns="91425" tIns="45700" rIns="91425" bIns="45700" anchor="t" anchorCtr="0">
            <a:noAutofit/>
          </a:bodyPr>
          <a:lstStyle/>
          <a:p>
            <a:pPr marL="457200" marR="0" lvl="0" indent="-317500" algn="l" rtl="0">
              <a:lnSpc>
                <a:spcPct val="100000"/>
              </a:lnSpc>
              <a:spcBef>
                <a:spcPts val="0"/>
              </a:spcBef>
              <a:spcAft>
                <a:spcPts val="0"/>
              </a:spcAft>
              <a:buClr>
                <a:schemeClr val="dk1"/>
              </a:buClr>
              <a:buSzPts val="1400"/>
              <a:buFont typeface="Arial"/>
              <a:buChar char="●"/>
            </a:pPr>
            <a:r>
              <a:rPr lang="es-ES" sz="1400" b="0" i="0" u="none" strike="noStrike" cap="none">
                <a:solidFill>
                  <a:schemeClr val="dk1"/>
                </a:solidFill>
                <a:latin typeface="Arial"/>
                <a:ea typeface="Arial"/>
                <a:cs typeface="Arial"/>
                <a:sym typeface="Arial"/>
              </a:rPr>
              <a:t>Reporte de </a:t>
            </a:r>
            <a:r>
              <a:rPr lang="es-ES" sz="1400" b="1" i="0" u="none" strike="noStrike" cap="none">
                <a:solidFill>
                  <a:schemeClr val="dk1"/>
                </a:solidFill>
                <a:latin typeface="Arial"/>
                <a:ea typeface="Arial"/>
                <a:cs typeface="Arial"/>
                <a:sym typeface="Arial"/>
              </a:rPr>
              <a:t>casos positivos</a:t>
            </a:r>
            <a:endParaRPr sz="1400" b="1" i="0" u="none" strike="noStrike" cap="none">
              <a:solidFill>
                <a:schemeClr val="dk1"/>
              </a:solidFill>
              <a:latin typeface="Arial"/>
              <a:ea typeface="Arial"/>
              <a:cs typeface="Arial"/>
              <a:sym typeface="Arial"/>
            </a:endParaRPr>
          </a:p>
          <a:p>
            <a:pPr marL="457200" marR="0" lvl="0" indent="-317500" algn="l" rtl="0">
              <a:lnSpc>
                <a:spcPct val="100000"/>
              </a:lnSpc>
              <a:spcBef>
                <a:spcPts val="0"/>
              </a:spcBef>
              <a:spcAft>
                <a:spcPts val="0"/>
              </a:spcAft>
              <a:buClr>
                <a:schemeClr val="dk1"/>
              </a:buClr>
              <a:buSzPts val="1400"/>
              <a:buFont typeface="Arial"/>
              <a:buChar char="●"/>
            </a:pPr>
            <a:r>
              <a:rPr lang="es-ES" sz="1400" b="0" i="0" u="none" strike="noStrike" cap="none">
                <a:solidFill>
                  <a:schemeClr val="dk1"/>
                </a:solidFill>
                <a:latin typeface="Arial"/>
                <a:ea typeface="Arial"/>
                <a:cs typeface="Arial"/>
                <a:sym typeface="Arial"/>
              </a:rPr>
              <a:t>Código </a:t>
            </a:r>
            <a:r>
              <a:rPr lang="es-ES" sz="1400" b="1" i="0" u="none" strike="noStrike" cap="none">
                <a:solidFill>
                  <a:schemeClr val="dk1"/>
                </a:solidFill>
                <a:latin typeface="Arial"/>
                <a:ea typeface="Arial"/>
                <a:cs typeface="Arial"/>
                <a:sym typeface="Arial"/>
              </a:rPr>
              <a:t>identificativo unívoco </a:t>
            </a:r>
            <a:r>
              <a:rPr lang="es-ES" sz="1400" b="0" i="0" u="none" strike="noStrike" cap="none">
                <a:solidFill>
                  <a:schemeClr val="dk1"/>
                </a:solidFill>
                <a:latin typeface="Arial"/>
                <a:ea typeface="Arial"/>
                <a:cs typeface="Arial"/>
                <a:sym typeface="Arial"/>
              </a:rPr>
              <a:t>de ciudadano</a:t>
            </a:r>
            <a:endParaRPr sz="1400" b="0" i="0" u="none" strike="noStrike" cap="none">
              <a:solidFill>
                <a:schemeClr val="dk1"/>
              </a:solidFill>
              <a:latin typeface="Arial"/>
              <a:ea typeface="Arial"/>
              <a:cs typeface="Arial"/>
              <a:sym typeface="Arial"/>
            </a:endParaRPr>
          </a:p>
        </p:txBody>
      </p:sp>
      <p:sp>
        <p:nvSpPr>
          <p:cNvPr id="1573" name="Google Shape;1573;g7826bb8c5e_0_2991"/>
          <p:cNvSpPr txBox="1"/>
          <p:nvPr/>
        </p:nvSpPr>
        <p:spPr>
          <a:xfrm>
            <a:off x="1913650" y="4576050"/>
            <a:ext cx="2530800" cy="1039500"/>
          </a:xfrm>
          <a:prstGeom prst="rect">
            <a:avLst/>
          </a:prstGeom>
          <a:noFill/>
          <a:ln>
            <a:noFill/>
          </a:ln>
        </p:spPr>
        <p:txBody>
          <a:bodyPr spcFirstLastPara="1" wrap="square" lIns="91425" tIns="45700" rIns="91425" bIns="45700" anchor="t" anchorCtr="0">
            <a:noAutofit/>
          </a:bodyPr>
          <a:lstStyle/>
          <a:p>
            <a:pPr marL="457200" marR="0" lvl="0" indent="-317500" algn="l" rtl="0">
              <a:lnSpc>
                <a:spcPct val="100000"/>
              </a:lnSpc>
              <a:spcBef>
                <a:spcPts val="0"/>
              </a:spcBef>
              <a:spcAft>
                <a:spcPts val="0"/>
              </a:spcAft>
              <a:buClr>
                <a:schemeClr val="dk1"/>
              </a:buClr>
              <a:buSzPts val="1400"/>
              <a:buFont typeface="Arial"/>
              <a:buChar char="●"/>
            </a:pPr>
            <a:r>
              <a:rPr lang="es-ES" sz="1400" b="0" i="0" u="none" strike="noStrike" cap="none">
                <a:solidFill>
                  <a:schemeClr val="dk1"/>
                </a:solidFill>
                <a:latin typeface="Arial"/>
                <a:ea typeface="Arial"/>
                <a:cs typeface="Arial"/>
                <a:sym typeface="Arial"/>
              </a:rPr>
              <a:t>Histórico de </a:t>
            </a:r>
            <a:r>
              <a:rPr lang="es-ES" sz="1400" b="1" i="0" u="none" strike="noStrike" cap="none">
                <a:solidFill>
                  <a:schemeClr val="dk1"/>
                </a:solidFill>
                <a:latin typeface="Arial"/>
                <a:ea typeface="Arial"/>
                <a:cs typeface="Arial"/>
                <a:sym typeface="Arial"/>
              </a:rPr>
              <a:t>interacciones Bluetooth</a:t>
            </a:r>
            <a:r>
              <a:rPr lang="es-ES" sz="1400" b="0" i="0" u="none" strike="noStrike" cap="none">
                <a:solidFill>
                  <a:schemeClr val="dk1"/>
                </a:solidFill>
                <a:latin typeface="Arial"/>
                <a:ea typeface="Arial"/>
                <a:cs typeface="Arial"/>
                <a:sym typeface="Arial"/>
              </a:rPr>
              <a:t> (</a:t>
            </a:r>
            <a:r>
              <a:rPr lang="es-ES" sz="1400" b="0" i="0" u="none" strike="noStrike" cap="none">
                <a:solidFill>
                  <a:srgbClr val="666666"/>
                </a:solidFill>
                <a:latin typeface="Arial"/>
                <a:ea typeface="Arial"/>
                <a:cs typeface="Arial"/>
                <a:sym typeface="Arial"/>
              </a:rPr>
              <a:t>distancia</a:t>
            </a:r>
            <a:r>
              <a:rPr lang="es-ES" sz="1400" b="0" i="0" u="none" strike="noStrike" cap="none">
                <a:solidFill>
                  <a:schemeClr val="dk1"/>
                </a:solidFill>
                <a:latin typeface="Arial"/>
                <a:ea typeface="Arial"/>
                <a:cs typeface="Arial"/>
                <a:sym typeface="Arial"/>
              </a:rPr>
              <a:t>, fecha)</a:t>
            </a:r>
            <a:endParaRPr sz="1400" b="0" i="0" u="none" strike="noStrike" cap="none">
              <a:solidFill>
                <a:schemeClr val="dk1"/>
              </a:solidFill>
              <a:latin typeface="Arial"/>
              <a:ea typeface="Arial"/>
              <a:cs typeface="Arial"/>
              <a:sym typeface="Arial"/>
            </a:endParaRPr>
          </a:p>
        </p:txBody>
      </p:sp>
      <p:cxnSp>
        <p:nvCxnSpPr>
          <p:cNvPr id="1574" name="Google Shape;1574;g7826bb8c5e_0_2991"/>
          <p:cNvCxnSpPr>
            <a:stCxn id="1572" idx="3"/>
            <a:endCxn id="1575" idx="0"/>
          </p:cNvCxnSpPr>
          <p:nvPr/>
        </p:nvCxnSpPr>
        <p:spPr>
          <a:xfrm>
            <a:off x="4444450" y="2165725"/>
            <a:ext cx="973800" cy="605100"/>
          </a:xfrm>
          <a:prstGeom prst="bentConnector2">
            <a:avLst/>
          </a:prstGeom>
          <a:noFill/>
          <a:ln w="19050" cap="flat" cmpd="sng">
            <a:solidFill>
              <a:schemeClr val="accent4"/>
            </a:solidFill>
            <a:prstDash val="solid"/>
            <a:round/>
            <a:headEnd type="none" w="sm" len="sm"/>
            <a:tailEnd type="triangle" w="med" len="med"/>
          </a:ln>
        </p:spPr>
      </p:cxnSp>
      <p:cxnSp>
        <p:nvCxnSpPr>
          <p:cNvPr id="1576" name="Google Shape;1576;g7826bb8c5e_0_2991"/>
          <p:cNvCxnSpPr>
            <a:stCxn id="1573" idx="3"/>
            <a:endCxn id="1565" idx="2"/>
          </p:cNvCxnSpPr>
          <p:nvPr/>
        </p:nvCxnSpPr>
        <p:spPr>
          <a:xfrm rot="10800000" flipH="1">
            <a:off x="4444450" y="4647600"/>
            <a:ext cx="973800" cy="448200"/>
          </a:xfrm>
          <a:prstGeom prst="bentConnector2">
            <a:avLst/>
          </a:prstGeom>
          <a:noFill/>
          <a:ln w="19050" cap="flat" cmpd="sng">
            <a:solidFill>
              <a:schemeClr val="accent4"/>
            </a:solidFill>
            <a:prstDash val="solid"/>
            <a:round/>
            <a:headEnd type="none" w="sm" len="sm"/>
            <a:tailEnd type="triangle" w="med" len="med"/>
          </a:ln>
        </p:spPr>
      </p:cxnSp>
      <p:sp>
        <p:nvSpPr>
          <p:cNvPr id="1577" name="Google Shape;1577;g7826bb8c5e_0_2991"/>
          <p:cNvSpPr/>
          <p:nvPr/>
        </p:nvSpPr>
        <p:spPr>
          <a:xfrm>
            <a:off x="7469701" y="1590013"/>
            <a:ext cx="4011000" cy="307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000"/>
              <a:buFont typeface="Arial"/>
              <a:buNone/>
            </a:pPr>
            <a:r>
              <a:rPr lang="es-ES" sz="2000" b="0" i="0" u="none" strike="noStrike" cap="none">
                <a:solidFill>
                  <a:schemeClr val="dk1"/>
                </a:solidFill>
                <a:latin typeface="Playfair Display"/>
                <a:ea typeface="Playfair Display"/>
                <a:cs typeface="Playfair Display"/>
                <a:sym typeface="Playfair Display"/>
              </a:rPr>
              <a:t>Reconocimiento de patrones</a:t>
            </a:r>
            <a:endParaRPr sz="2000" b="0" i="0" u="none" strike="noStrike" cap="none">
              <a:solidFill>
                <a:schemeClr val="dk1"/>
              </a:solidFill>
              <a:latin typeface="Playfair Display"/>
              <a:ea typeface="Playfair Display"/>
              <a:cs typeface="Playfair Display"/>
              <a:sym typeface="Playfair Display"/>
            </a:endParaRPr>
          </a:p>
        </p:txBody>
      </p:sp>
      <p:sp>
        <p:nvSpPr>
          <p:cNvPr id="1578" name="Google Shape;1578;g7826bb8c5e_0_2991"/>
          <p:cNvSpPr/>
          <p:nvPr/>
        </p:nvSpPr>
        <p:spPr>
          <a:xfrm>
            <a:off x="6550000" y="2086263"/>
            <a:ext cx="621300" cy="535800"/>
          </a:xfrm>
          <a:prstGeom prst="rightArrow">
            <a:avLst>
              <a:gd name="adj1" fmla="val 50000"/>
              <a:gd name="adj2" fmla="val 50000"/>
            </a:avLst>
          </a:prstGeom>
          <a:solidFill>
            <a:srgbClr val="0C343D"/>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79" name="Google Shape;1579;g7826bb8c5e_0_2991"/>
          <p:cNvSpPr/>
          <p:nvPr/>
        </p:nvSpPr>
        <p:spPr>
          <a:xfrm>
            <a:off x="6550000" y="4587963"/>
            <a:ext cx="621300" cy="535800"/>
          </a:xfrm>
          <a:prstGeom prst="rightArrow">
            <a:avLst>
              <a:gd name="adj1" fmla="val 50000"/>
              <a:gd name="adj2" fmla="val 50000"/>
            </a:avLst>
          </a:prstGeom>
          <a:solidFill>
            <a:srgbClr val="0C343D"/>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80" name="Google Shape;1580;g7826bb8c5e_0_2991"/>
          <p:cNvSpPr txBox="1"/>
          <p:nvPr/>
        </p:nvSpPr>
        <p:spPr>
          <a:xfrm>
            <a:off x="7469700" y="3228900"/>
            <a:ext cx="4385700" cy="535800"/>
          </a:xfrm>
          <a:prstGeom prst="rect">
            <a:avLst/>
          </a:prstGeom>
          <a:noFill/>
          <a:ln>
            <a:noFill/>
          </a:ln>
        </p:spPr>
        <p:txBody>
          <a:bodyPr spcFirstLastPara="1" wrap="square" lIns="91425" tIns="45700" rIns="91425" bIns="45700" anchor="t" anchorCtr="0">
            <a:noAutofit/>
          </a:bodyPr>
          <a:lstStyle/>
          <a:p>
            <a:pPr marL="457200" marR="0" lvl="0" indent="-317500" algn="l" rtl="0">
              <a:lnSpc>
                <a:spcPct val="100000"/>
              </a:lnSpc>
              <a:spcBef>
                <a:spcPts val="0"/>
              </a:spcBef>
              <a:spcAft>
                <a:spcPts val="0"/>
              </a:spcAft>
              <a:buClr>
                <a:schemeClr val="dk1"/>
              </a:buClr>
              <a:buSzPts val="1400"/>
              <a:buFont typeface="Arial"/>
              <a:buChar char="●"/>
            </a:pPr>
            <a:r>
              <a:rPr lang="es-ES" sz="1400" b="0" i="0" u="none" strike="noStrike" cap="none">
                <a:solidFill>
                  <a:schemeClr val="dk1"/>
                </a:solidFill>
                <a:latin typeface="Arial"/>
                <a:ea typeface="Arial"/>
                <a:cs typeface="Arial"/>
                <a:sym typeface="Arial"/>
              </a:rPr>
              <a:t>Fecha de la interacción. </a:t>
            </a:r>
            <a:r>
              <a:rPr lang="es-ES" sz="1400" b="0" i="1" u="none" strike="noStrike" cap="none">
                <a:solidFill>
                  <a:schemeClr val="dk1"/>
                </a:solidFill>
                <a:latin typeface="Arial"/>
                <a:ea typeface="Arial"/>
                <a:cs typeface="Arial"/>
                <a:sym typeface="Arial"/>
              </a:rPr>
              <a:t>¿Cuántos días antes del diagnóstico se ha contagiado cada nuevo caso?</a:t>
            </a:r>
            <a:endParaRPr sz="1400" b="0" i="1" u="none" strike="noStrike" cap="none">
              <a:solidFill>
                <a:schemeClr val="dk1"/>
              </a:solidFill>
              <a:latin typeface="Arial"/>
              <a:ea typeface="Arial"/>
              <a:cs typeface="Arial"/>
              <a:sym typeface="Arial"/>
            </a:endParaRPr>
          </a:p>
        </p:txBody>
      </p:sp>
      <p:sp>
        <p:nvSpPr>
          <p:cNvPr id="1581" name="Google Shape;1581;g7826bb8c5e_0_2991"/>
          <p:cNvSpPr txBox="1"/>
          <p:nvPr/>
        </p:nvSpPr>
        <p:spPr>
          <a:xfrm>
            <a:off x="7469700" y="4587975"/>
            <a:ext cx="4385700" cy="535800"/>
          </a:xfrm>
          <a:prstGeom prst="rect">
            <a:avLst/>
          </a:prstGeom>
          <a:noFill/>
          <a:ln>
            <a:noFill/>
          </a:ln>
        </p:spPr>
        <p:txBody>
          <a:bodyPr spcFirstLastPara="1" wrap="square" lIns="91425" tIns="45700" rIns="91425" bIns="45700" anchor="t" anchorCtr="0">
            <a:noAutofit/>
          </a:bodyPr>
          <a:lstStyle/>
          <a:p>
            <a:pPr marL="457200" marR="0" lvl="0" indent="-317500" algn="l" rtl="0">
              <a:lnSpc>
                <a:spcPct val="100000"/>
              </a:lnSpc>
              <a:spcBef>
                <a:spcPts val="0"/>
              </a:spcBef>
              <a:spcAft>
                <a:spcPts val="0"/>
              </a:spcAft>
              <a:buClr>
                <a:schemeClr val="dk1"/>
              </a:buClr>
              <a:buSzPts val="1400"/>
              <a:buFont typeface="Arial"/>
              <a:buChar char="●"/>
            </a:pPr>
            <a:r>
              <a:rPr lang="es-ES" sz="1400" b="0" i="0" u="none" strike="noStrike" cap="none">
                <a:solidFill>
                  <a:schemeClr val="dk1"/>
                </a:solidFill>
                <a:latin typeface="Arial"/>
                <a:ea typeface="Arial"/>
                <a:cs typeface="Arial"/>
                <a:sym typeface="Arial"/>
              </a:rPr>
              <a:t>Fecha y distancia de la interacción. </a:t>
            </a:r>
            <a:r>
              <a:rPr lang="es-ES" sz="1400" b="0" i="1" u="none" strike="noStrike" cap="none">
                <a:solidFill>
                  <a:schemeClr val="dk1"/>
                </a:solidFill>
                <a:latin typeface="Arial"/>
                <a:ea typeface="Arial"/>
                <a:cs typeface="Arial"/>
                <a:sym typeface="Arial"/>
              </a:rPr>
              <a:t>¿Cómo varía la carga vírica hacia otras personas según avanzan los días de incubación?</a:t>
            </a:r>
            <a:endParaRPr sz="1400" b="0" i="1" u="none" strike="noStrike" cap="none">
              <a:solidFill>
                <a:schemeClr val="dk1"/>
              </a:solidFill>
              <a:latin typeface="Arial"/>
              <a:ea typeface="Arial"/>
              <a:cs typeface="Arial"/>
              <a:sym typeface="Arial"/>
            </a:endParaRPr>
          </a:p>
        </p:txBody>
      </p:sp>
      <p:sp>
        <p:nvSpPr>
          <p:cNvPr id="1582" name="Google Shape;1582;g7826bb8c5e_0_2991"/>
          <p:cNvSpPr txBox="1">
            <a:spLocks noGrp="1"/>
          </p:cNvSpPr>
          <p:nvPr>
            <p:ph type="body" idx="1"/>
          </p:nvPr>
        </p:nvSpPr>
        <p:spPr>
          <a:xfrm>
            <a:off x="336000" y="128400"/>
            <a:ext cx="11519400" cy="251400"/>
          </a:xfrm>
          <a:prstGeom prst="rect">
            <a:avLst/>
          </a:prstGeom>
          <a:noFill/>
          <a:ln>
            <a:noFill/>
          </a:ln>
        </p:spPr>
        <p:txBody>
          <a:bodyPr spcFirstLastPara="1" wrap="square" lIns="0" tIns="45700" rIns="91425" bIns="45700" anchor="t" anchorCtr="0">
            <a:noAutofit/>
          </a:bodyPr>
          <a:lstStyle/>
          <a:p>
            <a:pPr marL="0" lvl="0" indent="0" algn="l" rtl="0">
              <a:lnSpc>
                <a:spcPct val="90000"/>
              </a:lnSpc>
              <a:spcBef>
                <a:spcPts val="0"/>
              </a:spcBef>
              <a:spcAft>
                <a:spcPts val="0"/>
              </a:spcAft>
              <a:buClr>
                <a:srgbClr val="1A3B47"/>
              </a:buClr>
              <a:buSzPts val="1400"/>
              <a:buNone/>
            </a:pPr>
            <a:r>
              <a:rPr lang="es-ES" sz="1400">
                <a:latin typeface="Playfair Display"/>
                <a:ea typeface="Playfair Display"/>
                <a:cs typeface="Playfair Display"/>
                <a:sym typeface="Playfair Display"/>
              </a:rPr>
              <a:t>Covid-19 app - Alcance y enfoque del trabajo propuesto</a:t>
            </a:r>
            <a:endParaRPr/>
          </a:p>
        </p:txBody>
      </p:sp>
      <p:pic>
        <p:nvPicPr>
          <p:cNvPr id="1575" name="Google Shape;1575;g7826bb8c5e_0_2991"/>
          <p:cNvPicPr preferRelativeResize="0"/>
          <p:nvPr/>
        </p:nvPicPr>
        <p:blipFill rotWithShape="1">
          <a:blip r:embed="rId3">
            <a:alphaModFix/>
          </a:blip>
          <a:srcRect/>
          <a:stretch/>
        </p:blipFill>
        <p:spPr>
          <a:xfrm>
            <a:off x="4818850" y="2770950"/>
            <a:ext cx="1198800" cy="1198800"/>
          </a:xfrm>
          <a:prstGeom prst="rect">
            <a:avLst/>
          </a:prstGeom>
          <a:noFill/>
          <a:ln>
            <a:noFill/>
          </a:ln>
        </p:spPr>
      </p:pic>
      <p:pic>
        <p:nvPicPr>
          <p:cNvPr id="1583" name="Google Shape;1583;g7826bb8c5e_0_2991"/>
          <p:cNvPicPr preferRelativeResize="0"/>
          <p:nvPr/>
        </p:nvPicPr>
        <p:blipFill rotWithShape="1">
          <a:blip r:embed="rId4">
            <a:alphaModFix/>
          </a:blip>
          <a:srcRect/>
          <a:stretch/>
        </p:blipFill>
        <p:spPr>
          <a:xfrm>
            <a:off x="888000" y="1797025"/>
            <a:ext cx="908700" cy="908700"/>
          </a:xfrm>
          <a:prstGeom prst="rect">
            <a:avLst/>
          </a:prstGeom>
          <a:noFill/>
          <a:ln>
            <a:noFill/>
          </a:ln>
        </p:spPr>
      </p:pic>
      <p:pic>
        <p:nvPicPr>
          <p:cNvPr id="1584" name="Google Shape;1584;g7826bb8c5e_0_2991"/>
          <p:cNvPicPr preferRelativeResize="0"/>
          <p:nvPr/>
        </p:nvPicPr>
        <p:blipFill rotWithShape="1">
          <a:blip r:embed="rId5">
            <a:alphaModFix/>
          </a:blip>
          <a:srcRect/>
          <a:stretch/>
        </p:blipFill>
        <p:spPr>
          <a:xfrm>
            <a:off x="822900" y="4384800"/>
            <a:ext cx="973800" cy="973800"/>
          </a:xfrm>
          <a:prstGeom prst="rect">
            <a:avLst/>
          </a:prstGeom>
          <a:noFill/>
          <a:ln>
            <a:noFill/>
          </a:ln>
        </p:spPr>
      </p:pic>
      <p:grpSp>
        <p:nvGrpSpPr>
          <p:cNvPr id="1585" name="Google Shape;1585;g7826bb8c5e_0_2991"/>
          <p:cNvGrpSpPr/>
          <p:nvPr/>
        </p:nvGrpSpPr>
        <p:grpSpPr>
          <a:xfrm>
            <a:off x="10992330" y="88959"/>
            <a:ext cx="1104735" cy="536493"/>
            <a:chOff x="508100" y="1640544"/>
            <a:chExt cx="11238400" cy="4620956"/>
          </a:xfrm>
        </p:grpSpPr>
        <p:grpSp>
          <p:nvGrpSpPr>
            <p:cNvPr id="1586" name="Google Shape;1586;g7826bb8c5e_0_2991"/>
            <p:cNvGrpSpPr/>
            <p:nvPr/>
          </p:nvGrpSpPr>
          <p:grpSpPr>
            <a:xfrm>
              <a:off x="508106" y="1640544"/>
              <a:ext cx="11232175" cy="21551"/>
              <a:chOff x="431923" y="1640499"/>
              <a:chExt cx="9605075" cy="31800"/>
            </a:xfrm>
          </p:grpSpPr>
          <p:cxnSp>
            <p:nvCxnSpPr>
              <p:cNvPr id="1587" name="Google Shape;1587;g7826bb8c5e_0_2991"/>
              <p:cNvCxnSpPr/>
              <p:nvPr/>
            </p:nvCxnSpPr>
            <p:spPr>
              <a:xfrm>
                <a:off x="431923" y="1640499"/>
                <a:ext cx="4651200" cy="15900"/>
              </a:xfrm>
              <a:prstGeom prst="straightConnector1">
                <a:avLst/>
              </a:prstGeom>
              <a:noFill/>
              <a:ln w="76200" cap="flat" cmpd="sng">
                <a:solidFill>
                  <a:srgbClr val="CCCCCC"/>
                </a:solidFill>
                <a:prstDash val="solid"/>
                <a:round/>
                <a:headEnd type="none" w="sm" len="sm"/>
                <a:tailEnd type="none" w="sm" len="sm"/>
              </a:ln>
            </p:spPr>
          </p:cxnSp>
          <p:cxnSp>
            <p:nvCxnSpPr>
              <p:cNvPr id="1588" name="Google Shape;1588;g7826bb8c5e_0_2991"/>
              <p:cNvCxnSpPr/>
              <p:nvPr/>
            </p:nvCxnSpPr>
            <p:spPr>
              <a:xfrm>
                <a:off x="5385798" y="1656399"/>
                <a:ext cx="4651200" cy="15900"/>
              </a:xfrm>
              <a:prstGeom prst="straightConnector1">
                <a:avLst/>
              </a:prstGeom>
              <a:noFill/>
              <a:ln w="76200" cap="flat" cmpd="sng">
                <a:solidFill>
                  <a:schemeClr val="accent2"/>
                </a:solidFill>
                <a:prstDash val="solid"/>
                <a:round/>
                <a:headEnd type="none" w="sm" len="sm"/>
                <a:tailEnd type="none" w="sm" len="sm"/>
              </a:ln>
            </p:spPr>
          </p:cxnSp>
        </p:grpSp>
        <p:sp>
          <p:nvSpPr>
            <p:cNvPr id="1589" name="Google Shape;1589;g7826bb8c5e_0_2991"/>
            <p:cNvSpPr/>
            <p:nvPr/>
          </p:nvSpPr>
          <p:spPr>
            <a:xfrm>
              <a:off x="508100" y="2035875"/>
              <a:ext cx="1390500" cy="4225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590" name="Google Shape;1590;g7826bb8c5e_0_2991"/>
            <p:cNvSpPr/>
            <p:nvPr/>
          </p:nvSpPr>
          <p:spPr>
            <a:xfrm>
              <a:off x="2132113" y="5255000"/>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591" name="Google Shape;1591;g7826bb8c5e_0_2991"/>
            <p:cNvSpPr/>
            <p:nvPr/>
          </p:nvSpPr>
          <p:spPr>
            <a:xfrm>
              <a:off x="2132113" y="3108917"/>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592" name="Google Shape;1592;g7826bb8c5e_0_2991"/>
            <p:cNvSpPr/>
            <p:nvPr/>
          </p:nvSpPr>
          <p:spPr>
            <a:xfrm>
              <a:off x="2132113" y="4181958"/>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593" name="Google Shape;1593;g7826bb8c5e_0_2991"/>
            <p:cNvSpPr/>
            <p:nvPr/>
          </p:nvSpPr>
          <p:spPr>
            <a:xfrm>
              <a:off x="6343925" y="2035875"/>
              <a:ext cx="5396400" cy="13503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594" name="Google Shape;1594;g7826bb8c5e_0_2991"/>
            <p:cNvSpPr/>
            <p:nvPr/>
          </p:nvSpPr>
          <p:spPr>
            <a:xfrm>
              <a:off x="6350100" y="3481700"/>
              <a:ext cx="5396400" cy="13521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595" name="Google Shape;1595;g7826bb8c5e_0_2991"/>
            <p:cNvSpPr/>
            <p:nvPr/>
          </p:nvSpPr>
          <p:spPr>
            <a:xfrm>
              <a:off x="6343925" y="4945700"/>
              <a:ext cx="5396400" cy="1315800"/>
            </a:xfrm>
            <a:prstGeom prst="rect">
              <a:avLst/>
            </a:prstGeom>
            <a:solidFill>
              <a:srgbClr val="FDEDE0"/>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sp>
          <p:nvSpPr>
            <p:cNvPr id="1596" name="Google Shape;1596;g7826bb8c5e_0_2991"/>
            <p:cNvSpPr/>
            <p:nvPr/>
          </p:nvSpPr>
          <p:spPr>
            <a:xfrm>
              <a:off x="2132113" y="2035875"/>
              <a:ext cx="3766200" cy="1006500"/>
            </a:xfrm>
            <a:prstGeom prst="rect">
              <a:avLst/>
            </a:prstGeom>
            <a:solidFill>
              <a:srgbClr val="EFEF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grpSp>
      <p:sp>
        <p:nvSpPr>
          <p:cNvPr id="1597" name="Google Shape;1597;g7826bb8c5e_0_2991"/>
          <p:cNvSpPr/>
          <p:nvPr/>
        </p:nvSpPr>
        <p:spPr>
          <a:xfrm rot="2131111">
            <a:off x="10631503" y="1588665"/>
            <a:ext cx="1251708" cy="310521"/>
          </a:xfrm>
          <a:prstGeom prst="rect">
            <a:avLst/>
          </a:prstGeom>
          <a:solidFill>
            <a:srgbClr val="F3F3F3"/>
          </a:solidFill>
          <a:ln w="9525" cap="flat" cmpd="sng">
            <a:solidFill>
              <a:srgbClr val="D9D9D9"/>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100"/>
              <a:buFont typeface="Arial"/>
              <a:buNone/>
            </a:pPr>
            <a:r>
              <a:rPr lang="es-ES" sz="1100" b="0" i="0" u="none" strike="noStrike" cap="none">
                <a:solidFill>
                  <a:srgbClr val="999999"/>
                </a:solidFill>
                <a:latin typeface="Arial"/>
                <a:ea typeface="Arial"/>
                <a:cs typeface="Arial"/>
                <a:sym typeface="Arial"/>
              </a:rPr>
              <a:t>Ilustrativo no exhaustivo</a:t>
            </a:r>
            <a:endParaRPr sz="1100" b="0" i="0" u="none" strike="noStrike" cap="none">
              <a:solidFill>
                <a:srgbClr val="999999"/>
              </a:solidFill>
              <a:latin typeface="Arial"/>
              <a:ea typeface="Arial"/>
              <a:cs typeface="Arial"/>
              <a:sym typeface="Arial"/>
            </a:endParaRP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602"/>
        <p:cNvGrpSpPr/>
        <p:nvPr/>
      </p:nvGrpSpPr>
      <p:grpSpPr>
        <a:xfrm>
          <a:off x="0" y="0"/>
          <a:ext cx="0" cy="0"/>
          <a:chOff x="0" y="0"/>
          <a:chExt cx="0" cy="0"/>
        </a:xfrm>
      </p:grpSpPr>
      <p:pic>
        <p:nvPicPr>
          <p:cNvPr id="1603" name="Google Shape;1603;g7826bb8c5e_0_970"/>
          <p:cNvPicPr preferRelativeResize="0"/>
          <p:nvPr/>
        </p:nvPicPr>
        <p:blipFill rotWithShape="1">
          <a:blip r:embed="rId3">
            <a:alphaModFix/>
          </a:blip>
          <a:srcRect/>
          <a:stretch/>
        </p:blipFill>
        <p:spPr>
          <a:xfrm>
            <a:off x="2" y="-1062149"/>
            <a:ext cx="12624729" cy="8614415"/>
          </a:xfrm>
          <a:prstGeom prst="rect">
            <a:avLst/>
          </a:prstGeom>
          <a:noFill/>
          <a:ln>
            <a:noFill/>
          </a:ln>
        </p:spPr>
      </p:pic>
      <p:sp>
        <p:nvSpPr>
          <p:cNvPr id="1604" name="Google Shape;1604;g7826bb8c5e_0_970"/>
          <p:cNvSpPr/>
          <p:nvPr/>
        </p:nvSpPr>
        <p:spPr>
          <a:xfrm flipH="1">
            <a:off x="7340520" y="3014134"/>
            <a:ext cx="5042573" cy="6889623"/>
          </a:xfrm>
          <a:custGeom>
            <a:avLst/>
            <a:gdLst/>
            <a:ahLst/>
            <a:cxnLst/>
            <a:rect l="l" t="t" r="r" b="b"/>
            <a:pathLst>
              <a:path w="3589020" h="5151120" extrusionOk="0">
                <a:moveTo>
                  <a:pt x="15240" y="5090160"/>
                </a:moveTo>
                <a:lnTo>
                  <a:pt x="15240" y="1021080"/>
                </a:lnTo>
                <a:lnTo>
                  <a:pt x="3589020" y="0"/>
                </a:lnTo>
                <a:lnTo>
                  <a:pt x="3589020" y="5151120"/>
                </a:lnTo>
                <a:lnTo>
                  <a:pt x="0" y="5151120"/>
                </a:lnTo>
                <a:lnTo>
                  <a:pt x="15240" y="5090160"/>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605" name="Google Shape;1605;g7826bb8c5e_0_970"/>
          <p:cNvSpPr/>
          <p:nvPr/>
        </p:nvSpPr>
        <p:spPr>
          <a:xfrm flipH="1">
            <a:off x="-115904" y="1576735"/>
            <a:ext cx="11926904" cy="8063624"/>
          </a:xfrm>
          <a:custGeom>
            <a:avLst/>
            <a:gdLst/>
            <a:ahLst/>
            <a:cxnLst/>
            <a:rect l="l" t="t" r="r" b="b"/>
            <a:pathLst>
              <a:path w="11069052" h="7483642" extrusionOk="0">
                <a:moveTo>
                  <a:pt x="0" y="3176337"/>
                </a:moveTo>
                <a:lnTo>
                  <a:pt x="11069052" y="0"/>
                </a:lnTo>
                <a:lnTo>
                  <a:pt x="11069052" y="7483642"/>
                </a:lnTo>
                <a:lnTo>
                  <a:pt x="10804358" y="7483642"/>
                </a:lnTo>
                <a:lnTo>
                  <a:pt x="0" y="7483642"/>
                </a:lnTo>
                <a:lnTo>
                  <a:pt x="0" y="3176337"/>
                </a:lnTo>
                <a:close/>
              </a:path>
            </a:pathLst>
          </a:cu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9"/>
              <a:buFont typeface="Arial"/>
              <a:buNone/>
            </a:pPr>
            <a:endParaRPr sz="2399" b="0" i="0" u="none" strike="noStrike" cap="none">
              <a:solidFill>
                <a:schemeClr val="lt1"/>
              </a:solidFill>
              <a:latin typeface="Arial"/>
              <a:ea typeface="Arial"/>
              <a:cs typeface="Arial"/>
              <a:sym typeface="Arial"/>
            </a:endParaRPr>
          </a:p>
        </p:txBody>
      </p:sp>
      <p:sp>
        <p:nvSpPr>
          <p:cNvPr id="1606" name="Google Shape;1606;g7826bb8c5e_0_970"/>
          <p:cNvSpPr txBox="1"/>
          <p:nvPr/>
        </p:nvSpPr>
        <p:spPr>
          <a:xfrm>
            <a:off x="527382" y="2244463"/>
            <a:ext cx="3734700" cy="202170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lt1"/>
              </a:buClr>
              <a:buSzPts val="10666"/>
              <a:buFont typeface="Arial"/>
              <a:buNone/>
            </a:pPr>
            <a:r>
              <a:rPr lang="es-ES" sz="10666">
                <a:solidFill>
                  <a:schemeClr val="lt1"/>
                </a:solidFill>
                <a:latin typeface="Playfair Display"/>
                <a:ea typeface="Playfair Display"/>
                <a:cs typeface="Playfair Display"/>
                <a:sym typeface="Playfair Display"/>
              </a:rPr>
              <a:t>b</a:t>
            </a:r>
            <a:endParaRPr sz="1400" b="0" i="0" u="none" strike="noStrike" cap="none">
              <a:solidFill>
                <a:srgbClr val="000000"/>
              </a:solidFill>
              <a:latin typeface="Arial"/>
              <a:ea typeface="Arial"/>
              <a:cs typeface="Arial"/>
              <a:sym typeface="Arial"/>
            </a:endParaRPr>
          </a:p>
        </p:txBody>
      </p:sp>
      <p:sp>
        <p:nvSpPr>
          <p:cNvPr id="1607" name="Google Shape;1607;g7826bb8c5e_0_970"/>
          <p:cNvSpPr txBox="1"/>
          <p:nvPr/>
        </p:nvSpPr>
        <p:spPr>
          <a:xfrm>
            <a:off x="613124" y="3834300"/>
            <a:ext cx="4022700" cy="485700"/>
          </a:xfrm>
          <a:prstGeom prst="rect">
            <a:avLst/>
          </a:prstGeom>
          <a:noFill/>
          <a:ln>
            <a:noFill/>
          </a:ln>
        </p:spPr>
        <p:txBody>
          <a:bodyPr spcFirstLastPara="1" wrap="square" lIns="121900" tIns="60950" rIns="121900" bIns="60950" anchor="t" anchorCtr="0">
            <a:noAutofit/>
          </a:bodyPr>
          <a:lstStyle/>
          <a:p>
            <a:pPr marL="0" marR="0" lvl="0" indent="0" algn="l" rtl="0">
              <a:lnSpc>
                <a:spcPct val="80000"/>
              </a:lnSpc>
              <a:spcBef>
                <a:spcPts val="0"/>
              </a:spcBef>
              <a:spcAft>
                <a:spcPts val="0"/>
              </a:spcAft>
              <a:buClr>
                <a:srgbClr val="000000"/>
              </a:buClr>
              <a:buSzPts val="3733"/>
              <a:buFont typeface="Arial"/>
              <a:buNone/>
            </a:pPr>
            <a:r>
              <a:rPr lang="es-ES" sz="3733" b="0" i="0" u="none" strike="noStrike" cap="none">
                <a:solidFill>
                  <a:srgbClr val="FFFFFF"/>
                </a:solidFill>
                <a:latin typeface="Playfair Display"/>
                <a:ea typeface="Playfair Display"/>
                <a:cs typeface="Playfair Display"/>
                <a:sym typeface="Playfair Display"/>
              </a:rPr>
              <a:t>Calendario y equipo de trabajo</a:t>
            </a:r>
            <a:endParaRPr sz="1400" b="0" i="0" u="none" strike="noStrike" cap="none">
              <a:solidFill>
                <a:srgbClr val="000000"/>
              </a:solidFill>
              <a:latin typeface="Arial"/>
              <a:ea typeface="Arial"/>
              <a:cs typeface="Arial"/>
              <a:sym typeface="Arial"/>
            </a:endParaRPr>
          </a:p>
        </p:txBody>
      </p:sp>
      <p:sp>
        <p:nvSpPr>
          <p:cNvPr id="1608" name="Google Shape;1608;g7826bb8c5e_0_970"/>
          <p:cNvSpPr/>
          <p:nvPr/>
        </p:nvSpPr>
        <p:spPr>
          <a:xfrm>
            <a:off x="636125" y="4536315"/>
            <a:ext cx="5587800" cy="412500"/>
          </a:xfrm>
          <a:prstGeom prst="rect">
            <a:avLst/>
          </a:prstGeom>
          <a:noFill/>
          <a:ln>
            <a:noFill/>
          </a:ln>
        </p:spPr>
        <p:txBody>
          <a:bodyPr spcFirstLastPara="1" wrap="square" lIns="91425" tIns="45700" rIns="91425" bIns="45700" anchor="t" anchorCtr="0">
            <a:noAutofit/>
          </a:bodyPr>
          <a:lstStyle/>
          <a:p>
            <a:pPr marL="0" marR="0" lvl="0" indent="0" algn="l" rtl="0">
              <a:lnSpc>
                <a:spcPct val="130000"/>
              </a:lnSpc>
              <a:spcBef>
                <a:spcPts val="0"/>
              </a:spcBef>
              <a:spcAft>
                <a:spcPts val="0"/>
              </a:spcAft>
              <a:buClr>
                <a:srgbClr val="000000"/>
              </a:buClr>
              <a:buSzPts val="1600"/>
              <a:buFont typeface="Arial"/>
              <a:buNone/>
            </a:pPr>
            <a:r>
              <a:rPr lang="es-ES" sz="1600" b="0" i="0" u="none" strike="noStrike" cap="none">
                <a:solidFill>
                  <a:srgbClr val="FFFFFF"/>
                </a:solidFill>
                <a:latin typeface="Arial"/>
                <a:ea typeface="Arial"/>
                <a:cs typeface="Arial"/>
                <a:sym typeface="Arial"/>
              </a:rPr>
              <a:t>___</a:t>
            </a:r>
            <a:endParaRPr sz="1400" b="0" i="0" u="none" strike="noStrike" cap="none">
              <a:solidFill>
                <a:srgbClr val="000000"/>
              </a:solidFill>
              <a:latin typeface="Arial"/>
              <a:ea typeface="Arial"/>
              <a:cs typeface="Arial"/>
              <a:sym typeface="Arial"/>
            </a:endParaRP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612"/>
        <p:cNvGrpSpPr/>
        <p:nvPr/>
      </p:nvGrpSpPr>
      <p:grpSpPr>
        <a:xfrm>
          <a:off x="0" y="0"/>
          <a:ext cx="0" cy="0"/>
          <a:chOff x="0" y="0"/>
          <a:chExt cx="0" cy="0"/>
        </a:xfrm>
      </p:grpSpPr>
      <p:sp>
        <p:nvSpPr>
          <p:cNvPr id="1614" name="Google Shape;1614;p5"/>
          <p:cNvSpPr txBox="1">
            <a:spLocks noGrp="1"/>
          </p:cNvSpPr>
          <p:nvPr>
            <p:ph type="title"/>
          </p:nvPr>
        </p:nvSpPr>
        <p:spPr>
          <a:xfrm>
            <a:off x="336000" y="649095"/>
            <a:ext cx="11519451" cy="919343"/>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1"/>
              </a:buClr>
              <a:buSzPts val="2400"/>
              <a:buFont typeface="Playfair Display"/>
              <a:buNone/>
            </a:pPr>
            <a:r>
              <a:rPr lang="es-ES"/>
              <a:t>Metodología iterativa: flexibilidad y contraste de hipótesis ante un entorno incierto</a:t>
            </a:r>
            <a:endParaRPr/>
          </a:p>
        </p:txBody>
      </p:sp>
      <p:sp>
        <p:nvSpPr>
          <p:cNvPr id="1629" name="Google Shape;1629;p5"/>
          <p:cNvSpPr txBox="1">
            <a:spLocks noGrp="1"/>
          </p:cNvSpPr>
          <p:nvPr>
            <p:ph type="body" idx="1"/>
          </p:nvPr>
        </p:nvSpPr>
        <p:spPr>
          <a:xfrm>
            <a:off x="336000" y="128400"/>
            <a:ext cx="11519400" cy="251400"/>
          </a:xfrm>
          <a:prstGeom prst="rect">
            <a:avLst/>
          </a:prstGeom>
          <a:noFill/>
          <a:ln>
            <a:noFill/>
          </a:ln>
        </p:spPr>
        <p:txBody>
          <a:bodyPr spcFirstLastPara="1" wrap="square" lIns="0" tIns="45700" rIns="91425" bIns="45700" anchor="t" anchorCtr="0">
            <a:noAutofit/>
          </a:bodyPr>
          <a:lstStyle/>
          <a:p>
            <a:pPr marL="0" lvl="0" indent="0" algn="l" rtl="0">
              <a:lnSpc>
                <a:spcPct val="90000"/>
              </a:lnSpc>
              <a:spcBef>
                <a:spcPts val="0"/>
              </a:spcBef>
              <a:spcAft>
                <a:spcPts val="0"/>
              </a:spcAft>
              <a:buClr>
                <a:srgbClr val="1A3B47"/>
              </a:buClr>
              <a:buSzPts val="1400"/>
              <a:buNone/>
            </a:pPr>
            <a:r>
              <a:rPr lang="es-ES" sz="1400">
                <a:latin typeface="Playfair Display"/>
                <a:ea typeface="Playfair Display"/>
                <a:cs typeface="Playfair Display"/>
                <a:sym typeface="Playfair Display"/>
              </a:rPr>
              <a:t>Covid-19 app - Calendario y equipo de trabajo</a:t>
            </a:r>
            <a:endParaRPr/>
          </a:p>
        </p:txBody>
      </p:sp>
      <p:sp>
        <p:nvSpPr>
          <p:cNvPr id="34" name="Google Shape;456;g8055afce9b_0_707"/>
          <p:cNvSpPr/>
          <p:nvPr/>
        </p:nvSpPr>
        <p:spPr>
          <a:xfrm flipH="1">
            <a:off x="7451374" y="2448997"/>
            <a:ext cx="4881313" cy="4694026"/>
          </a:xfrm>
          <a:custGeom>
            <a:avLst/>
            <a:gdLst/>
            <a:ahLst/>
            <a:cxnLst/>
            <a:rect l="l" t="t" r="r" b="b"/>
            <a:pathLst>
              <a:path w="2173" h="963" extrusionOk="0">
                <a:moveTo>
                  <a:pt x="2173" y="963"/>
                </a:moveTo>
                <a:lnTo>
                  <a:pt x="2173" y="0"/>
                </a:lnTo>
                <a:lnTo>
                  <a:pt x="0" y="0"/>
                </a:lnTo>
              </a:path>
            </a:pathLst>
          </a:custGeom>
          <a:solidFill>
            <a:srgbClr val="E3F3EF"/>
          </a:solidFill>
          <a:ln w="22225" cap="flat" cmpd="sng">
            <a:solidFill>
              <a:schemeClr val="accent4"/>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799"/>
              <a:buFont typeface="Arial"/>
              <a:buNone/>
            </a:pPr>
            <a:endParaRPr sz="1799" b="0" i="0" u="none" strike="noStrike" cap="none">
              <a:solidFill>
                <a:schemeClr val="dk1"/>
              </a:solidFill>
              <a:latin typeface="Arial"/>
              <a:ea typeface="Arial"/>
              <a:cs typeface="Arial"/>
              <a:sym typeface="Arial"/>
            </a:endParaRPr>
          </a:p>
        </p:txBody>
      </p:sp>
      <p:sp>
        <p:nvSpPr>
          <p:cNvPr id="35" name="Google Shape;457;g8055afce9b_0_707"/>
          <p:cNvSpPr/>
          <p:nvPr/>
        </p:nvSpPr>
        <p:spPr>
          <a:xfrm>
            <a:off x="8181124" y="1969095"/>
            <a:ext cx="1907700" cy="307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000"/>
              <a:buFont typeface="Arial"/>
              <a:buNone/>
            </a:pPr>
            <a:r>
              <a:rPr lang="es-ES" sz="2000" b="0" i="0" u="none" strike="noStrike" cap="none">
                <a:solidFill>
                  <a:schemeClr val="dk1"/>
                </a:solidFill>
                <a:latin typeface="Playfair Display"/>
                <a:ea typeface="Playfair Display"/>
                <a:cs typeface="Playfair Display"/>
                <a:sym typeface="Playfair Display"/>
              </a:rPr>
              <a:t>Líneas de acción</a:t>
            </a:r>
            <a:endParaRPr sz="2000" b="0" i="0" u="none" strike="noStrike" cap="none">
              <a:solidFill>
                <a:schemeClr val="dk1"/>
              </a:solidFill>
              <a:latin typeface="Playfair Display"/>
              <a:ea typeface="Playfair Display"/>
              <a:cs typeface="Playfair Display"/>
              <a:sym typeface="Playfair Display"/>
            </a:endParaRPr>
          </a:p>
        </p:txBody>
      </p:sp>
      <p:sp>
        <p:nvSpPr>
          <p:cNvPr id="36" name="Google Shape;458;g8055afce9b_0_707"/>
          <p:cNvSpPr/>
          <p:nvPr/>
        </p:nvSpPr>
        <p:spPr>
          <a:xfrm>
            <a:off x="7766627" y="2620513"/>
            <a:ext cx="3987300" cy="3908700"/>
          </a:xfrm>
          <a:prstGeom prst="rect">
            <a:avLst/>
          </a:prstGeom>
          <a:noFill/>
          <a:ln>
            <a:noFill/>
          </a:ln>
        </p:spPr>
        <p:txBody>
          <a:bodyPr spcFirstLastPara="1" wrap="square" lIns="0" tIns="0" rIns="0" bIns="0" anchor="t" anchorCtr="0">
            <a:noAutofit/>
          </a:bodyPr>
          <a:lstStyle/>
          <a:p>
            <a:pPr marL="1587" marR="0" lvl="1" indent="0" algn="l" rtl="0">
              <a:lnSpc>
                <a:spcPct val="100000"/>
              </a:lnSpc>
              <a:spcBef>
                <a:spcPts val="0"/>
              </a:spcBef>
              <a:spcAft>
                <a:spcPts val="0"/>
              </a:spcAft>
              <a:buClr>
                <a:schemeClr val="dk1"/>
              </a:buClr>
              <a:buSzPts val="1100"/>
              <a:buFont typeface="Arial"/>
              <a:buNone/>
            </a:pPr>
            <a:r>
              <a:rPr lang="es-ES" sz="1100" b="0" i="0" u="none" strike="noStrike" cap="none" dirty="0">
                <a:solidFill>
                  <a:schemeClr val="dk1"/>
                </a:solidFill>
                <a:latin typeface="Arial"/>
                <a:ea typeface="Arial"/>
                <a:cs typeface="Arial"/>
                <a:sym typeface="Arial"/>
              </a:rPr>
              <a:t>Tanto el diseño y creación del MVP como su posterior evolución funcional se desarrollará en función de estas líneas de acción:</a:t>
            </a:r>
            <a:endParaRPr sz="1100" b="1" i="0" u="none" strike="noStrike" cap="none" dirty="0">
              <a:solidFill>
                <a:schemeClr val="dk1"/>
              </a:solidFill>
              <a:latin typeface="Arial"/>
              <a:ea typeface="Arial"/>
              <a:cs typeface="Arial"/>
              <a:sym typeface="Arial"/>
            </a:endParaRPr>
          </a:p>
          <a:p>
            <a:pPr marL="344487" marR="0" lvl="1" indent="-342900" algn="l" rtl="0">
              <a:lnSpc>
                <a:spcPct val="100000"/>
              </a:lnSpc>
              <a:spcBef>
                <a:spcPts val="600"/>
              </a:spcBef>
              <a:spcAft>
                <a:spcPts val="0"/>
              </a:spcAft>
              <a:buClr>
                <a:schemeClr val="dk1"/>
              </a:buClr>
              <a:buSzPts val="1200"/>
              <a:buFont typeface="Playfair Display"/>
              <a:buAutoNum type="arabicPeriod"/>
            </a:pPr>
            <a:r>
              <a:rPr lang="es-ES" sz="1200" b="1" i="0" u="none" strike="noStrike" cap="none" dirty="0">
                <a:solidFill>
                  <a:schemeClr val="dk1"/>
                </a:solidFill>
                <a:latin typeface="Arial"/>
                <a:ea typeface="Arial"/>
                <a:cs typeface="Arial"/>
                <a:sym typeface="Arial"/>
              </a:rPr>
              <a:t>Optimización de la privacidad/seguridad</a:t>
            </a:r>
            <a:r>
              <a:rPr lang="es-ES" sz="1200" b="0" i="0" u="none" strike="noStrike" cap="none" dirty="0">
                <a:solidFill>
                  <a:schemeClr val="dk1"/>
                </a:solidFill>
                <a:latin typeface="Arial"/>
                <a:ea typeface="Arial"/>
                <a:cs typeface="Arial"/>
                <a:sym typeface="Arial"/>
              </a:rPr>
              <a:t>. </a:t>
            </a:r>
            <a:r>
              <a:rPr lang="es-ES" sz="1100" b="0" i="0" u="none" strike="noStrike" cap="none" dirty="0">
                <a:solidFill>
                  <a:schemeClr val="dk1"/>
                </a:solidFill>
                <a:latin typeface="Arial"/>
                <a:ea typeface="Arial"/>
                <a:cs typeface="Arial"/>
                <a:sym typeface="Arial"/>
              </a:rPr>
              <a:t>Evitar almacenar datos personales del usuario, especialmente los que sean identificativos, y asegurar políticas de protección de los datos y robustez</a:t>
            </a:r>
            <a:endParaRPr sz="1400" b="0" i="0" u="none" strike="sngStrike" cap="none" dirty="0">
              <a:solidFill>
                <a:schemeClr val="dk1"/>
              </a:solidFill>
              <a:latin typeface="Arial"/>
              <a:ea typeface="Arial"/>
              <a:cs typeface="Arial"/>
              <a:sym typeface="Arial"/>
            </a:endParaRPr>
          </a:p>
          <a:p>
            <a:pPr marL="344487" marR="0" lvl="1" indent="-342900" algn="l" rtl="0">
              <a:lnSpc>
                <a:spcPct val="100000"/>
              </a:lnSpc>
              <a:spcBef>
                <a:spcPts val="600"/>
              </a:spcBef>
              <a:spcAft>
                <a:spcPts val="0"/>
              </a:spcAft>
              <a:buClr>
                <a:schemeClr val="dk1"/>
              </a:buClr>
              <a:buSzPts val="1200"/>
              <a:buFont typeface="Playfair Display"/>
              <a:buAutoNum type="arabicPeriod"/>
            </a:pPr>
            <a:r>
              <a:rPr lang="es-ES" sz="1200" b="1" i="0" u="none" strike="noStrike" cap="none" dirty="0">
                <a:solidFill>
                  <a:schemeClr val="dk1"/>
                </a:solidFill>
                <a:latin typeface="Arial"/>
                <a:ea typeface="Arial"/>
                <a:cs typeface="Arial"/>
                <a:sym typeface="Arial"/>
              </a:rPr>
              <a:t>Optimización de la adopción</a:t>
            </a:r>
            <a:r>
              <a:rPr lang="es-ES" sz="1200" b="0" i="0" u="none" strike="noStrike" cap="none" dirty="0">
                <a:solidFill>
                  <a:schemeClr val="dk1"/>
                </a:solidFill>
                <a:latin typeface="Arial"/>
                <a:ea typeface="Arial"/>
                <a:cs typeface="Arial"/>
                <a:sym typeface="Arial"/>
              </a:rPr>
              <a:t>. </a:t>
            </a:r>
            <a:r>
              <a:rPr lang="es-ES" sz="1100" b="0" i="0" u="none" strike="noStrike" cap="none" dirty="0">
                <a:solidFill>
                  <a:schemeClr val="dk1"/>
                </a:solidFill>
                <a:latin typeface="Arial"/>
                <a:ea typeface="Arial"/>
                <a:cs typeface="Arial"/>
                <a:sym typeface="Arial"/>
              </a:rPr>
              <a:t>De cara a maximizar su efectividad, la aplicación depende del efecto red, que se impulsará </a:t>
            </a:r>
            <a:r>
              <a:rPr lang="es-ES" sz="1100" b="0" i="0" u="none" strike="noStrike" cap="none" dirty="0" smtClean="0">
                <a:solidFill>
                  <a:schemeClr val="dk1"/>
                </a:solidFill>
                <a:latin typeface="Arial"/>
                <a:ea typeface="Arial"/>
                <a:cs typeface="Arial"/>
                <a:sym typeface="Arial"/>
              </a:rPr>
              <a:t>mediante </a:t>
            </a:r>
            <a:r>
              <a:rPr lang="es-ES" sz="1100" i="0" u="none" strike="noStrike" cap="none" dirty="0" smtClean="0">
                <a:solidFill>
                  <a:schemeClr val="dk1"/>
                </a:solidFill>
                <a:latin typeface="Arial"/>
                <a:ea typeface="Arial"/>
                <a:cs typeface="Arial"/>
                <a:sym typeface="Arial"/>
              </a:rPr>
              <a:t>estrategia de </a:t>
            </a:r>
            <a:r>
              <a:rPr lang="es-ES" sz="1100" i="0" u="none" strike="noStrike" cap="none" dirty="0" err="1" smtClean="0">
                <a:solidFill>
                  <a:schemeClr val="dk1"/>
                </a:solidFill>
                <a:latin typeface="Arial"/>
                <a:ea typeface="Arial"/>
                <a:cs typeface="Arial"/>
                <a:sym typeface="Arial"/>
              </a:rPr>
              <a:t>User</a:t>
            </a:r>
            <a:r>
              <a:rPr lang="es-ES" sz="1100" i="0" u="none" strike="noStrike" cap="none" dirty="0" smtClean="0">
                <a:solidFill>
                  <a:schemeClr val="dk1"/>
                </a:solidFill>
                <a:latin typeface="Arial"/>
                <a:ea typeface="Arial"/>
                <a:cs typeface="Arial"/>
                <a:sym typeface="Arial"/>
              </a:rPr>
              <a:t> Experience</a:t>
            </a:r>
          </a:p>
          <a:p>
            <a:pPr marL="344487" marR="0" lvl="1" indent="-342900" algn="l" rtl="0">
              <a:lnSpc>
                <a:spcPct val="100000"/>
              </a:lnSpc>
              <a:spcBef>
                <a:spcPts val="600"/>
              </a:spcBef>
              <a:spcAft>
                <a:spcPts val="0"/>
              </a:spcAft>
              <a:buClr>
                <a:schemeClr val="dk1"/>
              </a:buClr>
              <a:buSzPts val="1200"/>
              <a:buFont typeface="Playfair Display"/>
              <a:buAutoNum type="arabicPeriod" startAt="3"/>
            </a:pPr>
            <a:r>
              <a:rPr lang="es-ES" sz="1200" b="1" i="0" u="none" strike="noStrike" cap="none" dirty="0" smtClean="0">
                <a:solidFill>
                  <a:schemeClr val="dk1"/>
                </a:solidFill>
                <a:latin typeface="Arial"/>
                <a:ea typeface="Arial"/>
                <a:cs typeface="Arial"/>
                <a:sym typeface="Arial"/>
              </a:rPr>
              <a:t>Optimización </a:t>
            </a:r>
            <a:r>
              <a:rPr lang="es-ES" sz="1200" b="1" i="0" u="none" strike="noStrike" cap="none" dirty="0">
                <a:solidFill>
                  <a:schemeClr val="dk1"/>
                </a:solidFill>
                <a:latin typeface="Arial"/>
                <a:ea typeface="Arial"/>
                <a:cs typeface="Arial"/>
                <a:sym typeface="Arial"/>
              </a:rPr>
              <a:t>de la capacidad de aprendizaje</a:t>
            </a:r>
            <a:r>
              <a:rPr lang="es-ES" sz="1200" b="0" i="0" u="none" strike="noStrike" cap="none" dirty="0">
                <a:solidFill>
                  <a:schemeClr val="dk1"/>
                </a:solidFill>
                <a:latin typeface="Arial"/>
                <a:ea typeface="Arial"/>
                <a:cs typeface="Arial"/>
                <a:sym typeface="Arial"/>
              </a:rPr>
              <a:t>. </a:t>
            </a:r>
            <a:r>
              <a:rPr lang="es-ES" sz="1100" b="0" i="0" u="none" strike="noStrike" cap="none" dirty="0">
                <a:solidFill>
                  <a:schemeClr val="dk1"/>
                </a:solidFill>
                <a:latin typeface="Arial"/>
                <a:ea typeface="Arial"/>
                <a:cs typeface="Arial"/>
                <a:sym typeface="Arial"/>
              </a:rPr>
              <a:t>Laboratorio de análisis epidemiológico en  función de resultados de la app*</a:t>
            </a:r>
            <a:endParaRPr sz="1100" b="0" i="0" u="none" strike="noStrike" cap="none" dirty="0">
              <a:solidFill>
                <a:schemeClr val="dk1"/>
              </a:solidFill>
              <a:latin typeface="Arial"/>
              <a:ea typeface="Arial"/>
              <a:cs typeface="Arial"/>
              <a:sym typeface="Arial"/>
            </a:endParaRPr>
          </a:p>
          <a:p>
            <a:pPr marL="344487" marR="0" lvl="1" indent="-342900" algn="l" rtl="0">
              <a:lnSpc>
                <a:spcPct val="100000"/>
              </a:lnSpc>
              <a:spcBef>
                <a:spcPts val="600"/>
              </a:spcBef>
              <a:spcAft>
                <a:spcPts val="0"/>
              </a:spcAft>
              <a:buClr>
                <a:schemeClr val="dk1"/>
              </a:buClr>
              <a:buSzPts val="1200"/>
              <a:buFont typeface="Playfair Display"/>
              <a:buAutoNum type="arabicPeriod" startAt="3"/>
            </a:pPr>
            <a:r>
              <a:rPr lang="es-ES" sz="1200" b="1" i="0" u="none" strike="noStrike" cap="none" dirty="0">
                <a:solidFill>
                  <a:schemeClr val="dk1"/>
                </a:solidFill>
                <a:latin typeface="Arial"/>
                <a:ea typeface="Arial"/>
                <a:cs typeface="Arial"/>
                <a:sym typeface="Arial"/>
              </a:rPr>
              <a:t>Optimización de la interoperabilidad</a:t>
            </a:r>
            <a:r>
              <a:rPr lang="es-ES" sz="1200" b="0" i="0" u="none" strike="noStrike" cap="none" dirty="0">
                <a:solidFill>
                  <a:schemeClr val="dk1"/>
                </a:solidFill>
                <a:latin typeface="Arial"/>
                <a:ea typeface="Arial"/>
                <a:cs typeface="Arial"/>
                <a:sym typeface="Arial"/>
              </a:rPr>
              <a:t>. </a:t>
            </a:r>
            <a:r>
              <a:rPr lang="es-ES" sz="1100" b="0" i="0" u="none" strike="noStrike" cap="none" dirty="0">
                <a:solidFill>
                  <a:schemeClr val="dk1"/>
                </a:solidFill>
                <a:latin typeface="Arial"/>
                <a:ea typeface="Arial"/>
                <a:cs typeface="Arial"/>
                <a:sym typeface="Arial"/>
              </a:rPr>
              <a:t>Para maximizar su valor añadido, la evolución de la app contemplará siempre la compatibilidad con otras soluciones europeas</a:t>
            </a:r>
            <a:endParaRPr sz="1100" b="0" i="0" u="none" strike="noStrike" cap="none" dirty="0">
              <a:solidFill>
                <a:schemeClr val="dk1"/>
              </a:solidFill>
              <a:latin typeface="Arial"/>
              <a:ea typeface="Arial"/>
              <a:cs typeface="Arial"/>
              <a:sym typeface="Arial"/>
            </a:endParaRPr>
          </a:p>
        </p:txBody>
      </p:sp>
      <p:sp>
        <p:nvSpPr>
          <p:cNvPr id="37" name="Google Shape;459;g8055afce9b_0_707"/>
          <p:cNvSpPr/>
          <p:nvPr/>
        </p:nvSpPr>
        <p:spPr>
          <a:xfrm>
            <a:off x="6804483" y="3582988"/>
            <a:ext cx="298500" cy="339600"/>
          </a:xfrm>
          <a:prstGeom prst="rightArrow">
            <a:avLst>
              <a:gd name="adj1" fmla="val 45796"/>
              <a:gd name="adj2" fmla="val 55319"/>
            </a:avLst>
          </a:prstGeom>
          <a:solidFill>
            <a:schemeClr val="dk1"/>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300"/>
              <a:buFont typeface="Arial"/>
              <a:buNone/>
            </a:pPr>
            <a:endParaRPr sz="1300" b="0" i="0" u="none" strike="noStrike" cap="none">
              <a:solidFill>
                <a:schemeClr val="dk1"/>
              </a:solidFill>
              <a:latin typeface="Arial"/>
              <a:ea typeface="Arial"/>
              <a:cs typeface="Arial"/>
              <a:sym typeface="Arial"/>
            </a:endParaRPr>
          </a:p>
        </p:txBody>
      </p:sp>
      <p:grpSp>
        <p:nvGrpSpPr>
          <p:cNvPr id="38" name="Google Shape;460;g8055afce9b_0_707"/>
          <p:cNvGrpSpPr/>
          <p:nvPr/>
        </p:nvGrpSpPr>
        <p:grpSpPr>
          <a:xfrm>
            <a:off x="479367" y="2564799"/>
            <a:ext cx="5976394" cy="3361846"/>
            <a:chOff x="479376" y="2276872"/>
            <a:chExt cx="6855235" cy="4068062"/>
          </a:xfrm>
        </p:grpSpPr>
        <p:sp>
          <p:nvSpPr>
            <p:cNvPr id="39" name="Google Shape;461;g8055afce9b_0_707"/>
            <p:cNvSpPr/>
            <p:nvPr/>
          </p:nvSpPr>
          <p:spPr>
            <a:xfrm>
              <a:off x="2665661" y="3207147"/>
              <a:ext cx="1511400" cy="1308000"/>
            </a:xfrm>
            <a:prstGeom prst="triangle">
              <a:avLst>
                <a:gd name="adj" fmla="val 50000"/>
              </a:avLst>
            </a:prstGeom>
            <a:solidFill>
              <a:srgbClr val="E3F3E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chemeClr val="dk1"/>
                </a:solidFill>
                <a:latin typeface="Arial"/>
                <a:ea typeface="Arial"/>
                <a:cs typeface="Arial"/>
                <a:sym typeface="Arial"/>
              </a:endParaRPr>
            </a:p>
          </p:txBody>
        </p:sp>
        <p:sp>
          <p:nvSpPr>
            <p:cNvPr id="40" name="Google Shape;462;g8055afce9b_0_707"/>
            <p:cNvSpPr/>
            <p:nvPr/>
          </p:nvSpPr>
          <p:spPr>
            <a:xfrm>
              <a:off x="1919536" y="2645172"/>
              <a:ext cx="1682750" cy="2392363"/>
            </a:xfrm>
            <a:custGeom>
              <a:avLst/>
              <a:gdLst/>
              <a:ahLst/>
              <a:cxnLst/>
              <a:rect l="l" t="t" r="r" b="b"/>
              <a:pathLst>
                <a:path w="986" h="1404" extrusionOk="0">
                  <a:moveTo>
                    <a:pt x="0" y="1404"/>
                  </a:moveTo>
                  <a:lnTo>
                    <a:pt x="814" y="0"/>
                  </a:lnTo>
                  <a:lnTo>
                    <a:pt x="986" y="329"/>
                  </a:lnTo>
                </a:path>
              </a:pathLst>
            </a:custGeom>
            <a:noFill/>
            <a:ln w="28575" cap="flat" cmpd="sng">
              <a:solidFill>
                <a:schemeClr val="accent4"/>
              </a:solidFill>
              <a:prstDash val="solid"/>
              <a:round/>
              <a:headEnd type="none" w="sm" len="sm"/>
              <a:tailEnd type="triangle" w="med" len="med"/>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41" name="Google Shape;463;g8055afce9b_0_707"/>
            <p:cNvSpPr/>
            <p:nvPr/>
          </p:nvSpPr>
          <p:spPr>
            <a:xfrm>
              <a:off x="2252911" y="4427935"/>
              <a:ext cx="2770189" cy="481012"/>
            </a:xfrm>
            <a:custGeom>
              <a:avLst/>
              <a:gdLst/>
              <a:ahLst/>
              <a:cxnLst/>
              <a:rect l="l" t="t" r="r" b="b"/>
              <a:pathLst>
                <a:path w="1623" h="281" extrusionOk="0">
                  <a:moveTo>
                    <a:pt x="1623" y="281"/>
                  </a:moveTo>
                  <a:lnTo>
                    <a:pt x="0" y="277"/>
                  </a:lnTo>
                  <a:lnTo>
                    <a:pt x="174" y="0"/>
                  </a:lnTo>
                </a:path>
              </a:pathLst>
            </a:custGeom>
            <a:noFill/>
            <a:ln w="28575" cap="flat" cmpd="sng">
              <a:solidFill>
                <a:schemeClr val="accent4"/>
              </a:solidFill>
              <a:prstDash val="solid"/>
              <a:round/>
              <a:headEnd type="none" w="sm" len="sm"/>
              <a:tailEnd type="triangle" w="med" len="med"/>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42" name="Google Shape;464;g8055afce9b_0_707"/>
            <p:cNvSpPr/>
            <p:nvPr/>
          </p:nvSpPr>
          <p:spPr>
            <a:xfrm>
              <a:off x="3345111" y="2276872"/>
              <a:ext cx="1379539" cy="2400299"/>
            </a:xfrm>
            <a:custGeom>
              <a:avLst/>
              <a:gdLst/>
              <a:ahLst/>
              <a:cxnLst/>
              <a:rect l="l" t="t" r="r" b="b"/>
              <a:pathLst>
                <a:path w="808" h="1408" extrusionOk="0">
                  <a:moveTo>
                    <a:pt x="0" y="0"/>
                  </a:moveTo>
                  <a:lnTo>
                    <a:pt x="808" y="1408"/>
                  </a:lnTo>
                  <a:lnTo>
                    <a:pt x="430" y="1407"/>
                  </a:lnTo>
                </a:path>
              </a:pathLst>
            </a:custGeom>
            <a:noFill/>
            <a:ln w="28575" cap="flat" cmpd="sng">
              <a:solidFill>
                <a:schemeClr val="accent4"/>
              </a:solidFill>
              <a:prstDash val="solid"/>
              <a:round/>
              <a:headEnd type="none" w="sm" len="sm"/>
              <a:tailEnd type="triangle" w="med" len="med"/>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43" name="Google Shape;465;g8055afce9b_0_707"/>
            <p:cNvSpPr/>
            <p:nvPr/>
          </p:nvSpPr>
          <p:spPr>
            <a:xfrm>
              <a:off x="2974688" y="3814218"/>
              <a:ext cx="923400" cy="4923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600"/>
                <a:buFont typeface="Arial"/>
                <a:buNone/>
              </a:pPr>
              <a:r>
                <a:rPr lang="es-ES" sz="1600" b="1" i="0" u="none" strike="noStrike" cap="none">
                  <a:solidFill>
                    <a:schemeClr val="dk1"/>
                  </a:solidFill>
                  <a:latin typeface="Arial"/>
                  <a:ea typeface="Arial"/>
                  <a:cs typeface="Arial"/>
                  <a:sym typeface="Arial"/>
                </a:rPr>
                <a:t>App</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600"/>
                <a:buFont typeface="Arial"/>
                <a:buNone/>
              </a:pPr>
              <a:r>
                <a:rPr lang="es-ES" sz="1600" b="1" i="0" u="none" strike="noStrike" cap="none">
                  <a:solidFill>
                    <a:schemeClr val="dk1"/>
                  </a:solidFill>
                  <a:latin typeface="Arial"/>
                  <a:ea typeface="Arial"/>
                  <a:cs typeface="Arial"/>
                  <a:sym typeface="Arial"/>
                </a:rPr>
                <a:t>Covid-19 </a:t>
              </a:r>
              <a:endParaRPr sz="1400" b="0" i="0" u="none" strike="noStrike" cap="none">
                <a:solidFill>
                  <a:srgbClr val="000000"/>
                </a:solidFill>
                <a:latin typeface="Arial"/>
                <a:ea typeface="Arial"/>
                <a:cs typeface="Arial"/>
                <a:sym typeface="Arial"/>
              </a:endParaRPr>
            </a:p>
          </p:txBody>
        </p:sp>
        <p:sp>
          <p:nvSpPr>
            <p:cNvPr id="44" name="Google Shape;466;g8055afce9b_0_707"/>
            <p:cNvSpPr/>
            <p:nvPr/>
          </p:nvSpPr>
          <p:spPr>
            <a:xfrm>
              <a:off x="479376" y="2691210"/>
              <a:ext cx="2470200" cy="9849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r>
                <a:rPr lang="es-ES" sz="1800" b="0" i="0" u="none" strike="noStrike" cap="none">
                  <a:solidFill>
                    <a:schemeClr val="dk1"/>
                  </a:solidFill>
                  <a:latin typeface="Playfair Display"/>
                  <a:ea typeface="Playfair Display"/>
                  <a:cs typeface="Playfair Display"/>
                  <a:sym typeface="Playfair Display"/>
                </a:rPr>
                <a:t>Iteracion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1200"/>
                </a:spcBef>
                <a:spcAft>
                  <a:spcPts val="0"/>
                </a:spcAft>
                <a:buClr>
                  <a:srgbClr val="000000"/>
                </a:buClr>
                <a:buSzPts val="1200"/>
                <a:buFont typeface="Arial"/>
                <a:buNone/>
              </a:pPr>
              <a:r>
                <a:rPr lang="es-ES" sz="1200" b="0" i="0" u="none" strike="noStrike" cap="none">
                  <a:solidFill>
                    <a:schemeClr val="dk1"/>
                  </a:solidFill>
                  <a:latin typeface="Arial"/>
                  <a:ea typeface="Arial"/>
                  <a:cs typeface="Arial"/>
                  <a:sym typeface="Arial"/>
                </a:rPr>
                <a:t>Metodología iterativa como garante de flexibilidad y agilidad de respuesta</a:t>
              </a:r>
              <a:endParaRPr sz="1200" b="0" i="0" u="none" strike="noStrike" cap="none" baseline="30000">
                <a:solidFill>
                  <a:schemeClr val="dk1"/>
                </a:solidFill>
                <a:latin typeface="Arial"/>
                <a:ea typeface="Arial"/>
                <a:cs typeface="Arial"/>
                <a:sym typeface="Arial"/>
              </a:endParaRPr>
            </a:p>
          </p:txBody>
        </p:sp>
        <p:sp>
          <p:nvSpPr>
            <p:cNvPr id="45" name="Google Shape;467;g8055afce9b_0_707"/>
            <p:cNvSpPr/>
            <p:nvPr/>
          </p:nvSpPr>
          <p:spPr>
            <a:xfrm>
              <a:off x="4763011" y="2625197"/>
              <a:ext cx="2571600" cy="13542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r>
                <a:rPr lang="es-ES" sz="1800" b="0" i="0" u="none" strike="noStrike" cap="none">
                  <a:solidFill>
                    <a:schemeClr val="dk1"/>
                  </a:solidFill>
                  <a:latin typeface="Playfair Display"/>
                  <a:ea typeface="Playfair Display"/>
                  <a:cs typeface="Playfair Display"/>
                  <a:sym typeface="Playfair Display"/>
                </a:rPr>
                <a:t>Experimento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1200"/>
                </a:spcBef>
                <a:spcAft>
                  <a:spcPts val="0"/>
                </a:spcAft>
                <a:buClr>
                  <a:srgbClr val="000000"/>
                </a:buClr>
                <a:buSzPts val="1200"/>
                <a:buFont typeface="Arial"/>
                <a:buNone/>
              </a:pPr>
              <a:r>
                <a:rPr lang="es-ES" sz="1200" b="0" i="0" u="none" strike="noStrike" cap="none">
                  <a:solidFill>
                    <a:schemeClr val="dk1"/>
                  </a:solidFill>
                  <a:latin typeface="Arial"/>
                  <a:ea typeface="Arial"/>
                  <a:cs typeface="Arial"/>
                  <a:sym typeface="Arial"/>
                </a:rPr>
                <a:t>Creación de funcionalidad contact tracing básica, sobre la que se realizarán pruebas para valorar adopción de funcionalidades y posibles evolutivos</a:t>
              </a:r>
              <a:endParaRPr sz="1200" b="0" i="0" u="none" strike="noStrike" cap="none">
                <a:solidFill>
                  <a:schemeClr val="dk1"/>
                </a:solidFill>
                <a:latin typeface="Arial"/>
                <a:ea typeface="Arial"/>
                <a:cs typeface="Arial"/>
                <a:sym typeface="Arial"/>
              </a:endParaRPr>
            </a:p>
          </p:txBody>
        </p:sp>
        <p:sp>
          <p:nvSpPr>
            <p:cNvPr id="46" name="Google Shape;468;g8055afce9b_0_707"/>
            <p:cNvSpPr/>
            <p:nvPr/>
          </p:nvSpPr>
          <p:spPr>
            <a:xfrm>
              <a:off x="2152897" y="5153334"/>
              <a:ext cx="2870100" cy="11916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r>
                <a:rPr lang="es-ES" sz="1800" b="0" i="0" u="none" strike="noStrike" cap="none">
                  <a:solidFill>
                    <a:schemeClr val="dk1"/>
                  </a:solidFill>
                  <a:latin typeface="Playfair Display"/>
                  <a:ea typeface="Playfair Display"/>
                  <a:cs typeface="Playfair Display"/>
                  <a:sym typeface="Playfair Display"/>
                </a:rPr>
                <a:t>Contraste de hipótesi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1200"/>
                </a:spcBef>
                <a:spcAft>
                  <a:spcPts val="0"/>
                </a:spcAft>
                <a:buClr>
                  <a:srgbClr val="000000"/>
                </a:buClr>
                <a:buSzPts val="1200"/>
                <a:buFont typeface="Arial"/>
                <a:buNone/>
              </a:pPr>
              <a:r>
                <a:rPr lang="es-ES" sz="1200" b="0" i="0" u="none" strike="noStrike" cap="none">
                  <a:solidFill>
                    <a:schemeClr val="dk1"/>
                  </a:solidFill>
                  <a:latin typeface="Arial"/>
                  <a:ea typeface="Arial"/>
                  <a:cs typeface="Arial"/>
                  <a:sym typeface="Arial"/>
                </a:rPr>
                <a:t>Captura y analítica de datos como soporte de toma de decisiones y contrate de los experimentos</a:t>
              </a:r>
              <a:endParaRPr sz="1200" b="0" i="0" u="none" strike="noStrike" cap="none">
                <a:solidFill>
                  <a:schemeClr val="dk1"/>
                </a:solidFill>
                <a:latin typeface="Arial"/>
                <a:ea typeface="Arial"/>
                <a:cs typeface="Arial"/>
                <a:sym typeface="Arial"/>
              </a:endParaRPr>
            </a:p>
          </p:txBody>
        </p:sp>
      </p:grpSp>
      <p:sp>
        <p:nvSpPr>
          <p:cNvPr id="47" name="Google Shape;469;g8055afce9b_0_707"/>
          <p:cNvSpPr txBox="1"/>
          <p:nvPr/>
        </p:nvSpPr>
        <p:spPr>
          <a:xfrm>
            <a:off x="228312" y="1224491"/>
            <a:ext cx="11448000" cy="379800"/>
          </a:xfrm>
          <a:prstGeom prst="rect">
            <a:avLst/>
          </a:prstGeom>
          <a:noFill/>
          <a:ln>
            <a:noFill/>
          </a:ln>
        </p:spPr>
        <p:txBody>
          <a:bodyPr spcFirstLastPara="1" wrap="square" lIns="91425" tIns="91425" rIns="91425" bIns="91425" anchor="t" anchorCtr="0">
            <a:noAutofit/>
          </a:bodyPr>
          <a:lstStyle/>
          <a:p>
            <a:pPr marL="0" marR="0" lvl="0" indent="0" algn="l" rtl="0">
              <a:lnSpc>
                <a:spcPct val="90000"/>
              </a:lnSpc>
              <a:spcBef>
                <a:spcPts val="0"/>
              </a:spcBef>
              <a:spcAft>
                <a:spcPts val="0"/>
              </a:spcAft>
              <a:buClr>
                <a:schemeClr val="dk1"/>
              </a:buClr>
              <a:buSzPts val="1600"/>
              <a:buFont typeface="Arial"/>
              <a:buNone/>
            </a:pPr>
            <a:r>
              <a:rPr lang="es-ES" sz="1600" b="0" i="0" u="none" strike="noStrike" cap="none">
                <a:solidFill>
                  <a:schemeClr val="dk1"/>
                </a:solidFill>
                <a:latin typeface="Arial"/>
                <a:ea typeface="Arial"/>
                <a:cs typeface="Arial"/>
                <a:sym typeface="Arial"/>
              </a:rPr>
              <a:t>Proponemos una metodología iterativa de diseño y desarrollo de la aplicación de contact tracing, y su posterior evolución en torno a líneas de trabajo definidas</a:t>
            </a:r>
            <a:endParaRPr sz="1400" b="0" i="0" u="none" strike="noStrike" cap="none">
              <a:solidFill>
                <a:srgbClr val="000000"/>
              </a:solidFill>
              <a:latin typeface="Arial"/>
              <a:ea typeface="Arial"/>
              <a:cs typeface="Arial"/>
              <a:sym typeface="Arial"/>
            </a:endParaRPr>
          </a:p>
          <a:p>
            <a:pPr marL="0" marR="0" lvl="0" indent="0" algn="l" rtl="0">
              <a:lnSpc>
                <a:spcPct val="90000"/>
              </a:lnSpc>
              <a:spcBef>
                <a:spcPts val="0"/>
              </a:spcBef>
              <a:spcAft>
                <a:spcPts val="0"/>
              </a:spcAft>
              <a:buClr>
                <a:schemeClr val="dk1"/>
              </a:buClr>
              <a:buSzPts val="1600"/>
              <a:buFont typeface="Playfair Display"/>
              <a:buNone/>
            </a:pPr>
            <a:endParaRPr sz="1600" b="0" i="0" u="none" strike="noStrike" cap="none">
              <a:solidFill>
                <a:srgbClr val="4A86E8"/>
              </a:solidFill>
              <a:latin typeface="Arial"/>
              <a:ea typeface="Arial"/>
              <a:cs typeface="Arial"/>
              <a:sym typeface="Arial"/>
            </a:endParaRPr>
          </a:p>
        </p:txBody>
      </p:sp>
      <p:sp>
        <p:nvSpPr>
          <p:cNvPr id="48" name="Google Shape;470;g8055afce9b_0_707"/>
          <p:cNvSpPr txBox="1"/>
          <p:nvPr/>
        </p:nvSpPr>
        <p:spPr>
          <a:xfrm>
            <a:off x="1421592" y="6517911"/>
            <a:ext cx="5106600" cy="2154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800"/>
              <a:buFont typeface="Arial"/>
              <a:buNone/>
            </a:pPr>
            <a:r>
              <a:rPr lang="es-ES" sz="800" b="0" i="0" u="none" strike="noStrike" cap="none">
                <a:solidFill>
                  <a:schemeClr val="dk1"/>
                </a:solidFill>
                <a:latin typeface="Arial"/>
                <a:ea typeface="Arial"/>
                <a:cs typeface="Arial"/>
                <a:sym typeface="Arial"/>
              </a:rPr>
              <a:t>* Requiere determinar datos a centralizar para el análisis epidemiológico por parte de autoridades sanitarias</a:t>
            </a:r>
            <a:endParaRPr sz="800" b="0" i="0" u="none" strike="noStrike" cap="none">
              <a:solidFill>
                <a:schemeClr val="dk1"/>
              </a:solidFill>
              <a:latin typeface="Arial"/>
              <a:ea typeface="Arial"/>
              <a:cs typeface="Arial"/>
              <a:sym typeface="Arial"/>
            </a:endParaRP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633"/>
        <p:cNvGrpSpPr/>
        <p:nvPr/>
      </p:nvGrpSpPr>
      <p:grpSpPr>
        <a:xfrm>
          <a:off x="0" y="0"/>
          <a:ext cx="0" cy="0"/>
          <a:chOff x="0" y="0"/>
          <a:chExt cx="0" cy="0"/>
        </a:xfrm>
      </p:grpSpPr>
      <p:sp>
        <p:nvSpPr>
          <p:cNvPr id="1634" name="Google Shape;1634;p6"/>
          <p:cNvSpPr txBox="1"/>
          <p:nvPr/>
        </p:nvSpPr>
        <p:spPr>
          <a:xfrm>
            <a:off x="335998" y="649092"/>
            <a:ext cx="11232609" cy="722163"/>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2400"/>
              <a:buFont typeface="Playfair Display"/>
              <a:buNone/>
            </a:pPr>
            <a:r>
              <a:rPr lang="es-ES" sz="2400" b="0" i="0" u="none" strike="noStrike" cap="none" dirty="0">
                <a:solidFill>
                  <a:schemeClr val="dk1"/>
                </a:solidFill>
                <a:latin typeface="Playfair Display"/>
                <a:ea typeface="Playfair Display"/>
                <a:cs typeface="Playfair Display"/>
                <a:sym typeface="Playfair Display"/>
              </a:rPr>
              <a:t>Piloto - Proponemos un pilotaje del MVP en </a:t>
            </a:r>
            <a:r>
              <a:rPr lang="es-ES" sz="2400" b="0" i="0" u="none" strike="noStrike" cap="none" dirty="0" smtClean="0">
                <a:solidFill>
                  <a:schemeClr val="dk1"/>
                </a:solidFill>
                <a:latin typeface="Playfair Display"/>
                <a:ea typeface="Playfair Display"/>
                <a:cs typeface="Playfair Display"/>
                <a:sym typeface="Playfair Display"/>
              </a:rPr>
              <a:t>Junio</a:t>
            </a:r>
            <a:endParaRPr sz="2400" b="0" i="0" u="none" strike="noStrike" cap="none" dirty="0">
              <a:solidFill>
                <a:srgbClr val="FF0000"/>
              </a:solidFill>
              <a:latin typeface="Playfair Display"/>
              <a:ea typeface="Playfair Display"/>
              <a:cs typeface="Playfair Display"/>
              <a:sym typeface="Playfair Display"/>
            </a:endParaRPr>
          </a:p>
        </p:txBody>
      </p:sp>
      <p:sp>
        <p:nvSpPr>
          <p:cNvPr id="1635" name="Google Shape;1635;p6"/>
          <p:cNvSpPr txBox="1"/>
          <p:nvPr/>
        </p:nvSpPr>
        <p:spPr>
          <a:xfrm>
            <a:off x="1797400" y="3114074"/>
            <a:ext cx="1642800" cy="792000"/>
          </a:xfrm>
          <a:prstGeom prst="rect">
            <a:avLst/>
          </a:prstGeom>
          <a:solidFill>
            <a:srgbClr val="E2E2EF"/>
          </a:solidFill>
          <a:ln>
            <a:noFill/>
          </a:ln>
        </p:spPr>
        <p:txBody>
          <a:bodyPr spcFirstLastPara="1" wrap="square" lIns="91425" tIns="91425" rIns="91425" bIns="91425" anchor="ctr" anchorCtr="0">
            <a:noAutofit/>
          </a:bodyPr>
          <a:lstStyle/>
          <a:p>
            <a:pPr marL="0" marR="0" lvl="0" indent="0" algn="ctr" rtl="0">
              <a:lnSpc>
                <a:spcPct val="90000"/>
              </a:lnSpc>
              <a:spcBef>
                <a:spcPts val="0"/>
              </a:spcBef>
              <a:spcAft>
                <a:spcPts val="0"/>
              </a:spcAft>
              <a:buClr>
                <a:srgbClr val="000000"/>
              </a:buClr>
              <a:buSzPts val="1050"/>
              <a:buFont typeface="Playfair Display"/>
              <a:buNone/>
            </a:pPr>
            <a:r>
              <a:rPr lang="es-ES" sz="1050" b="1" i="0" u="none" strike="noStrike" cap="none">
                <a:solidFill>
                  <a:srgbClr val="000000"/>
                </a:solidFill>
                <a:latin typeface="Playfair Display"/>
                <a:ea typeface="Playfair Display"/>
                <a:cs typeface="Playfair Display"/>
                <a:sym typeface="Playfair Display"/>
              </a:rPr>
              <a:t>Desarrollo y testing</a:t>
            </a:r>
            <a:endParaRPr sz="1400" b="0" i="0" u="none" strike="noStrike" cap="none">
              <a:solidFill>
                <a:srgbClr val="000000"/>
              </a:solidFill>
              <a:latin typeface="Arial"/>
              <a:ea typeface="Arial"/>
              <a:cs typeface="Arial"/>
              <a:sym typeface="Arial"/>
            </a:endParaRPr>
          </a:p>
          <a:p>
            <a:pPr marL="89998" marR="0" lvl="0" indent="-89998" algn="l" rtl="0">
              <a:lnSpc>
                <a:spcPct val="90000"/>
              </a:lnSpc>
              <a:spcBef>
                <a:spcPts val="0"/>
              </a:spcBef>
              <a:spcAft>
                <a:spcPts val="0"/>
              </a:spcAft>
              <a:buClr>
                <a:schemeClr val="dk1"/>
              </a:buClr>
              <a:buSzPts val="900"/>
              <a:buFont typeface="Arial"/>
              <a:buChar char="●"/>
            </a:pPr>
            <a:r>
              <a:rPr lang="es-ES" sz="1050" b="0" i="0" u="none" strike="noStrike" cap="none">
                <a:solidFill>
                  <a:schemeClr val="dk1"/>
                </a:solidFill>
                <a:latin typeface="Arial"/>
                <a:ea typeface="Arial"/>
                <a:cs typeface="Arial"/>
                <a:sym typeface="Arial"/>
              </a:rPr>
              <a:t>Desarrollo de solución</a:t>
            </a:r>
            <a:endParaRPr sz="1050" b="0" i="0" u="none" strike="noStrike" cap="none">
              <a:solidFill>
                <a:schemeClr val="dk1"/>
              </a:solidFill>
              <a:latin typeface="Arial"/>
              <a:ea typeface="Arial"/>
              <a:cs typeface="Arial"/>
              <a:sym typeface="Arial"/>
            </a:endParaRPr>
          </a:p>
          <a:p>
            <a:pPr marL="89998" marR="0" lvl="0" indent="-89998" algn="l" rtl="0">
              <a:lnSpc>
                <a:spcPct val="90000"/>
              </a:lnSpc>
              <a:spcBef>
                <a:spcPts val="0"/>
              </a:spcBef>
              <a:spcAft>
                <a:spcPts val="0"/>
              </a:spcAft>
              <a:buClr>
                <a:schemeClr val="dk1"/>
              </a:buClr>
              <a:buSzPts val="1050"/>
              <a:buFont typeface="Arial"/>
              <a:buChar char="●"/>
            </a:pPr>
            <a:r>
              <a:rPr lang="es-ES" sz="1050" b="0" i="0" u="none" strike="noStrike" cap="none">
                <a:solidFill>
                  <a:schemeClr val="dk1"/>
                </a:solidFill>
                <a:latin typeface="Arial"/>
                <a:ea typeface="Arial"/>
                <a:cs typeface="Arial"/>
                <a:sym typeface="Arial"/>
              </a:rPr>
              <a:t>Ejecución de plan de pruebas</a:t>
            </a:r>
            <a:endParaRPr sz="1050" b="0" i="0" u="none" strike="noStrike" cap="none">
              <a:solidFill>
                <a:schemeClr val="dk1"/>
              </a:solidFill>
              <a:latin typeface="Arial"/>
              <a:ea typeface="Arial"/>
              <a:cs typeface="Arial"/>
              <a:sym typeface="Arial"/>
            </a:endParaRPr>
          </a:p>
        </p:txBody>
      </p:sp>
      <p:sp>
        <p:nvSpPr>
          <p:cNvPr id="1636" name="Google Shape;1636;p6"/>
          <p:cNvSpPr txBox="1"/>
          <p:nvPr/>
        </p:nvSpPr>
        <p:spPr>
          <a:xfrm>
            <a:off x="1797400" y="2179726"/>
            <a:ext cx="1642800" cy="870300"/>
          </a:xfrm>
          <a:prstGeom prst="rect">
            <a:avLst/>
          </a:prstGeom>
          <a:solidFill>
            <a:srgbClr val="E2E2EF"/>
          </a:solidFill>
          <a:ln>
            <a:noFill/>
          </a:ln>
        </p:spPr>
        <p:txBody>
          <a:bodyPr spcFirstLastPara="1" wrap="square" lIns="91425" tIns="91425" rIns="91425" bIns="91425" anchor="ctr" anchorCtr="0">
            <a:noAutofit/>
          </a:bodyPr>
          <a:lstStyle/>
          <a:p>
            <a:pPr marL="0" marR="0" lvl="0" indent="0" algn="ctr" rtl="0">
              <a:lnSpc>
                <a:spcPct val="90000"/>
              </a:lnSpc>
              <a:spcBef>
                <a:spcPts val="0"/>
              </a:spcBef>
              <a:spcAft>
                <a:spcPts val="0"/>
              </a:spcAft>
              <a:buClr>
                <a:srgbClr val="000000"/>
              </a:buClr>
              <a:buSzPts val="1050"/>
              <a:buFont typeface="Playfair Display"/>
              <a:buNone/>
            </a:pPr>
            <a:r>
              <a:rPr lang="es-ES" sz="1050" b="1" i="0" u="none" strike="noStrike" cap="none">
                <a:solidFill>
                  <a:srgbClr val="000000"/>
                </a:solidFill>
                <a:latin typeface="Playfair Display"/>
                <a:ea typeface="Playfair Display"/>
                <a:cs typeface="Playfair Display"/>
                <a:sym typeface="Playfair Display"/>
              </a:rPr>
              <a:t>Análisis funcional/técnico</a:t>
            </a:r>
            <a:endParaRPr sz="1400" b="0" i="0" u="none" strike="noStrike" cap="none">
              <a:solidFill>
                <a:srgbClr val="000000"/>
              </a:solidFill>
              <a:latin typeface="Arial"/>
              <a:ea typeface="Arial"/>
              <a:cs typeface="Arial"/>
              <a:sym typeface="Arial"/>
            </a:endParaRPr>
          </a:p>
          <a:p>
            <a:pPr marL="89999" marR="0" lvl="0" indent="-89999" algn="l" rtl="0">
              <a:lnSpc>
                <a:spcPct val="90000"/>
              </a:lnSpc>
              <a:spcBef>
                <a:spcPts val="0"/>
              </a:spcBef>
              <a:spcAft>
                <a:spcPts val="0"/>
              </a:spcAft>
              <a:buClr>
                <a:schemeClr val="dk1"/>
              </a:buClr>
              <a:buSzPts val="900"/>
              <a:buFont typeface="Arial"/>
              <a:buChar char="●"/>
            </a:pPr>
            <a:r>
              <a:rPr lang="es-ES" sz="1050" b="0" i="0" u="none" strike="noStrike" cap="none">
                <a:solidFill>
                  <a:schemeClr val="dk1"/>
                </a:solidFill>
                <a:latin typeface="Arial"/>
                <a:ea typeface="Arial"/>
                <a:cs typeface="Arial"/>
                <a:sym typeface="Arial"/>
              </a:rPr>
              <a:t>Interoperabilidad sistemas europeos</a:t>
            </a:r>
            <a:endParaRPr sz="1400" b="0" i="0" u="none" strike="noStrike" cap="none">
              <a:solidFill>
                <a:srgbClr val="000000"/>
              </a:solidFill>
              <a:latin typeface="Arial"/>
              <a:ea typeface="Arial"/>
              <a:cs typeface="Arial"/>
              <a:sym typeface="Arial"/>
            </a:endParaRPr>
          </a:p>
          <a:p>
            <a:pPr marL="89999" marR="0" lvl="0" indent="-89999" algn="l" rtl="0">
              <a:lnSpc>
                <a:spcPct val="90000"/>
              </a:lnSpc>
              <a:spcBef>
                <a:spcPts val="0"/>
              </a:spcBef>
              <a:spcAft>
                <a:spcPts val="0"/>
              </a:spcAft>
              <a:buClr>
                <a:schemeClr val="dk1"/>
              </a:buClr>
              <a:buSzPts val="900"/>
              <a:buFont typeface="Arial"/>
              <a:buChar char="●"/>
            </a:pPr>
            <a:r>
              <a:rPr lang="es-ES" sz="1050" b="0" i="0" u="none" strike="noStrike" cap="none">
                <a:solidFill>
                  <a:schemeClr val="dk1"/>
                </a:solidFill>
                <a:latin typeface="Arial"/>
                <a:ea typeface="Arial"/>
                <a:cs typeface="Arial"/>
                <a:sym typeface="Arial"/>
              </a:rPr>
              <a:t>Identificación casos positivos</a:t>
            </a:r>
            <a:endParaRPr sz="1400" b="0" i="0" u="none" strike="noStrike" cap="none">
              <a:solidFill>
                <a:srgbClr val="000000"/>
              </a:solidFill>
              <a:latin typeface="Arial"/>
              <a:ea typeface="Arial"/>
              <a:cs typeface="Arial"/>
              <a:sym typeface="Arial"/>
            </a:endParaRPr>
          </a:p>
        </p:txBody>
      </p:sp>
      <p:cxnSp>
        <p:nvCxnSpPr>
          <p:cNvPr id="1637" name="Google Shape;1637;p6"/>
          <p:cNvCxnSpPr/>
          <p:nvPr/>
        </p:nvCxnSpPr>
        <p:spPr>
          <a:xfrm>
            <a:off x="3433298" y="1992299"/>
            <a:ext cx="1901400" cy="0"/>
          </a:xfrm>
          <a:prstGeom prst="straightConnector1">
            <a:avLst/>
          </a:prstGeom>
          <a:noFill/>
          <a:ln w="76200" cap="flat" cmpd="sng">
            <a:solidFill>
              <a:schemeClr val="accent4"/>
            </a:solidFill>
            <a:prstDash val="solid"/>
            <a:round/>
            <a:headEnd type="none" w="sm" len="sm"/>
            <a:tailEnd type="none" w="sm" len="sm"/>
          </a:ln>
        </p:spPr>
      </p:cxnSp>
      <p:sp>
        <p:nvSpPr>
          <p:cNvPr id="1638" name="Google Shape;1638;p6"/>
          <p:cNvSpPr txBox="1">
            <a:spLocks noGrp="1"/>
          </p:cNvSpPr>
          <p:nvPr>
            <p:ph type="title"/>
          </p:nvPr>
        </p:nvSpPr>
        <p:spPr>
          <a:xfrm>
            <a:off x="10343778" y="3970137"/>
            <a:ext cx="1584900" cy="572700"/>
          </a:xfrm>
          <a:prstGeom prst="rect">
            <a:avLst/>
          </a:prstGeom>
          <a:solidFill>
            <a:srgbClr val="FDEDE0"/>
          </a:solidFill>
          <a:ln>
            <a:noFill/>
          </a:ln>
        </p:spPr>
        <p:txBody>
          <a:bodyPr spcFirstLastPara="1" wrap="square" lIns="91425" tIns="91425" rIns="91425" bIns="91425" anchor="ctr" anchorCtr="0">
            <a:noAutofit/>
          </a:bodyPr>
          <a:lstStyle/>
          <a:p>
            <a:pPr marL="0" lvl="0" indent="0" algn="ctr" rtl="0">
              <a:lnSpc>
                <a:spcPct val="90000"/>
              </a:lnSpc>
              <a:spcBef>
                <a:spcPts val="0"/>
              </a:spcBef>
              <a:spcAft>
                <a:spcPts val="0"/>
              </a:spcAft>
              <a:buClr>
                <a:srgbClr val="000000"/>
              </a:buClr>
              <a:buSzPts val="1050"/>
              <a:buFont typeface="Playfair Display"/>
              <a:buNone/>
            </a:pPr>
            <a:r>
              <a:rPr lang="es-ES" sz="1050" b="1" dirty="0">
                <a:solidFill>
                  <a:srgbClr val="000000"/>
                </a:solidFill>
              </a:rPr>
              <a:t>“Compartir con contactos”</a:t>
            </a:r>
            <a:endParaRPr sz="1050" b="1" dirty="0">
              <a:solidFill>
                <a:srgbClr val="000000"/>
              </a:solidFill>
            </a:endParaRPr>
          </a:p>
          <a:p>
            <a:pPr marL="0" lvl="0" indent="0" algn="ctr" rtl="0">
              <a:lnSpc>
                <a:spcPct val="90000"/>
              </a:lnSpc>
              <a:spcBef>
                <a:spcPts val="0"/>
              </a:spcBef>
              <a:spcAft>
                <a:spcPts val="0"/>
              </a:spcAft>
              <a:buClr>
                <a:srgbClr val="000000"/>
              </a:buClr>
              <a:buSzPts val="1050"/>
              <a:buFont typeface="Arial"/>
              <a:buNone/>
            </a:pPr>
            <a:r>
              <a:rPr lang="es-ES" sz="1050" dirty="0">
                <a:solidFill>
                  <a:srgbClr val="000000"/>
                </a:solidFill>
                <a:latin typeface="Arial"/>
                <a:ea typeface="Arial"/>
                <a:cs typeface="Arial"/>
                <a:sym typeface="Arial"/>
              </a:rPr>
              <a:t>Botón de difusión</a:t>
            </a:r>
            <a:endParaRPr sz="1050" dirty="0">
              <a:solidFill>
                <a:srgbClr val="000000"/>
              </a:solidFill>
              <a:latin typeface="Arial"/>
              <a:ea typeface="Arial"/>
              <a:cs typeface="Arial"/>
              <a:sym typeface="Arial"/>
            </a:endParaRPr>
          </a:p>
        </p:txBody>
      </p:sp>
      <p:sp>
        <p:nvSpPr>
          <p:cNvPr id="1639" name="Google Shape;1639;p6"/>
          <p:cNvSpPr txBox="1"/>
          <p:nvPr/>
        </p:nvSpPr>
        <p:spPr>
          <a:xfrm>
            <a:off x="5409264" y="2363805"/>
            <a:ext cx="1584600" cy="668400"/>
          </a:xfrm>
          <a:prstGeom prst="rect">
            <a:avLst/>
          </a:prstGeom>
          <a:solidFill>
            <a:srgbClr val="FDEDE0"/>
          </a:solidFill>
          <a:ln>
            <a:noFill/>
          </a:ln>
        </p:spPr>
        <p:txBody>
          <a:bodyPr spcFirstLastPara="1" wrap="square" lIns="91425" tIns="91425" rIns="91425" bIns="91425" anchor="ctr" anchorCtr="0">
            <a:noAutofit/>
          </a:bodyPr>
          <a:lstStyle/>
          <a:p>
            <a:pPr marL="0" marR="0" lvl="0" indent="0" algn="ctr" rtl="0">
              <a:lnSpc>
                <a:spcPct val="90000"/>
              </a:lnSpc>
              <a:spcBef>
                <a:spcPts val="0"/>
              </a:spcBef>
              <a:spcAft>
                <a:spcPts val="0"/>
              </a:spcAft>
              <a:buClr>
                <a:srgbClr val="000000"/>
              </a:buClr>
              <a:buSzPts val="1050"/>
              <a:buFont typeface="Playfair Display"/>
              <a:buNone/>
            </a:pPr>
            <a:r>
              <a:rPr lang="es-ES" sz="1050" b="1" i="0" u="none" strike="noStrike" cap="none" dirty="0">
                <a:solidFill>
                  <a:srgbClr val="000000"/>
                </a:solidFill>
                <a:latin typeface="Playfair Display"/>
                <a:ea typeface="Playfair Display"/>
                <a:cs typeface="Playfair Display"/>
                <a:sym typeface="Playfair Display"/>
              </a:rPr>
              <a:t>Noticias + consola administrador</a:t>
            </a:r>
            <a:endParaRPr sz="1400" b="0" i="0" u="none" strike="noStrike" cap="none" dirty="0">
              <a:solidFill>
                <a:srgbClr val="000000"/>
              </a:solidFill>
              <a:latin typeface="Arial"/>
              <a:ea typeface="Arial"/>
              <a:cs typeface="Arial"/>
              <a:sym typeface="Arial"/>
            </a:endParaRPr>
          </a:p>
          <a:p>
            <a:pPr marL="0" marR="0" lvl="0" indent="0" algn="ctr" rtl="0">
              <a:lnSpc>
                <a:spcPct val="90000"/>
              </a:lnSpc>
              <a:spcBef>
                <a:spcPts val="0"/>
              </a:spcBef>
              <a:spcAft>
                <a:spcPts val="0"/>
              </a:spcAft>
              <a:buClr>
                <a:srgbClr val="000000"/>
              </a:buClr>
              <a:buSzPts val="1050"/>
              <a:buFont typeface="Arial"/>
              <a:buNone/>
            </a:pPr>
            <a:r>
              <a:rPr lang="es-ES" sz="1050" b="0" i="0" u="none" strike="noStrike" cap="none" dirty="0">
                <a:solidFill>
                  <a:srgbClr val="000000"/>
                </a:solidFill>
                <a:latin typeface="Arial"/>
                <a:ea typeface="Arial"/>
                <a:cs typeface="Arial"/>
                <a:sym typeface="Arial"/>
              </a:rPr>
              <a:t>Envío de noticias</a:t>
            </a:r>
            <a:endParaRPr sz="1400" b="0" i="0" u="none" strike="noStrike" cap="none" dirty="0">
              <a:solidFill>
                <a:srgbClr val="000000"/>
              </a:solidFill>
              <a:latin typeface="Arial"/>
              <a:ea typeface="Arial"/>
              <a:cs typeface="Arial"/>
              <a:sym typeface="Arial"/>
            </a:endParaRPr>
          </a:p>
          <a:p>
            <a:pPr marL="0" marR="0" lvl="0" indent="0" algn="ctr" rtl="0">
              <a:lnSpc>
                <a:spcPct val="90000"/>
              </a:lnSpc>
              <a:spcBef>
                <a:spcPts val="0"/>
              </a:spcBef>
              <a:spcAft>
                <a:spcPts val="0"/>
              </a:spcAft>
              <a:buClr>
                <a:srgbClr val="000000"/>
              </a:buClr>
              <a:buSzPts val="1050"/>
              <a:buFont typeface="Arial"/>
              <a:buNone/>
            </a:pPr>
            <a:r>
              <a:rPr lang="es-ES" sz="1050" b="0" i="0" u="none" strike="noStrike" cap="none" dirty="0">
                <a:solidFill>
                  <a:srgbClr val="000000"/>
                </a:solidFill>
                <a:latin typeface="Arial"/>
                <a:ea typeface="Arial"/>
                <a:cs typeface="Arial"/>
                <a:sym typeface="Arial"/>
              </a:rPr>
              <a:t>Administrador reglas</a:t>
            </a:r>
            <a:endParaRPr sz="1050" b="0" i="0" u="none" strike="noStrike" cap="none" dirty="0">
              <a:solidFill>
                <a:srgbClr val="000000"/>
              </a:solidFill>
              <a:latin typeface="Arial"/>
              <a:ea typeface="Arial"/>
              <a:cs typeface="Arial"/>
              <a:sym typeface="Arial"/>
            </a:endParaRPr>
          </a:p>
        </p:txBody>
      </p:sp>
      <p:sp>
        <p:nvSpPr>
          <p:cNvPr id="1640" name="Google Shape;1640;p6"/>
          <p:cNvSpPr txBox="1"/>
          <p:nvPr/>
        </p:nvSpPr>
        <p:spPr>
          <a:xfrm>
            <a:off x="1656747" y="1471367"/>
            <a:ext cx="1950900" cy="379800"/>
          </a:xfrm>
          <a:prstGeom prst="rect">
            <a:avLst/>
          </a:prstGeom>
          <a:noFill/>
          <a:ln>
            <a:noFill/>
          </a:ln>
        </p:spPr>
        <p:txBody>
          <a:bodyPr spcFirstLastPara="1" wrap="square" lIns="91425" tIns="91425" rIns="91425" bIns="91425" anchor="t" anchorCtr="0">
            <a:noAutofit/>
          </a:bodyPr>
          <a:lstStyle/>
          <a:p>
            <a:pPr marL="0" marR="0" lvl="0" indent="0" algn="ctr" rtl="0">
              <a:lnSpc>
                <a:spcPct val="90000"/>
              </a:lnSpc>
              <a:spcBef>
                <a:spcPts val="0"/>
              </a:spcBef>
              <a:spcAft>
                <a:spcPts val="0"/>
              </a:spcAft>
              <a:buClr>
                <a:schemeClr val="dk1"/>
              </a:buClr>
              <a:buSzPts val="1400"/>
              <a:buFont typeface="Playfair Display"/>
              <a:buNone/>
            </a:pPr>
            <a:r>
              <a:rPr lang="es-ES" sz="1400" b="0" i="0" u="none" strike="noStrike" cap="none" dirty="0" smtClean="0">
                <a:solidFill>
                  <a:schemeClr val="dk1"/>
                </a:solidFill>
                <a:latin typeface="Playfair Display"/>
                <a:ea typeface="Playfair Display"/>
                <a:cs typeface="Playfair Display"/>
                <a:sym typeface="Playfair Display"/>
              </a:rPr>
              <a:t>Pre-piloto</a:t>
            </a:r>
            <a:endParaRPr sz="1400" b="0" i="0" u="none" strike="noStrike" cap="none" dirty="0">
              <a:solidFill>
                <a:srgbClr val="000000"/>
              </a:solidFill>
              <a:latin typeface="Arial"/>
              <a:ea typeface="Arial"/>
              <a:cs typeface="Arial"/>
              <a:sym typeface="Arial"/>
            </a:endParaRPr>
          </a:p>
          <a:p>
            <a:pPr marL="0" marR="0" lvl="0" indent="0" algn="ctr" rtl="0">
              <a:lnSpc>
                <a:spcPct val="90000"/>
              </a:lnSpc>
              <a:spcBef>
                <a:spcPts val="0"/>
              </a:spcBef>
              <a:spcAft>
                <a:spcPts val="0"/>
              </a:spcAft>
              <a:buClr>
                <a:schemeClr val="dk1"/>
              </a:buClr>
              <a:buSzPts val="1400"/>
              <a:buFont typeface="Playfair Display"/>
              <a:buNone/>
            </a:pPr>
            <a:endParaRPr sz="1400" b="0" i="0" u="none" strike="noStrike" cap="none" dirty="0">
              <a:solidFill>
                <a:srgbClr val="4A86E8"/>
              </a:solidFill>
              <a:latin typeface="Playfair Display"/>
              <a:ea typeface="Playfair Display"/>
              <a:cs typeface="Playfair Display"/>
              <a:sym typeface="Playfair Display"/>
            </a:endParaRPr>
          </a:p>
        </p:txBody>
      </p:sp>
      <p:sp>
        <p:nvSpPr>
          <p:cNvPr id="1641" name="Google Shape;1641;p6"/>
          <p:cNvSpPr txBox="1"/>
          <p:nvPr/>
        </p:nvSpPr>
        <p:spPr>
          <a:xfrm>
            <a:off x="3574886" y="2165065"/>
            <a:ext cx="1656000" cy="668400"/>
          </a:xfrm>
          <a:prstGeom prst="rect">
            <a:avLst/>
          </a:prstGeom>
          <a:solidFill>
            <a:srgbClr val="E3F3EF"/>
          </a:solidFill>
          <a:ln>
            <a:noFill/>
          </a:ln>
        </p:spPr>
        <p:txBody>
          <a:bodyPr spcFirstLastPara="1" wrap="square" lIns="91425" tIns="91425" rIns="91425" bIns="91425" anchor="t" anchorCtr="0">
            <a:noAutofit/>
          </a:bodyPr>
          <a:lstStyle/>
          <a:p>
            <a:pPr marL="0" marR="0" lvl="0" indent="0" algn="ctr" rtl="0">
              <a:lnSpc>
                <a:spcPct val="90000"/>
              </a:lnSpc>
              <a:spcBef>
                <a:spcPts val="0"/>
              </a:spcBef>
              <a:spcAft>
                <a:spcPts val="0"/>
              </a:spcAft>
              <a:buClr>
                <a:srgbClr val="000000"/>
              </a:buClr>
              <a:buSzPts val="1050"/>
              <a:buFont typeface="Playfair Display"/>
              <a:buNone/>
            </a:pPr>
            <a:r>
              <a:rPr lang="es-ES" sz="1050" b="1" i="0" u="none" strike="noStrike" cap="none">
                <a:solidFill>
                  <a:srgbClr val="000000"/>
                </a:solidFill>
                <a:latin typeface="Playfair Display"/>
                <a:ea typeface="Playfair Display"/>
                <a:cs typeface="Playfair Display"/>
                <a:sym typeface="Playfair Display"/>
              </a:rPr>
              <a:t>MVP</a:t>
            </a:r>
            <a:endParaRPr sz="1400" b="0" i="0" u="none" strike="noStrike" cap="none">
              <a:solidFill>
                <a:srgbClr val="000000"/>
              </a:solidFill>
              <a:latin typeface="Arial"/>
              <a:ea typeface="Arial"/>
              <a:cs typeface="Arial"/>
              <a:sym typeface="Arial"/>
            </a:endParaRPr>
          </a:p>
          <a:p>
            <a:pPr marL="0" marR="0" lvl="0" indent="0" algn="ctr" rtl="0">
              <a:lnSpc>
                <a:spcPct val="90000"/>
              </a:lnSpc>
              <a:spcBef>
                <a:spcPts val="0"/>
              </a:spcBef>
              <a:spcAft>
                <a:spcPts val="0"/>
              </a:spcAft>
              <a:buClr>
                <a:srgbClr val="000000"/>
              </a:buClr>
              <a:buSzPts val="1050"/>
              <a:buFont typeface="Arial"/>
              <a:buNone/>
            </a:pPr>
            <a:r>
              <a:rPr lang="es-ES" sz="1050" b="0" i="0" u="none" strike="noStrike" cap="none">
                <a:solidFill>
                  <a:srgbClr val="000000"/>
                </a:solidFill>
                <a:latin typeface="Arial"/>
                <a:ea typeface="Arial"/>
                <a:cs typeface="Arial"/>
                <a:sym typeface="Arial"/>
              </a:rPr>
              <a:t>Contact tracing Bluetooth</a:t>
            </a:r>
            <a:endParaRPr sz="1050" b="0" i="0" u="none" strike="noStrike" cap="none">
              <a:solidFill>
                <a:srgbClr val="000000"/>
              </a:solidFill>
              <a:latin typeface="Arial"/>
              <a:ea typeface="Arial"/>
              <a:cs typeface="Arial"/>
              <a:sym typeface="Arial"/>
            </a:endParaRPr>
          </a:p>
        </p:txBody>
      </p:sp>
      <p:sp>
        <p:nvSpPr>
          <p:cNvPr id="1642" name="Google Shape;1642;p6"/>
          <p:cNvSpPr txBox="1"/>
          <p:nvPr/>
        </p:nvSpPr>
        <p:spPr>
          <a:xfrm>
            <a:off x="7056981" y="2665510"/>
            <a:ext cx="1584600" cy="668400"/>
          </a:xfrm>
          <a:prstGeom prst="rect">
            <a:avLst/>
          </a:prstGeom>
          <a:solidFill>
            <a:srgbClr val="FDEDE0"/>
          </a:solidFill>
          <a:ln>
            <a:noFill/>
          </a:ln>
        </p:spPr>
        <p:txBody>
          <a:bodyPr spcFirstLastPara="1" wrap="square" lIns="91425" tIns="91425" rIns="91425" bIns="91425" anchor="ctr" anchorCtr="0">
            <a:noAutofit/>
          </a:bodyPr>
          <a:lstStyle/>
          <a:p>
            <a:pPr marL="0" marR="0" lvl="0" indent="0" algn="ctr" rtl="0">
              <a:lnSpc>
                <a:spcPct val="90000"/>
              </a:lnSpc>
              <a:spcBef>
                <a:spcPts val="0"/>
              </a:spcBef>
              <a:spcAft>
                <a:spcPts val="0"/>
              </a:spcAft>
              <a:buClr>
                <a:srgbClr val="000000"/>
              </a:buClr>
              <a:buSzPts val="1050"/>
              <a:buFont typeface="Playfair Display"/>
              <a:buNone/>
            </a:pPr>
            <a:r>
              <a:rPr lang="es-ES" sz="1050" b="1" i="0" u="none" strike="noStrike" cap="none" dirty="0">
                <a:solidFill>
                  <a:srgbClr val="000000"/>
                </a:solidFill>
                <a:latin typeface="Playfair Display"/>
                <a:ea typeface="Playfair Display"/>
                <a:cs typeface="Playfair Display"/>
                <a:sym typeface="Playfair Display"/>
              </a:rPr>
              <a:t>Autoevaluación + links a </a:t>
            </a:r>
            <a:r>
              <a:rPr lang="es-ES" sz="1050" b="1" i="1" u="none" strike="noStrike" cap="none" dirty="0" err="1">
                <a:solidFill>
                  <a:srgbClr val="000000"/>
                </a:solidFill>
                <a:latin typeface="Playfair Display"/>
                <a:ea typeface="Playfair Display"/>
                <a:cs typeface="Playfair Display"/>
                <a:sym typeface="Playfair Display"/>
              </a:rPr>
              <a:t>sites</a:t>
            </a:r>
            <a:r>
              <a:rPr lang="es-ES" sz="1050" b="1" i="0" u="none" strike="noStrike" cap="none" dirty="0">
                <a:solidFill>
                  <a:srgbClr val="000000"/>
                </a:solidFill>
                <a:latin typeface="Playfair Display"/>
                <a:ea typeface="Playfair Display"/>
                <a:cs typeface="Playfair Display"/>
                <a:sym typeface="Playfair Display"/>
              </a:rPr>
              <a:t> del Ministerio</a:t>
            </a:r>
            <a:endParaRPr sz="1400" b="0" i="0" u="none" strike="noStrike" cap="none" dirty="0">
              <a:solidFill>
                <a:srgbClr val="000000"/>
              </a:solidFill>
              <a:latin typeface="Arial"/>
              <a:ea typeface="Arial"/>
              <a:cs typeface="Arial"/>
              <a:sym typeface="Arial"/>
            </a:endParaRPr>
          </a:p>
          <a:p>
            <a:pPr marL="0" marR="0" lvl="0" indent="0" algn="ctr" rtl="0">
              <a:lnSpc>
                <a:spcPct val="90000"/>
              </a:lnSpc>
              <a:spcBef>
                <a:spcPts val="0"/>
              </a:spcBef>
              <a:spcAft>
                <a:spcPts val="0"/>
              </a:spcAft>
              <a:buClr>
                <a:srgbClr val="000000"/>
              </a:buClr>
              <a:buSzPts val="1050"/>
              <a:buFont typeface="Arial"/>
              <a:buNone/>
            </a:pPr>
            <a:r>
              <a:rPr lang="es-ES" sz="1050" b="0" i="0" u="none" strike="noStrike" cap="none" dirty="0">
                <a:solidFill>
                  <a:srgbClr val="000000"/>
                </a:solidFill>
                <a:latin typeface="Arial"/>
                <a:ea typeface="Arial"/>
                <a:cs typeface="Arial"/>
                <a:sym typeface="Arial"/>
              </a:rPr>
              <a:t>Cuestionario síntomas</a:t>
            </a:r>
            <a:endParaRPr sz="1400" b="0" i="0" u="none" strike="noStrike" cap="none" dirty="0">
              <a:solidFill>
                <a:srgbClr val="000000"/>
              </a:solidFill>
              <a:latin typeface="Arial"/>
              <a:ea typeface="Arial"/>
              <a:cs typeface="Arial"/>
              <a:sym typeface="Arial"/>
            </a:endParaRPr>
          </a:p>
          <a:p>
            <a:pPr marL="0" marR="0" lvl="0" indent="0" algn="ctr" rtl="0">
              <a:lnSpc>
                <a:spcPct val="90000"/>
              </a:lnSpc>
              <a:spcBef>
                <a:spcPts val="0"/>
              </a:spcBef>
              <a:spcAft>
                <a:spcPts val="0"/>
              </a:spcAft>
              <a:buClr>
                <a:srgbClr val="000000"/>
              </a:buClr>
              <a:buSzPts val="1050"/>
              <a:buFont typeface="Arial"/>
              <a:buNone/>
            </a:pPr>
            <a:r>
              <a:rPr lang="es-ES" sz="1050" b="0" i="0" u="none" strike="noStrike" cap="none" dirty="0">
                <a:solidFill>
                  <a:srgbClr val="000000"/>
                </a:solidFill>
                <a:latin typeface="Arial"/>
                <a:ea typeface="Arial"/>
                <a:cs typeface="Arial"/>
                <a:sym typeface="Arial"/>
              </a:rPr>
              <a:t>Links de utilidad</a:t>
            </a:r>
            <a:endParaRPr sz="1050" b="0" i="0" u="none" strike="noStrike" cap="none" dirty="0">
              <a:solidFill>
                <a:srgbClr val="000000"/>
              </a:solidFill>
              <a:latin typeface="Arial"/>
              <a:ea typeface="Arial"/>
              <a:cs typeface="Arial"/>
              <a:sym typeface="Arial"/>
            </a:endParaRPr>
          </a:p>
        </p:txBody>
      </p:sp>
      <p:sp>
        <p:nvSpPr>
          <p:cNvPr id="1643" name="Google Shape;1643;p6"/>
          <p:cNvSpPr txBox="1"/>
          <p:nvPr/>
        </p:nvSpPr>
        <p:spPr>
          <a:xfrm>
            <a:off x="3414770" y="1474708"/>
            <a:ext cx="1989900" cy="379800"/>
          </a:xfrm>
          <a:prstGeom prst="rect">
            <a:avLst/>
          </a:prstGeom>
          <a:noFill/>
          <a:ln>
            <a:noFill/>
          </a:ln>
        </p:spPr>
        <p:txBody>
          <a:bodyPr spcFirstLastPara="1" wrap="square" lIns="91425" tIns="91425" rIns="91425" bIns="91425" anchor="t" anchorCtr="0">
            <a:noAutofit/>
          </a:bodyPr>
          <a:lstStyle/>
          <a:p>
            <a:pPr marL="0" marR="0" lvl="0" indent="0" algn="ctr" rtl="0">
              <a:lnSpc>
                <a:spcPct val="90000"/>
              </a:lnSpc>
              <a:spcBef>
                <a:spcPts val="0"/>
              </a:spcBef>
              <a:spcAft>
                <a:spcPts val="0"/>
              </a:spcAft>
              <a:buClr>
                <a:schemeClr val="dk1"/>
              </a:buClr>
              <a:buSzPts val="1400"/>
              <a:buFont typeface="Playfair Display"/>
              <a:buNone/>
            </a:pPr>
            <a:r>
              <a:rPr lang="es-ES" sz="1400" b="0" i="0" u="none" strike="noStrike" cap="none" dirty="0" smtClean="0">
                <a:solidFill>
                  <a:schemeClr val="dk1"/>
                </a:solidFill>
                <a:latin typeface="Playfair Display"/>
                <a:ea typeface="Playfair Display"/>
                <a:cs typeface="Playfair Display"/>
                <a:sym typeface="Playfair Display"/>
              </a:rPr>
              <a:t>Piloto </a:t>
            </a:r>
            <a:r>
              <a:rPr lang="es-ES" sz="1400" b="0" i="0" u="none" strike="noStrike" cap="none" dirty="0" err="1">
                <a:solidFill>
                  <a:schemeClr val="dk1"/>
                </a:solidFill>
                <a:latin typeface="Playfair Display"/>
                <a:ea typeface="Playfair Display"/>
                <a:cs typeface="Playfair Display"/>
                <a:sym typeface="Playfair Display"/>
              </a:rPr>
              <a:t>Contact</a:t>
            </a:r>
            <a:r>
              <a:rPr lang="es-ES" sz="1400" b="0" i="0" u="none" strike="noStrike" cap="none" dirty="0">
                <a:solidFill>
                  <a:schemeClr val="dk1"/>
                </a:solidFill>
                <a:latin typeface="Playfair Display"/>
                <a:ea typeface="Playfair Display"/>
                <a:cs typeface="Playfair Display"/>
                <a:sym typeface="Playfair Display"/>
              </a:rPr>
              <a:t> </a:t>
            </a:r>
            <a:r>
              <a:rPr lang="es-ES" sz="1400" b="0" i="0" u="none" strike="noStrike" cap="none" dirty="0" err="1">
                <a:solidFill>
                  <a:schemeClr val="dk1"/>
                </a:solidFill>
                <a:latin typeface="Playfair Display"/>
                <a:ea typeface="Playfair Display"/>
                <a:cs typeface="Playfair Display"/>
                <a:sym typeface="Playfair Display"/>
              </a:rPr>
              <a:t>Tracing</a:t>
            </a:r>
            <a:endParaRPr sz="1400" b="0" i="0" u="none" strike="noStrike" cap="none" dirty="0">
              <a:solidFill>
                <a:schemeClr val="dk1"/>
              </a:solidFill>
              <a:latin typeface="Playfair Display"/>
              <a:ea typeface="Playfair Display"/>
              <a:cs typeface="Playfair Display"/>
              <a:sym typeface="Playfair Display"/>
            </a:endParaRPr>
          </a:p>
        </p:txBody>
      </p:sp>
      <p:sp>
        <p:nvSpPr>
          <p:cNvPr id="1644" name="Google Shape;1644;p6"/>
          <p:cNvSpPr txBox="1"/>
          <p:nvPr/>
        </p:nvSpPr>
        <p:spPr>
          <a:xfrm>
            <a:off x="8704698" y="2982270"/>
            <a:ext cx="1584600" cy="668400"/>
          </a:xfrm>
          <a:prstGeom prst="rect">
            <a:avLst/>
          </a:prstGeom>
          <a:solidFill>
            <a:srgbClr val="FDEDE0"/>
          </a:solidFill>
          <a:ln>
            <a:noFill/>
          </a:ln>
        </p:spPr>
        <p:txBody>
          <a:bodyPr spcFirstLastPara="1" wrap="square" lIns="91425" tIns="91425" rIns="91425" bIns="91425" anchor="ctr" anchorCtr="0">
            <a:noAutofit/>
          </a:bodyPr>
          <a:lstStyle/>
          <a:p>
            <a:pPr marL="0" marR="0" lvl="0" indent="0" algn="ctr" rtl="0">
              <a:lnSpc>
                <a:spcPct val="90000"/>
              </a:lnSpc>
              <a:spcBef>
                <a:spcPts val="0"/>
              </a:spcBef>
              <a:spcAft>
                <a:spcPts val="0"/>
              </a:spcAft>
              <a:buClr>
                <a:srgbClr val="000000"/>
              </a:buClr>
              <a:buSzPts val="1050"/>
              <a:buFont typeface="Playfair Display"/>
              <a:buNone/>
            </a:pPr>
            <a:r>
              <a:rPr lang="es-ES" sz="1050" b="1" i="0" u="none" strike="noStrike" cap="none" dirty="0">
                <a:solidFill>
                  <a:srgbClr val="000000"/>
                </a:solidFill>
                <a:latin typeface="Playfair Display"/>
                <a:ea typeface="Playfair Display"/>
                <a:cs typeface="Playfair Display"/>
                <a:sym typeface="Playfair Display"/>
              </a:rPr>
              <a:t>IA evolución casos + simulación escenarios</a:t>
            </a:r>
            <a:endParaRPr sz="1400" b="0" i="0" u="none" strike="noStrike" cap="none" dirty="0">
              <a:solidFill>
                <a:srgbClr val="000000"/>
              </a:solidFill>
              <a:latin typeface="Arial"/>
              <a:ea typeface="Arial"/>
              <a:cs typeface="Arial"/>
              <a:sym typeface="Arial"/>
            </a:endParaRPr>
          </a:p>
          <a:p>
            <a:pPr marL="0" marR="0" lvl="0" indent="0" algn="ctr" rtl="0">
              <a:lnSpc>
                <a:spcPct val="90000"/>
              </a:lnSpc>
              <a:spcBef>
                <a:spcPts val="0"/>
              </a:spcBef>
              <a:spcAft>
                <a:spcPts val="0"/>
              </a:spcAft>
              <a:buClr>
                <a:srgbClr val="000000"/>
              </a:buClr>
              <a:buSzPts val="1050"/>
              <a:buFont typeface="Arial"/>
              <a:buNone/>
            </a:pPr>
            <a:r>
              <a:rPr lang="es-ES" sz="1050" b="0" i="0" u="none" strike="noStrike" cap="none" dirty="0">
                <a:solidFill>
                  <a:srgbClr val="000000"/>
                </a:solidFill>
                <a:latin typeface="Arial"/>
                <a:ea typeface="Arial"/>
                <a:cs typeface="Arial"/>
                <a:sym typeface="Arial"/>
              </a:rPr>
              <a:t>IA exposición / casos</a:t>
            </a:r>
            <a:endParaRPr sz="1400" b="0" i="0" u="none" strike="noStrike" cap="none" dirty="0">
              <a:solidFill>
                <a:srgbClr val="000000"/>
              </a:solidFill>
              <a:latin typeface="Arial"/>
              <a:ea typeface="Arial"/>
              <a:cs typeface="Arial"/>
              <a:sym typeface="Arial"/>
            </a:endParaRPr>
          </a:p>
          <a:p>
            <a:pPr marL="0" marR="0" lvl="0" indent="0" algn="ctr" rtl="0">
              <a:lnSpc>
                <a:spcPct val="90000"/>
              </a:lnSpc>
              <a:spcBef>
                <a:spcPts val="0"/>
              </a:spcBef>
              <a:spcAft>
                <a:spcPts val="0"/>
              </a:spcAft>
              <a:buClr>
                <a:srgbClr val="000000"/>
              </a:buClr>
              <a:buSzPts val="1050"/>
              <a:buFont typeface="Arial"/>
              <a:buNone/>
            </a:pPr>
            <a:r>
              <a:rPr lang="es-ES" sz="1050" b="0" i="0" u="none" strike="noStrike" cap="none" dirty="0">
                <a:solidFill>
                  <a:srgbClr val="000000"/>
                </a:solidFill>
                <a:latin typeface="Arial"/>
                <a:ea typeface="Arial"/>
                <a:cs typeface="Arial"/>
                <a:sym typeface="Arial"/>
              </a:rPr>
              <a:t>IA predictiva</a:t>
            </a:r>
            <a:endParaRPr sz="1050" b="0" i="0" u="none" strike="noStrike" cap="none" dirty="0">
              <a:solidFill>
                <a:srgbClr val="000000"/>
              </a:solidFill>
              <a:latin typeface="Arial"/>
              <a:ea typeface="Arial"/>
              <a:cs typeface="Arial"/>
              <a:sym typeface="Arial"/>
            </a:endParaRPr>
          </a:p>
        </p:txBody>
      </p:sp>
      <p:sp>
        <p:nvSpPr>
          <p:cNvPr id="1645" name="Google Shape;1645;p6"/>
          <p:cNvSpPr txBox="1"/>
          <p:nvPr/>
        </p:nvSpPr>
        <p:spPr>
          <a:xfrm>
            <a:off x="10343771" y="3214287"/>
            <a:ext cx="1584900" cy="668400"/>
          </a:xfrm>
          <a:prstGeom prst="rect">
            <a:avLst/>
          </a:prstGeom>
          <a:solidFill>
            <a:srgbClr val="FDEDE0"/>
          </a:solidFill>
          <a:ln>
            <a:noFill/>
          </a:ln>
        </p:spPr>
        <p:txBody>
          <a:bodyPr spcFirstLastPara="1" wrap="square" lIns="91425" tIns="91425" rIns="91425" bIns="91425" anchor="ctr" anchorCtr="0">
            <a:noAutofit/>
          </a:bodyPr>
          <a:lstStyle/>
          <a:p>
            <a:pPr marL="0" marR="0" lvl="0" indent="0" algn="ctr" rtl="0">
              <a:lnSpc>
                <a:spcPct val="90000"/>
              </a:lnSpc>
              <a:spcBef>
                <a:spcPts val="0"/>
              </a:spcBef>
              <a:spcAft>
                <a:spcPts val="0"/>
              </a:spcAft>
              <a:buClr>
                <a:srgbClr val="000000"/>
              </a:buClr>
              <a:buSzPts val="1050"/>
              <a:buFont typeface="Playfair Display"/>
              <a:buNone/>
            </a:pPr>
            <a:r>
              <a:rPr lang="es-ES" sz="1050" b="1" i="0" u="none" strike="noStrike" cap="none" dirty="0">
                <a:solidFill>
                  <a:srgbClr val="000000"/>
                </a:solidFill>
                <a:latin typeface="Playfair Display"/>
                <a:ea typeface="Playfair Display"/>
                <a:cs typeface="Playfair Display"/>
                <a:sym typeface="Playfair Display"/>
              </a:rPr>
              <a:t>GPS + notificaciones</a:t>
            </a:r>
            <a:endParaRPr sz="1400" b="0" i="0" u="none" strike="noStrike" cap="none" dirty="0">
              <a:solidFill>
                <a:srgbClr val="000000"/>
              </a:solidFill>
              <a:latin typeface="Arial"/>
              <a:ea typeface="Arial"/>
              <a:cs typeface="Arial"/>
              <a:sym typeface="Arial"/>
            </a:endParaRPr>
          </a:p>
          <a:p>
            <a:pPr marL="0" marR="0" lvl="0" indent="0" algn="ctr" rtl="0">
              <a:lnSpc>
                <a:spcPct val="90000"/>
              </a:lnSpc>
              <a:spcBef>
                <a:spcPts val="0"/>
              </a:spcBef>
              <a:spcAft>
                <a:spcPts val="0"/>
              </a:spcAft>
              <a:buClr>
                <a:srgbClr val="000000"/>
              </a:buClr>
              <a:buSzPts val="1050"/>
              <a:buFont typeface="Arial"/>
              <a:buNone/>
            </a:pPr>
            <a:r>
              <a:rPr lang="es-ES" sz="1050" b="0" i="0" u="none" strike="noStrike" cap="none" dirty="0">
                <a:solidFill>
                  <a:srgbClr val="000000"/>
                </a:solidFill>
                <a:latin typeface="Arial"/>
                <a:ea typeface="Arial"/>
                <a:cs typeface="Arial"/>
                <a:sym typeface="Arial"/>
              </a:rPr>
              <a:t>Tracking GPS</a:t>
            </a:r>
            <a:endParaRPr sz="1400" b="0" i="0" u="none" strike="noStrike" cap="none" dirty="0">
              <a:solidFill>
                <a:srgbClr val="000000"/>
              </a:solidFill>
              <a:latin typeface="Arial"/>
              <a:ea typeface="Arial"/>
              <a:cs typeface="Arial"/>
              <a:sym typeface="Arial"/>
            </a:endParaRPr>
          </a:p>
          <a:p>
            <a:pPr marL="0" marR="0" lvl="0" indent="0" algn="ctr" rtl="0">
              <a:lnSpc>
                <a:spcPct val="90000"/>
              </a:lnSpc>
              <a:spcBef>
                <a:spcPts val="0"/>
              </a:spcBef>
              <a:spcAft>
                <a:spcPts val="0"/>
              </a:spcAft>
              <a:buClr>
                <a:srgbClr val="000000"/>
              </a:buClr>
              <a:buSzPts val="1050"/>
              <a:buFont typeface="Arial"/>
              <a:buNone/>
            </a:pPr>
            <a:r>
              <a:rPr lang="es-ES" sz="1050" b="0" i="0" u="none" strike="noStrike" cap="none" dirty="0">
                <a:solidFill>
                  <a:srgbClr val="000000"/>
                </a:solidFill>
                <a:latin typeface="Arial"/>
                <a:ea typeface="Arial"/>
                <a:cs typeface="Arial"/>
                <a:sym typeface="Arial"/>
              </a:rPr>
              <a:t>Notificaciones dinámicas</a:t>
            </a:r>
            <a:endParaRPr sz="1050" b="0" i="0" u="none" strike="noStrike" cap="none" dirty="0">
              <a:solidFill>
                <a:srgbClr val="000000"/>
              </a:solidFill>
              <a:latin typeface="Arial"/>
              <a:ea typeface="Arial"/>
              <a:cs typeface="Arial"/>
              <a:sym typeface="Arial"/>
            </a:endParaRPr>
          </a:p>
        </p:txBody>
      </p:sp>
      <p:sp>
        <p:nvSpPr>
          <p:cNvPr id="1646" name="Google Shape;1646;p6"/>
          <p:cNvSpPr txBox="1"/>
          <p:nvPr/>
        </p:nvSpPr>
        <p:spPr>
          <a:xfrm>
            <a:off x="4928407" y="1470561"/>
            <a:ext cx="6640200" cy="379800"/>
          </a:xfrm>
          <a:prstGeom prst="rect">
            <a:avLst/>
          </a:prstGeom>
          <a:noFill/>
          <a:ln>
            <a:noFill/>
          </a:ln>
        </p:spPr>
        <p:txBody>
          <a:bodyPr spcFirstLastPara="1" wrap="square" lIns="91425" tIns="91425" rIns="91425" bIns="91425" anchor="t" anchorCtr="0">
            <a:noAutofit/>
          </a:bodyPr>
          <a:lstStyle/>
          <a:p>
            <a:pPr marL="0" marR="0" lvl="0" indent="0" algn="ctr" rtl="0">
              <a:lnSpc>
                <a:spcPct val="90000"/>
              </a:lnSpc>
              <a:spcBef>
                <a:spcPts val="0"/>
              </a:spcBef>
              <a:spcAft>
                <a:spcPts val="0"/>
              </a:spcAft>
              <a:buClr>
                <a:schemeClr val="dk1"/>
              </a:buClr>
              <a:buSzPts val="1400"/>
              <a:buFont typeface="Playfair Display"/>
              <a:buNone/>
            </a:pPr>
            <a:r>
              <a:rPr lang="es-ES" sz="1400" b="0" i="0" u="none" strike="noStrike" cap="none" dirty="0" smtClean="0">
                <a:solidFill>
                  <a:schemeClr val="dk1"/>
                </a:solidFill>
                <a:latin typeface="Playfair Display"/>
                <a:ea typeface="Playfair Display"/>
                <a:cs typeface="Playfair Display"/>
                <a:sym typeface="Playfair Display"/>
              </a:rPr>
              <a:t>Evolución </a:t>
            </a:r>
            <a:r>
              <a:rPr lang="es-ES" sz="1400" b="0" i="0" u="none" strike="noStrike" cap="none" dirty="0" err="1">
                <a:solidFill>
                  <a:schemeClr val="dk1"/>
                </a:solidFill>
                <a:latin typeface="Playfair Display"/>
                <a:ea typeface="Playfair Display"/>
                <a:cs typeface="Playfair Display"/>
                <a:sym typeface="Playfair Display"/>
              </a:rPr>
              <a:t>Contact</a:t>
            </a:r>
            <a:r>
              <a:rPr lang="es-ES" sz="1400" b="0" i="0" u="none" strike="noStrike" cap="none" dirty="0">
                <a:solidFill>
                  <a:schemeClr val="dk1"/>
                </a:solidFill>
                <a:latin typeface="Playfair Display"/>
                <a:ea typeface="Playfair Display"/>
                <a:cs typeface="Playfair Display"/>
                <a:sym typeface="Playfair Display"/>
              </a:rPr>
              <a:t> </a:t>
            </a:r>
            <a:r>
              <a:rPr lang="es-ES" sz="1400" b="0" i="0" u="none" strike="noStrike" cap="none" dirty="0" err="1">
                <a:solidFill>
                  <a:schemeClr val="dk1"/>
                </a:solidFill>
                <a:latin typeface="Playfair Display"/>
                <a:ea typeface="Playfair Display"/>
                <a:cs typeface="Playfair Display"/>
                <a:sym typeface="Playfair Display"/>
              </a:rPr>
              <a:t>Tracing</a:t>
            </a:r>
            <a:endParaRPr sz="1400" b="0" i="0" u="none" strike="noStrike" cap="none" dirty="0">
              <a:solidFill>
                <a:schemeClr val="dk1"/>
              </a:solidFill>
              <a:latin typeface="Playfair Display"/>
              <a:ea typeface="Playfair Display"/>
              <a:cs typeface="Playfair Display"/>
              <a:sym typeface="Playfair Display"/>
            </a:endParaRPr>
          </a:p>
        </p:txBody>
      </p:sp>
      <p:cxnSp>
        <p:nvCxnSpPr>
          <p:cNvPr id="1647" name="Google Shape;1647;p6"/>
          <p:cNvCxnSpPr/>
          <p:nvPr/>
        </p:nvCxnSpPr>
        <p:spPr>
          <a:xfrm>
            <a:off x="3489912" y="1597700"/>
            <a:ext cx="13800" cy="5004000"/>
          </a:xfrm>
          <a:prstGeom prst="straightConnector1">
            <a:avLst/>
          </a:prstGeom>
          <a:noFill/>
          <a:ln w="9525" cap="flat" cmpd="sng">
            <a:solidFill>
              <a:schemeClr val="accent4"/>
            </a:solidFill>
            <a:prstDash val="dot"/>
            <a:round/>
            <a:headEnd type="none" w="sm" len="sm"/>
            <a:tailEnd type="none" w="sm" len="sm"/>
          </a:ln>
        </p:spPr>
      </p:cxnSp>
      <p:cxnSp>
        <p:nvCxnSpPr>
          <p:cNvPr id="1648" name="Google Shape;1648;p6"/>
          <p:cNvCxnSpPr/>
          <p:nvPr/>
        </p:nvCxnSpPr>
        <p:spPr>
          <a:xfrm>
            <a:off x="5320846" y="1597700"/>
            <a:ext cx="13800" cy="5004000"/>
          </a:xfrm>
          <a:prstGeom prst="straightConnector1">
            <a:avLst/>
          </a:prstGeom>
          <a:noFill/>
          <a:ln w="9525" cap="flat" cmpd="sng">
            <a:solidFill>
              <a:schemeClr val="accent4"/>
            </a:solidFill>
            <a:prstDash val="dot"/>
            <a:round/>
            <a:headEnd type="none" w="sm" len="sm"/>
            <a:tailEnd type="none" w="sm" len="sm"/>
          </a:ln>
        </p:spPr>
      </p:cxnSp>
      <p:sp>
        <p:nvSpPr>
          <p:cNvPr id="1649" name="Google Shape;1649;p6"/>
          <p:cNvSpPr txBox="1"/>
          <p:nvPr/>
        </p:nvSpPr>
        <p:spPr>
          <a:xfrm>
            <a:off x="1797388" y="3970130"/>
            <a:ext cx="1642800" cy="870300"/>
          </a:xfrm>
          <a:prstGeom prst="rect">
            <a:avLst/>
          </a:prstGeom>
          <a:solidFill>
            <a:srgbClr val="E2E2EF"/>
          </a:solidFill>
          <a:ln>
            <a:noFill/>
          </a:ln>
        </p:spPr>
        <p:txBody>
          <a:bodyPr spcFirstLastPara="1" wrap="square" lIns="91425" tIns="91425" rIns="91425" bIns="91425" anchor="ctr" anchorCtr="0">
            <a:noAutofit/>
          </a:bodyPr>
          <a:lstStyle/>
          <a:p>
            <a:pPr marL="0" marR="0" lvl="0" indent="0" algn="ctr" rtl="0">
              <a:lnSpc>
                <a:spcPct val="90000"/>
              </a:lnSpc>
              <a:spcBef>
                <a:spcPts val="0"/>
              </a:spcBef>
              <a:spcAft>
                <a:spcPts val="0"/>
              </a:spcAft>
              <a:buClr>
                <a:srgbClr val="000000"/>
              </a:buClr>
              <a:buSzPts val="1050"/>
              <a:buFont typeface="Playfair Display"/>
              <a:buNone/>
            </a:pPr>
            <a:r>
              <a:rPr lang="es-ES" sz="1050" b="1" i="0" u="none" strike="noStrike" cap="none" dirty="0" err="1" smtClean="0">
                <a:solidFill>
                  <a:srgbClr val="000000"/>
                </a:solidFill>
                <a:latin typeface="Playfair Display"/>
                <a:ea typeface="Playfair Display"/>
                <a:cs typeface="Playfair Display"/>
                <a:sym typeface="Playfair Display"/>
              </a:rPr>
              <a:t>User</a:t>
            </a:r>
            <a:r>
              <a:rPr lang="es-ES" sz="1050" b="1" i="0" u="none" strike="noStrike" cap="none" dirty="0" smtClean="0">
                <a:solidFill>
                  <a:srgbClr val="000000"/>
                </a:solidFill>
                <a:latin typeface="Playfair Display"/>
                <a:ea typeface="Playfair Display"/>
                <a:cs typeface="Playfair Display"/>
                <a:sym typeface="Playfair Display"/>
              </a:rPr>
              <a:t> Experience</a:t>
            </a:r>
            <a:endParaRPr sz="1400" b="0" i="0" u="none" strike="noStrike" cap="none" dirty="0">
              <a:solidFill>
                <a:srgbClr val="000000"/>
              </a:solidFill>
              <a:latin typeface="Arial"/>
              <a:ea typeface="Arial"/>
              <a:cs typeface="Arial"/>
              <a:sym typeface="Arial"/>
            </a:endParaRPr>
          </a:p>
          <a:p>
            <a:pPr marL="89998" marR="0" lvl="0" indent="-89998" algn="l" rtl="0">
              <a:lnSpc>
                <a:spcPct val="90000"/>
              </a:lnSpc>
              <a:spcBef>
                <a:spcPts val="0"/>
              </a:spcBef>
              <a:spcAft>
                <a:spcPts val="0"/>
              </a:spcAft>
              <a:buClr>
                <a:schemeClr val="dk1"/>
              </a:buClr>
              <a:buSzPts val="900"/>
              <a:buFont typeface="Arial"/>
              <a:buChar char="●"/>
            </a:pPr>
            <a:r>
              <a:rPr lang="es-ES" sz="1050" b="0" i="0" u="none" strike="noStrike" cap="none" dirty="0" smtClean="0">
                <a:solidFill>
                  <a:schemeClr val="dk1"/>
                </a:solidFill>
                <a:latin typeface="Arial"/>
                <a:ea typeface="Arial"/>
                <a:cs typeface="Arial"/>
                <a:sym typeface="Arial"/>
              </a:rPr>
              <a:t>Diseño de lanzamiento (zona, </a:t>
            </a:r>
            <a:r>
              <a:rPr lang="es-ES" sz="1050" b="0" i="1" u="none" strike="noStrike" cap="none" dirty="0" err="1" smtClean="0">
                <a:solidFill>
                  <a:schemeClr val="dk1"/>
                </a:solidFill>
                <a:latin typeface="Arial"/>
                <a:ea typeface="Arial"/>
                <a:cs typeface="Arial"/>
                <a:sym typeface="Arial"/>
              </a:rPr>
              <a:t>focus</a:t>
            </a:r>
            <a:r>
              <a:rPr lang="es-ES" sz="1050" b="0" i="1" u="none" strike="noStrike" cap="none" dirty="0" smtClean="0">
                <a:solidFill>
                  <a:schemeClr val="dk1"/>
                </a:solidFill>
                <a:latin typeface="Arial"/>
                <a:ea typeface="Arial"/>
                <a:cs typeface="Arial"/>
                <a:sym typeface="Arial"/>
              </a:rPr>
              <a:t> </a:t>
            </a:r>
            <a:r>
              <a:rPr lang="es-ES" sz="1050" b="0" i="1" u="none" strike="noStrike" cap="none" dirty="0" err="1" smtClean="0">
                <a:solidFill>
                  <a:schemeClr val="dk1"/>
                </a:solidFill>
                <a:latin typeface="Arial"/>
                <a:ea typeface="Arial"/>
                <a:cs typeface="Arial"/>
                <a:sym typeface="Arial"/>
              </a:rPr>
              <a:t>groups</a:t>
            </a:r>
            <a:r>
              <a:rPr lang="es-ES" sz="1050" b="0" i="0" u="none" strike="noStrike" cap="none" dirty="0" smtClean="0">
                <a:solidFill>
                  <a:schemeClr val="dk1"/>
                </a:solidFill>
                <a:latin typeface="Arial"/>
                <a:ea typeface="Arial"/>
                <a:cs typeface="Arial"/>
                <a:sym typeface="Arial"/>
              </a:rPr>
              <a:t>, metodología de experimentación,,…)</a:t>
            </a:r>
          </a:p>
          <a:p>
            <a:pPr marL="89998" marR="0" lvl="0" indent="-89998" algn="l" rtl="0">
              <a:lnSpc>
                <a:spcPct val="90000"/>
              </a:lnSpc>
              <a:spcBef>
                <a:spcPts val="0"/>
              </a:spcBef>
              <a:spcAft>
                <a:spcPts val="0"/>
              </a:spcAft>
              <a:buClr>
                <a:schemeClr val="dk1"/>
              </a:buClr>
              <a:buSzPts val="900"/>
              <a:buFont typeface="Arial"/>
              <a:buChar char="●"/>
            </a:pPr>
            <a:r>
              <a:rPr lang="es-ES" sz="1050" dirty="0" smtClean="0">
                <a:solidFill>
                  <a:schemeClr val="dk1"/>
                </a:solidFill>
              </a:rPr>
              <a:t>Diseño de campaña</a:t>
            </a:r>
            <a:endParaRPr sz="1400" b="0" i="0" u="none" strike="noStrike" cap="none" dirty="0">
              <a:solidFill>
                <a:srgbClr val="000000"/>
              </a:solidFill>
              <a:latin typeface="Arial"/>
              <a:ea typeface="Arial"/>
              <a:cs typeface="Arial"/>
              <a:sym typeface="Arial"/>
            </a:endParaRPr>
          </a:p>
        </p:txBody>
      </p:sp>
      <p:cxnSp>
        <p:nvCxnSpPr>
          <p:cNvPr id="1650" name="Google Shape;1650;p6"/>
          <p:cNvCxnSpPr/>
          <p:nvPr/>
        </p:nvCxnSpPr>
        <p:spPr>
          <a:xfrm>
            <a:off x="5320846" y="1992299"/>
            <a:ext cx="6607800" cy="0"/>
          </a:xfrm>
          <a:prstGeom prst="straightConnector1">
            <a:avLst/>
          </a:prstGeom>
          <a:noFill/>
          <a:ln w="76200" cap="flat" cmpd="sng">
            <a:solidFill>
              <a:schemeClr val="accent2"/>
            </a:solidFill>
            <a:prstDash val="solid"/>
            <a:round/>
            <a:headEnd type="none" w="sm" len="sm"/>
            <a:tailEnd type="none" w="sm" len="sm"/>
          </a:ln>
        </p:spPr>
      </p:cxnSp>
      <p:grpSp>
        <p:nvGrpSpPr>
          <p:cNvPr id="1651" name="Google Shape;1651;p6"/>
          <p:cNvGrpSpPr/>
          <p:nvPr/>
        </p:nvGrpSpPr>
        <p:grpSpPr>
          <a:xfrm>
            <a:off x="3652062" y="3114733"/>
            <a:ext cx="8337323" cy="1805597"/>
            <a:chOff x="3105736" y="2962333"/>
            <a:chExt cx="8883669" cy="1805597"/>
          </a:xfrm>
        </p:grpSpPr>
        <p:pic>
          <p:nvPicPr>
            <p:cNvPr id="1652" name="Google Shape;1652;p6" descr="https://static.thenounproject.com/png/137540-200.png"/>
            <p:cNvPicPr preferRelativeResize="0"/>
            <p:nvPr/>
          </p:nvPicPr>
          <p:blipFill rotWithShape="1">
            <a:blip r:embed="rId3">
              <a:alphaModFix/>
            </a:blip>
            <a:srcRect/>
            <a:stretch/>
          </p:blipFill>
          <p:spPr>
            <a:xfrm>
              <a:off x="4600378" y="2962333"/>
              <a:ext cx="734459" cy="651931"/>
            </a:xfrm>
            <a:prstGeom prst="rect">
              <a:avLst/>
            </a:prstGeom>
            <a:noFill/>
            <a:ln>
              <a:noFill/>
            </a:ln>
          </p:spPr>
        </p:pic>
        <p:pic>
          <p:nvPicPr>
            <p:cNvPr id="1653" name="Google Shape;1653;p6" descr="https://static.thenounproject.com/png/137540-200.png"/>
            <p:cNvPicPr preferRelativeResize="0"/>
            <p:nvPr/>
          </p:nvPicPr>
          <p:blipFill rotWithShape="1">
            <a:blip r:embed="rId3">
              <a:alphaModFix/>
            </a:blip>
            <a:srcRect/>
            <a:stretch/>
          </p:blipFill>
          <p:spPr>
            <a:xfrm>
              <a:off x="6249147" y="3356593"/>
              <a:ext cx="734459" cy="651931"/>
            </a:xfrm>
            <a:prstGeom prst="rect">
              <a:avLst/>
            </a:prstGeom>
            <a:noFill/>
            <a:ln>
              <a:noFill/>
            </a:ln>
          </p:spPr>
        </p:pic>
        <p:pic>
          <p:nvPicPr>
            <p:cNvPr id="1654" name="Google Shape;1654;p6" descr="https://static.thenounproject.com/png/137540-200.png"/>
            <p:cNvPicPr preferRelativeResize="0"/>
            <p:nvPr/>
          </p:nvPicPr>
          <p:blipFill rotWithShape="1">
            <a:blip r:embed="rId3">
              <a:alphaModFix/>
            </a:blip>
            <a:srcRect/>
            <a:stretch/>
          </p:blipFill>
          <p:spPr>
            <a:xfrm>
              <a:off x="7935663" y="3676627"/>
              <a:ext cx="734459" cy="651931"/>
            </a:xfrm>
            <a:prstGeom prst="rect">
              <a:avLst/>
            </a:prstGeom>
            <a:noFill/>
            <a:ln>
              <a:noFill/>
            </a:ln>
          </p:spPr>
        </p:pic>
        <p:pic>
          <p:nvPicPr>
            <p:cNvPr id="1655" name="Google Shape;1655;p6" descr="https://static.thenounproject.com/png/137540-200.png"/>
            <p:cNvPicPr preferRelativeResize="0"/>
            <p:nvPr/>
          </p:nvPicPr>
          <p:blipFill rotWithShape="1">
            <a:blip r:embed="rId3">
              <a:alphaModFix/>
            </a:blip>
            <a:srcRect/>
            <a:stretch/>
          </p:blipFill>
          <p:spPr>
            <a:xfrm>
              <a:off x="9768408" y="4105735"/>
              <a:ext cx="734459" cy="651931"/>
            </a:xfrm>
            <a:prstGeom prst="rect">
              <a:avLst/>
            </a:prstGeom>
            <a:noFill/>
            <a:ln>
              <a:noFill/>
            </a:ln>
          </p:spPr>
        </p:pic>
        <p:cxnSp>
          <p:nvCxnSpPr>
            <p:cNvPr id="1656" name="Google Shape;1656;p6"/>
            <p:cNvCxnSpPr>
              <a:stCxn id="1652" idx="1"/>
              <a:endCxn id="1655" idx="3"/>
            </p:cNvCxnSpPr>
            <p:nvPr/>
          </p:nvCxnSpPr>
          <p:spPr>
            <a:xfrm>
              <a:off x="4600378" y="3288299"/>
              <a:ext cx="5902500" cy="1143300"/>
            </a:xfrm>
            <a:prstGeom prst="straightConnector1">
              <a:avLst/>
            </a:prstGeom>
            <a:noFill/>
            <a:ln w="28575" cap="flat" cmpd="sng">
              <a:solidFill>
                <a:schemeClr val="dk2"/>
              </a:solidFill>
              <a:prstDash val="dot"/>
              <a:miter lim="800000"/>
              <a:headEnd type="none" w="sm" len="sm"/>
              <a:tailEnd type="triangle" w="med" len="med"/>
            </a:ln>
          </p:spPr>
        </p:cxnSp>
        <p:sp>
          <p:nvSpPr>
            <p:cNvPr id="1657" name="Google Shape;1657;p6"/>
            <p:cNvSpPr txBox="1"/>
            <p:nvPr/>
          </p:nvSpPr>
          <p:spPr>
            <a:xfrm rot="589938">
              <a:off x="7154962" y="3674823"/>
              <a:ext cx="715381" cy="189525"/>
            </a:xfrm>
            <a:prstGeom prst="rect">
              <a:avLst/>
            </a:prstGeom>
            <a:solidFill>
              <a:schemeClr val="lt1"/>
            </a:solid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900"/>
                <a:buFont typeface="Arial"/>
                <a:buNone/>
              </a:pPr>
              <a:r>
                <a:rPr lang="es-ES" sz="900" b="0" i="0" u="none" strike="noStrike" cap="none">
                  <a:solidFill>
                    <a:schemeClr val="dk1"/>
                  </a:solidFill>
                  <a:latin typeface="Arial"/>
                  <a:ea typeface="Arial"/>
                  <a:cs typeface="Arial"/>
                  <a:sym typeface="Arial"/>
                </a:rPr>
                <a:t>Método iterativo</a:t>
              </a:r>
              <a:endParaRPr sz="900" b="0" i="0" u="none" strike="noStrike" cap="none">
                <a:solidFill>
                  <a:schemeClr val="dk1"/>
                </a:solidFill>
                <a:latin typeface="Arial"/>
                <a:ea typeface="Arial"/>
                <a:cs typeface="Arial"/>
                <a:sym typeface="Arial"/>
              </a:endParaRPr>
            </a:p>
          </p:txBody>
        </p:sp>
        <p:cxnSp>
          <p:nvCxnSpPr>
            <p:cNvPr id="1658" name="Google Shape;1658;p6"/>
            <p:cNvCxnSpPr/>
            <p:nvPr/>
          </p:nvCxnSpPr>
          <p:spPr>
            <a:xfrm>
              <a:off x="3105736" y="4639299"/>
              <a:ext cx="8822918" cy="0"/>
            </a:xfrm>
            <a:prstGeom prst="straightConnector1">
              <a:avLst/>
            </a:prstGeom>
            <a:noFill/>
            <a:ln w="28575" cap="flat" cmpd="sng">
              <a:solidFill>
                <a:srgbClr val="C8E7E0"/>
              </a:solidFill>
              <a:prstDash val="dot"/>
              <a:miter lim="800000"/>
              <a:headEnd type="none" w="sm" len="sm"/>
              <a:tailEnd type="triangle" w="med" len="med"/>
            </a:ln>
          </p:spPr>
        </p:cxnSp>
        <p:sp>
          <p:nvSpPr>
            <p:cNvPr id="1659" name="Google Shape;1659;p6"/>
            <p:cNvSpPr txBox="1"/>
            <p:nvPr/>
          </p:nvSpPr>
          <p:spPr>
            <a:xfrm>
              <a:off x="3498157" y="4538604"/>
              <a:ext cx="952172" cy="229326"/>
            </a:xfrm>
            <a:prstGeom prst="rect">
              <a:avLst/>
            </a:prstGeom>
            <a:solidFill>
              <a:schemeClr val="lt1"/>
            </a:solid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900"/>
                <a:buFont typeface="Arial"/>
                <a:buNone/>
              </a:pPr>
              <a:r>
                <a:rPr lang="es-ES" sz="900" b="0" i="0" u="none" strike="noStrike" cap="none">
                  <a:solidFill>
                    <a:schemeClr val="dk1"/>
                  </a:solidFill>
                  <a:latin typeface="Arial"/>
                  <a:ea typeface="Arial"/>
                  <a:cs typeface="Arial"/>
                  <a:sym typeface="Arial"/>
                </a:rPr>
                <a:t>Experimentos</a:t>
              </a:r>
              <a:endParaRPr sz="900" b="0" i="0" u="none" strike="noStrike" cap="none">
                <a:solidFill>
                  <a:schemeClr val="dk1"/>
                </a:solidFill>
                <a:latin typeface="Arial"/>
                <a:ea typeface="Arial"/>
                <a:cs typeface="Arial"/>
                <a:sym typeface="Arial"/>
              </a:endParaRPr>
            </a:p>
          </p:txBody>
        </p:sp>
        <p:sp>
          <p:nvSpPr>
            <p:cNvPr id="1660" name="Google Shape;1660;p6"/>
            <p:cNvSpPr/>
            <p:nvPr/>
          </p:nvSpPr>
          <p:spPr>
            <a:xfrm rot="10800000">
              <a:off x="4871285" y="4479797"/>
              <a:ext cx="178845" cy="164227"/>
            </a:xfrm>
            <a:prstGeom prst="triangle">
              <a:avLst>
                <a:gd name="adj" fmla="val 50000"/>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799"/>
                <a:buFont typeface="Arial"/>
                <a:buNone/>
              </a:pPr>
              <a:endParaRPr sz="1799" b="0" i="0" u="none" strike="noStrike" cap="none">
                <a:solidFill>
                  <a:schemeClr val="lt1"/>
                </a:solidFill>
                <a:latin typeface="Arial"/>
                <a:ea typeface="Arial"/>
                <a:cs typeface="Arial"/>
                <a:sym typeface="Arial"/>
              </a:endParaRPr>
            </a:p>
          </p:txBody>
        </p:sp>
        <p:sp>
          <p:nvSpPr>
            <p:cNvPr id="1661" name="Google Shape;1661;p6"/>
            <p:cNvSpPr txBox="1"/>
            <p:nvPr/>
          </p:nvSpPr>
          <p:spPr>
            <a:xfrm>
              <a:off x="4499638" y="4135274"/>
              <a:ext cx="952172" cy="369332"/>
            </a:xfrm>
            <a:prstGeom prst="rect">
              <a:avLst/>
            </a:prstGeom>
            <a:solidFill>
              <a:schemeClr val="lt1"/>
            </a:solid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900"/>
                <a:buFont typeface="Arial"/>
                <a:buNone/>
              </a:pPr>
              <a:r>
                <a:rPr lang="es-ES" sz="900" b="0" i="0" u="none" strike="noStrike" cap="none">
                  <a:solidFill>
                    <a:schemeClr val="dk1"/>
                  </a:solidFill>
                  <a:latin typeface="Arial"/>
                  <a:ea typeface="Arial"/>
                  <a:cs typeface="Arial"/>
                  <a:sym typeface="Arial"/>
                </a:rPr>
                <a:t>Contraste hipótesis</a:t>
              </a:r>
              <a:endParaRPr sz="900" b="0" i="0" u="none" strike="noStrike" cap="none">
                <a:solidFill>
                  <a:schemeClr val="dk1"/>
                </a:solidFill>
                <a:latin typeface="Arial"/>
                <a:ea typeface="Arial"/>
                <a:cs typeface="Arial"/>
                <a:sym typeface="Arial"/>
              </a:endParaRPr>
            </a:p>
          </p:txBody>
        </p:sp>
        <p:sp>
          <p:nvSpPr>
            <p:cNvPr id="1662" name="Google Shape;1662;p6"/>
            <p:cNvSpPr/>
            <p:nvPr/>
          </p:nvSpPr>
          <p:spPr>
            <a:xfrm rot="10800000">
              <a:off x="6624271" y="4479797"/>
              <a:ext cx="178845" cy="164227"/>
            </a:xfrm>
            <a:prstGeom prst="triangle">
              <a:avLst>
                <a:gd name="adj" fmla="val 50000"/>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799"/>
                <a:buFont typeface="Arial"/>
                <a:buNone/>
              </a:pPr>
              <a:endParaRPr sz="1799" b="0" i="0" u="none" strike="noStrike" cap="none">
                <a:solidFill>
                  <a:schemeClr val="lt1"/>
                </a:solidFill>
                <a:latin typeface="Arial"/>
                <a:ea typeface="Arial"/>
                <a:cs typeface="Arial"/>
                <a:sym typeface="Arial"/>
              </a:endParaRPr>
            </a:p>
          </p:txBody>
        </p:sp>
        <p:sp>
          <p:nvSpPr>
            <p:cNvPr id="1663" name="Google Shape;1663;p6"/>
            <p:cNvSpPr/>
            <p:nvPr/>
          </p:nvSpPr>
          <p:spPr>
            <a:xfrm rot="10800000">
              <a:off x="8413854" y="4479797"/>
              <a:ext cx="178845" cy="164227"/>
            </a:xfrm>
            <a:prstGeom prst="triangle">
              <a:avLst>
                <a:gd name="adj" fmla="val 50000"/>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799"/>
                <a:buFont typeface="Arial"/>
                <a:buNone/>
              </a:pPr>
              <a:endParaRPr sz="1799" b="0" i="0" u="none" strike="noStrike" cap="none">
                <a:solidFill>
                  <a:schemeClr val="lt1"/>
                </a:solidFill>
                <a:latin typeface="Arial"/>
                <a:ea typeface="Arial"/>
                <a:cs typeface="Arial"/>
                <a:sym typeface="Arial"/>
              </a:endParaRPr>
            </a:p>
          </p:txBody>
        </p:sp>
        <p:sp>
          <p:nvSpPr>
            <p:cNvPr id="1664" name="Google Shape;1664;p6"/>
            <p:cNvSpPr/>
            <p:nvPr/>
          </p:nvSpPr>
          <p:spPr>
            <a:xfrm rot="10800000">
              <a:off x="10143972" y="4479797"/>
              <a:ext cx="178845" cy="164227"/>
            </a:xfrm>
            <a:prstGeom prst="triangle">
              <a:avLst>
                <a:gd name="adj" fmla="val 50000"/>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799"/>
                <a:buFont typeface="Arial"/>
                <a:buNone/>
              </a:pPr>
              <a:endParaRPr sz="1799" b="0" i="0" u="none" strike="noStrike" cap="none">
                <a:solidFill>
                  <a:schemeClr val="lt1"/>
                </a:solidFill>
                <a:latin typeface="Arial"/>
                <a:ea typeface="Arial"/>
                <a:cs typeface="Arial"/>
                <a:sym typeface="Arial"/>
              </a:endParaRPr>
            </a:p>
          </p:txBody>
        </p:sp>
        <p:sp>
          <p:nvSpPr>
            <p:cNvPr id="1665" name="Google Shape;1665;p6"/>
            <p:cNvSpPr/>
            <p:nvPr/>
          </p:nvSpPr>
          <p:spPr>
            <a:xfrm rot="10800000">
              <a:off x="11810560" y="4479798"/>
              <a:ext cx="178845" cy="164227"/>
            </a:xfrm>
            <a:prstGeom prst="triangle">
              <a:avLst>
                <a:gd name="adj" fmla="val 50000"/>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799"/>
                <a:buFont typeface="Arial"/>
                <a:buNone/>
              </a:pPr>
              <a:endParaRPr sz="1799" b="0" i="0" u="none" strike="noStrike" cap="none">
                <a:solidFill>
                  <a:schemeClr val="lt1"/>
                </a:solidFill>
                <a:latin typeface="Arial"/>
                <a:ea typeface="Arial"/>
                <a:cs typeface="Arial"/>
                <a:sym typeface="Arial"/>
              </a:endParaRPr>
            </a:p>
          </p:txBody>
        </p:sp>
      </p:grpSp>
      <p:sp>
        <p:nvSpPr>
          <p:cNvPr id="1666" name="Google Shape;1666;p6"/>
          <p:cNvSpPr/>
          <p:nvPr/>
        </p:nvSpPr>
        <p:spPr>
          <a:xfrm rot="2255143">
            <a:off x="10838731" y="1784433"/>
            <a:ext cx="1162231" cy="203656"/>
          </a:xfrm>
          <a:prstGeom prst="rect">
            <a:avLst/>
          </a:prstGeom>
          <a:solidFill>
            <a:schemeClr val="lt2"/>
          </a:solidFill>
          <a:ln w="9525" cap="flat" cmpd="sng">
            <a:solidFill>
              <a:srgbClr val="D8D8D8"/>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666666"/>
              </a:buClr>
              <a:buSzPts val="1200"/>
              <a:buFont typeface="Arial"/>
              <a:buNone/>
            </a:pPr>
            <a:r>
              <a:rPr lang="es-ES" sz="1200" b="0" i="0" u="none" strike="noStrike" cap="none">
                <a:solidFill>
                  <a:srgbClr val="666666"/>
                </a:solidFill>
                <a:latin typeface="Arial"/>
                <a:ea typeface="Arial"/>
                <a:cs typeface="Arial"/>
                <a:sym typeface="Arial"/>
              </a:rPr>
              <a:t>Tentativo</a:t>
            </a:r>
            <a:endParaRPr sz="1200" b="0" i="0" u="none" strike="noStrike" cap="none">
              <a:solidFill>
                <a:srgbClr val="666666"/>
              </a:solidFill>
              <a:latin typeface="Arial"/>
              <a:ea typeface="Arial"/>
              <a:cs typeface="Arial"/>
              <a:sym typeface="Arial"/>
            </a:endParaRPr>
          </a:p>
        </p:txBody>
      </p:sp>
      <p:sp>
        <p:nvSpPr>
          <p:cNvPr id="1667" name="Google Shape;1667;p6"/>
          <p:cNvSpPr/>
          <p:nvPr/>
        </p:nvSpPr>
        <p:spPr>
          <a:xfrm>
            <a:off x="740050" y="4817243"/>
            <a:ext cx="1296000" cy="14931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1"/>
              </a:buClr>
              <a:buSzPts val="900"/>
              <a:buFont typeface="Arial"/>
              <a:buNone/>
            </a:pPr>
            <a:r>
              <a:rPr lang="es-ES" sz="900" b="1" i="0" u="none" strike="noStrike" cap="none">
                <a:solidFill>
                  <a:schemeClr val="dk1"/>
                </a:solidFill>
                <a:latin typeface="Arial"/>
                <a:ea typeface="Arial"/>
                <a:cs typeface="Arial"/>
                <a:sym typeface="Arial"/>
              </a:rPr>
              <a:t>Análisis técnico </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chemeClr val="dk1"/>
              </a:buClr>
              <a:buSzPts val="900"/>
              <a:buFont typeface="Arial"/>
              <a:buNone/>
            </a:pPr>
            <a:r>
              <a:rPr lang="es-ES" sz="900" b="1" i="0" u="none" strike="noStrike" cap="none">
                <a:solidFill>
                  <a:schemeClr val="dk1"/>
                </a:solidFill>
                <a:latin typeface="Arial"/>
                <a:ea typeface="Arial"/>
                <a:cs typeface="Arial"/>
                <a:sym typeface="Arial"/>
              </a:rPr>
              <a:t>y funcional</a:t>
            </a:r>
            <a:endParaRPr sz="900" b="1" i="0" u="none" strike="noStrike" cap="none">
              <a:solidFill>
                <a:schemeClr val="dk1"/>
              </a:solidFill>
              <a:latin typeface="Arial"/>
              <a:ea typeface="Arial"/>
              <a:cs typeface="Arial"/>
              <a:sym typeface="Arial"/>
            </a:endParaRPr>
          </a:p>
          <a:p>
            <a:pPr marL="0" marR="0" lvl="0" indent="0" algn="l" rtl="0">
              <a:lnSpc>
                <a:spcPct val="100000"/>
              </a:lnSpc>
              <a:spcBef>
                <a:spcPts val="1200"/>
              </a:spcBef>
              <a:spcAft>
                <a:spcPts val="0"/>
              </a:spcAft>
              <a:buClr>
                <a:schemeClr val="dk1"/>
              </a:buClr>
              <a:buSzPts val="900"/>
              <a:buFont typeface="Arial"/>
              <a:buNone/>
            </a:pPr>
            <a:r>
              <a:rPr lang="es-ES" sz="900" b="1" i="0" u="none" strike="noStrike" cap="none">
                <a:solidFill>
                  <a:schemeClr val="dk1"/>
                </a:solidFill>
                <a:latin typeface="Arial"/>
                <a:ea typeface="Arial"/>
                <a:cs typeface="Arial"/>
                <a:sym typeface="Arial"/>
              </a:rPr>
              <a:t>Seguimiento</a:t>
            </a:r>
            <a:endParaRPr sz="900" b="1" i="0" u="none" strike="noStrike" cap="none">
              <a:solidFill>
                <a:schemeClr val="dk1"/>
              </a:solidFill>
              <a:latin typeface="Arial"/>
              <a:ea typeface="Arial"/>
              <a:cs typeface="Arial"/>
              <a:sym typeface="Arial"/>
            </a:endParaRPr>
          </a:p>
          <a:p>
            <a:pPr marL="0" marR="0" lvl="0" indent="0" algn="l" rtl="0">
              <a:lnSpc>
                <a:spcPct val="100000"/>
              </a:lnSpc>
              <a:spcBef>
                <a:spcPts val="1200"/>
              </a:spcBef>
              <a:spcAft>
                <a:spcPts val="0"/>
              </a:spcAft>
              <a:buClr>
                <a:schemeClr val="dk1"/>
              </a:buClr>
              <a:buSzPts val="900"/>
              <a:buFont typeface="Arial"/>
              <a:buNone/>
            </a:pPr>
            <a:r>
              <a:rPr lang="es-ES" sz="900" b="1" i="0" u="none" strike="noStrike" cap="none">
                <a:solidFill>
                  <a:schemeClr val="dk1"/>
                </a:solidFill>
                <a:latin typeface="Arial"/>
                <a:ea typeface="Arial"/>
                <a:cs typeface="Arial"/>
                <a:sym typeface="Arial"/>
              </a:rPr>
              <a:t>Desarrollo</a:t>
            </a:r>
            <a:endParaRPr sz="900" b="1" i="0" u="none" strike="noStrike" cap="none">
              <a:solidFill>
                <a:schemeClr val="dk1"/>
              </a:solidFill>
              <a:latin typeface="Arial"/>
              <a:ea typeface="Arial"/>
              <a:cs typeface="Arial"/>
              <a:sym typeface="Arial"/>
            </a:endParaRPr>
          </a:p>
          <a:p>
            <a:pPr marL="0" marR="0" lvl="0" indent="0" algn="l" rtl="0">
              <a:lnSpc>
                <a:spcPct val="100000"/>
              </a:lnSpc>
              <a:spcBef>
                <a:spcPts val="1200"/>
              </a:spcBef>
              <a:spcAft>
                <a:spcPts val="0"/>
              </a:spcAft>
              <a:buClr>
                <a:schemeClr val="dk1"/>
              </a:buClr>
              <a:buSzPts val="900"/>
              <a:buFont typeface="Arial"/>
              <a:buNone/>
            </a:pPr>
            <a:r>
              <a:rPr lang="es-ES" sz="900" b="1" i="0" u="none" strike="noStrike" cap="none">
                <a:solidFill>
                  <a:schemeClr val="dk1"/>
                </a:solidFill>
                <a:latin typeface="Arial"/>
                <a:ea typeface="Arial"/>
                <a:cs typeface="Arial"/>
                <a:sym typeface="Arial"/>
              </a:rPr>
              <a:t>Seguridad</a:t>
            </a:r>
            <a:endParaRPr sz="900" b="1" i="0" u="none" strike="noStrike" cap="none">
              <a:solidFill>
                <a:schemeClr val="dk1"/>
              </a:solidFill>
              <a:latin typeface="Arial"/>
              <a:ea typeface="Arial"/>
              <a:cs typeface="Arial"/>
              <a:sym typeface="Arial"/>
            </a:endParaRPr>
          </a:p>
          <a:p>
            <a:pPr marL="0" marR="0" lvl="0" indent="0" algn="l" rtl="0">
              <a:lnSpc>
                <a:spcPct val="100000"/>
              </a:lnSpc>
              <a:spcBef>
                <a:spcPts val="1200"/>
              </a:spcBef>
              <a:spcAft>
                <a:spcPts val="0"/>
              </a:spcAft>
              <a:buClr>
                <a:schemeClr val="dk1"/>
              </a:buClr>
              <a:buSzPts val="900"/>
              <a:buFont typeface="Arial"/>
              <a:buNone/>
            </a:pPr>
            <a:r>
              <a:rPr lang="es-ES" sz="900" b="1" i="0" u="none" strike="noStrike" cap="none">
                <a:solidFill>
                  <a:schemeClr val="dk1"/>
                </a:solidFill>
                <a:latin typeface="Arial"/>
                <a:ea typeface="Arial"/>
                <a:cs typeface="Arial"/>
                <a:sym typeface="Arial"/>
              </a:rPr>
              <a:t>Operación y  mantenimiento</a:t>
            </a:r>
            <a:endParaRPr sz="900" b="1" i="0" u="none" strike="noStrike" cap="none">
              <a:solidFill>
                <a:schemeClr val="dk1"/>
              </a:solidFill>
              <a:latin typeface="Arial"/>
              <a:ea typeface="Arial"/>
              <a:cs typeface="Arial"/>
              <a:sym typeface="Arial"/>
            </a:endParaRPr>
          </a:p>
          <a:p>
            <a:pPr marL="0" marR="0" lvl="0" indent="0" algn="ctr" rtl="0">
              <a:lnSpc>
                <a:spcPct val="100000"/>
              </a:lnSpc>
              <a:spcBef>
                <a:spcPts val="1200"/>
              </a:spcBef>
              <a:spcAft>
                <a:spcPts val="0"/>
              </a:spcAft>
              <a:buClr>
                <a:schemeClr val="dk1"/>
              </a:buClr>
              <a:buSzPts val="900"/>
              <a:buFont typeface="Arial"/>
              <a:buNone/>
            </a:pPr>
            <a:endParaRPr sz="900" b="1" i="0" u="none" strike="noStrike" cap="none">
              <a:solidFill>
                <a:schemeClr val="dk1"/>
              </a:solidFill>
              <a:latin typeface="Arial"/>
              <a:ea typeface="Arial"/>
              <a:cs typeface="Arial"/>
              <a:sym typeface="Arial"/>
            </a:endParaRPr>
          </a:p>
          <a:p>
            <a:pPr marL="0" marR="0" lvl="0" indent="0" algn="ctr" rtl="0">
              <a:lnSpc>
                <a:spcPct val="100000"/>
              </a:lnSpc>
              <a:spcBef>
                <a:spcPts val="1200"/>
              </a:spcBef>
              <a:spcAft>
                <a:spcPts val="1200"/>
              </a:spcAft>
              <a:buClr>
                <a:schemeClr val="dk1"/>
              </a:buClr>
              <a:buSzPts val="900"/>
              <a:buFont typeface="Arial"/>
              <a:buNone/>
            </a:pPr>
            <a:endParaRPr sz="900" b="1" i="0" u="none" strike="noStrike" cap="none">
              <a:solidFill>
                <a:schemeClr val="dk1"/>
              </a:solidFill>
              <a:latin typeface="Arial"/>
              <a:ea typeface="Arial"/>
              <a:cs typeface="Arial"/>
              <a:sym typeface="Arial"/>
            </a:endParaRPr>
          </a:p>
        </p:txBody>
      </p:sp>
      <p:sp>
        <p:nvSpPr>
          <p:cNvPr id="1668" name="Google Shape;1668;p6"/>
          <p:cNvSpPr/>
          <p:nvPr/>
        </p:nvSpPr>
        <p:spPr>
          <a:xfrm rot="-5400000">
            <a:off x="-738047" y="3237954"/>
            <a:ext cx="2511300" cy="394800"/>
          </a:xfrm>
          <a:prstGeom prst="rect">
            <a:avLst/>
          </a:prstGeom>
          <a:solidFill>
            <a:srgbClr val="FFFAE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s-ES" sz="1600" b="0" i="0" u="none" strike="noStrike" cap="none">
                <a:solidFill>
                  <a:schemeClr val="dk1"/>
                </a:solidFill>
                <a:latin typeface="Playfair Display"/>
                <a:ea typeface="Playfair Display"/>
                <a:cs typeface="Playfair Display"/>
                <a:sym typeface="Playfair Display"/>
              </a:rPr>
              <a:t>Fases</a:t>
            </a:r>
            <a:endParaRPr sz="1600" b="0" i="0" u="none" strike="noStrike" cap="none">
              <a:solidFill>
                <a:schemeClr val="dk1"/>
              </a:solidFill>
              <a:latin typeface="Playfair Display"/>
              <a:ea typeface="Playfair Display"/>
              <a:cs typeface="Playfair Display"/>
              <a:sym typeface="Playfair Display"/>
            </a:endParaRPr>
          </a:p>
        </p:txBody>
      </p:sp>
      <p:sp>
        <p:nvSpPr>
          <p:cNvPr id="1669" name="Google Shape;1669;p6"/>
          <p:cNvSpPr/>
          <p:nvPr/>
        </p:nvSpPr>
        <p:spPr>
          <a:xfrm rot="-5400000">
            <a:off x="-291347" y="5521610"/>
            <a:ext cx="1617900" cy="394800"/>
          </a:xfrm>
          <a:prstGeom prst="rect">
            <a:avLst/>
          </a:prstGeom>
          <a:solidFill>
            <a:srgbClr val="FFFAE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s-ES" sz="1600" b="0" i="0" u="none" strike="noStrike" cap="none">
                <a:solidFill>
                  <a:schemeClr val="dk1"/>
                </a:solidFill>
                <a:latin typeface="Playfair Display"/>
                <a:ea typeface="Playfair Display"/>
                <a:cs typeface="Playfair Display"/>
                <a:sym typeface="Playfair Display"/>
              </a:rPr>
              <a:t>Equipos</a:t>
            </a:r>
            <a:endParaRPr sz="1600" b="0" i="0" u="none" strike="noStrike" cap="none">
              <a:solidFill>
                <a:schemeClr val="dk1"/>
              </a:solidFill>
              <a:latin typeface="Playfair Display"/>
              <a:ea typeface="Playfair Display"/>
              <a:cs typeface="Playfair Display"/>
              <a:sym typeface="Playfair Display"/>
            </a:endParaRPr>
          </a:p>
        </p:txBody>
      </p:sp>
      <p:cxnSp>
        <p:nvCxnSpPr>
          <p:cNvPr id="1670" name="Google Shape;1670;p6"/>
          <p:cNvCxnSpPr/>
          <p:nvPr/>
        </p:nvCxnSpPr>
        <p:spPr>
          <a:xfrm>
            <a:off x="1790519" y="1992299"/>
            <a:ext cx="1706400" cy="0"/>
          </a:xfrm>
          <a:prstGeom prst="straightConnector1">
            <a:avLst/>
          </a:prstGeom>
          <a:noFill/>
          <a:ln w="76200" cap="flat" cmpd="sng">
            <a:solidFill>
              <a:schemeClr val="accent6"/>
            </a:solidFill>
            <a:prstDash val="solid"/>
            <a:round/>
            <a:headEnd type="none" w="sm" len="sm"/>
            <a:tailEnd type="none" w="sm" len="sm"/>
          </a:ln>
        </p:spPr>
      </p:cxnSp>
      <p:grpSp>
        <p:nvGrpSpPr>
          <p:cNvPr id="1671" name="Google Shape;1671;p6"/>
          <p:cNvGrpSpPr/>
          <p:nvPr/>
        </p:nvGrpSpPr>
        <p:grpSpPr>
          <a:xfrm>
            <a:off x="1797388" y="4932643"/>
            <a:ext cx="10132489" cy="1502898"/>
            <a:chOff x="2688764" y="2133946"/>
            <a:chExt cx="10177269" cy="3543733"/>
          </a:xfrm>
        </p:grpSpPr>
        <p:sp>
          <p:nvSpPr>
            <p:cNvPr id="1672" name="Google Shape;1672;p6"/>
            <p:cNvSpPr txBox="1"/>
            <p:nvPr/>
          </p:nvSpPr>
          <p:spPr>
            <a:xfrm>
              <a:off x="2688764" y="5039863"/>
              <a:ext cx="10177269" cy="637816"/>
            </a:xfrm>
            <a:prstGeom prst="rect">
              <a:avLst/>
            </a:prstGeom>
            <a:solidFill>
              <a:srgbClr val="E3F3EF"/>
            </a:solidFill>
            <a:ln>
              <a:noFill/>
            </a:ln>
          </p:spPr>
          <p:txBody>
            <a:bodyPr spcFirstLastPara="1" wrap="square" lIns="91425" tIns="91425" rIns="91425" bIns="91425" anchor="ctr" anchorCtr="0">
              <a:noAutofit/>
            </a:bodyPr>
            <a:lstStyle/>
            <a:p>
              <a:pPr marL="158750" marR="0" lvl="0" indent="0" algn="l" rtl="0">
                <a:lnSpc>
                  <a:spcPct val="100000"/>
                </a:lnSpc>
                <a:spcBef>
                  <a:spcPts val="0"/>
                </a:spcBef>
                <a:spcAft>
                  <a:spcPts val="0"/>
                </a:spcAft>
                <a:buClr>
                  <a:srgbClr val="000000"/>
                </a:buClr>
                <a:buSzPts val="700"/>
                <a:buFont typeface="Arial"/>
                <a:buNone/>
              </a:pPr>
              <a:r>
                <a:rPr lang="es-ES" sz="700" b="0" i="0" u="none" strike="noStrike" cap="none" dirty="0">
                  <a:solidFill>
                    <a:schemeClr val="dk1"/>
                  </a:solidFill>
                  <a:latin typeface="Helvetica Neue"/>
                  <a:ea typeface="Helvetica Neue"/>
                  <a:cs typeface="Helvetica Neue"/>
                  <a:sym typeface="Helvetica Neue"/>
                </a:rPr>
                <a:t>Operación de la plataforma y soporte L1, L2, L3	Mantenimiento entorno Producción</a:t>
              </a:r>
              <a:endParaRPr sz="700" b="0" i="0" u="none" strike="noStrike" cap="none" dirty="0">
                <a:solidFill>
                  <a:schemeClr val="dk1"/>
                </a:solidFill>
                <a:latin typeface="Helvetica Neue"/>
                <a:ea typeface="Helvetica Neue"/>
                <a:cs typeface="Helvetica Neue"/>
                <a:sym typeface="Helvetica Neue"/>
              </a:endParaRPr>
            </a:p>
          </p:txBody>
        </p:sp>
        <p:sp>
          <p:nvSpPr>
            <p:cNvPr id="1673" name="Google Shape;1673;p6"/>
            <p:cNvSpPr txBox="1"/>
            <p:nvPr/>
          </p:nvSpPr>
          <p:spPr>
            <a:xfrm>
              <a:off x="2691805" y="4316027"/>
              <a:ext cx="10173344" cy="594204"/>
            </a:xfrm>
            <a:prstGeom prst="rect">
              <a:avLst/>
            </a:prstGeom>
            <a:solidFill>
              <a:srgbClr val="E2E2EF"/>
            </a:solidFill>
            <a:ln>
              <a:noFill/>
            </a:ln>
          </p:spPr>
          <p:txBody>
            <a:bodyPr spcFirstLastPara="1" wrap="square" lIns="91425" tIns="91425" rIns="91425" bIns="91425" anchor="ctr" anchorCtr="0">
              <a:noAutofit/>
            </a:bodyPr>
            <a:lstStyle/>
            <a:p>
              <a:pPr marL="158750" marR="0" lvl="0" indent="0" algn="l" rtl="0">
                <a:lnSpc>
                  <a:spcPct val="100000"/>
                </a:lnSpc>
                <a:spcBef>
                  <a:spcPts val="0"/>
                </a:spcBef>
                <a:spcAft>
                  <a:spcPts val="0"/>
                </a:spcAft>
                <a:buClr>
                  <a:srgbClr val="000000"/>
                </a:buClr>
                <a:buSzPts val="700"/>
                <a:buFont typeface="Arial"/>
                <a:buNone/>
              </a:pPr>
              <a:r>
                <a:rPr lang="es-ES" sz="700" b="0" i="0" u="none" strike="noStrike" cap="none">
                  <a:solidFill>
                    <a:schemeClr val="dk1"/>
                  </a:solidFill>
                  <a:latin typeface="Helvetica Neue"/>
                  <a:ea typeface="Helvetica Neue"/>
                  <a:cs typeface="Helvetica Neue"/>
                  <a:sym typeface="Helvetica Neue"/>
                </a:rPr>
                <a:t>Auditoría de seguridad pre-lanzamiento	Aseguramiento continuo de seguridad en evolutivos</a:t>
              </a:r>
              <a:endParaRPr sz="700" b="0" i="0" u="none" strike="noStrike" cap="none">
                <a:solidFill>
                  <a:schemeClr val="dk1"/>
                </a:solidFill>
                <a:latin typeface="Helvetica Neue"/>
                <a:ea typeface="Helvetica Neue"/>
                <a:cs typeface="Helvetica Neue"/>
                <a:sym typeface="Helvetica Neue"/>
              </a:endParaRPr>
            </a:p>
          </p:txBody>
        </p:sp>
        <p:sp>
          <p:nvSpPr>
            <p:cNvPr id="1674" name="Google Shape;1674;p6"/>
            <p:cNvSpPr txBox="1"/>
            <p:nvPr/>
          </p:nvSpPr>
          <p:spPr>
            <a:xfrm>
              <a:off x="2688841" y="2133946"/>
              <a:ext cx="10176301" cy="625861"/>
            </a:xfrm>
            <a:prstGeom prst="rect">
              <a:avLst/>
            </a:prstGeom>
            <a:solidFill>
              <a:srgbClr val="E2E2EF"/>
            </a:solidFill>
            <a:ln>
              <a:noFill/>
            </a:ln>
          </p:spPr>
          <p:txBody>
            <a:bodyPr spcFirstLastPara="1" wrap="square" lIns="91425" tIns="91425" rIns="91425" bIns="91425" anchor="ctr" anchorCtr="0">
              <a:noAutofit/>
            </a:bodyPr>
            <a:lstStyle/>
            <a:p>
              <a:pPr marL="158750" marR="0" lvl="0" indent="0" algn="l" rtl="0">
                <a:lnSpc>
                  <a:spcPct val="100000"/>
                </a:lnSpc>
                <a:spcBef>
                  <a:spcPts val="0"/>
                </a:spcBef>
                <a:spcAft>
                  <a:spcPts val="0"/>
                </a:spcAft>
                <a:buClr>
                  <a:srgbClr val="000000"/>
                </a:buClr>
                <a:buSzPts val="700"/>
                <a:buFont typeface="Arial"/>
                <a:buNone/>
              </a:pPr>
              <a:r>
                <a:rPr lang="es-ES" sz="700" b="0" i="0" u="none" strike="noStrike" cap="none" dirty="0">
                  <a:solidFill>
                    <a:schemeClr val="dk1"/>
                  </a:solidFill>
                  <a:latin typeface="Helvetica Neue"/>
                  <a:ea typeface="Helvetica Neue"/>
                  <a:cs typeface="Helvetica Neue"/>
                  <a:sym typeface="Helvetica Neue"/>
                </a:rPr>
                <a:t>Investigación y análisis de estándares internacionales	Análisis de arquitectura</a:t>
              </a:r>
              <a:endParaRPr sz="700" b="0" i="0" u="none" strike="noStrike" cap="none" dirty="0">
                <a:solidFill>
                  <a:schemeClr val="dk1"/>
                </a:solidFill>
                <a:latin typeface="Helvetica Neue"/>
                <a:ea typeface="Helvetica Neue"/>
                <a:cs typeface="Helvetica Neue"/>
                <a:sym typeface="Helvetica Neue"/>
              </a:endParaRPr>
            </a:p>
          </p:txBody>
        </p:sp>
        <p:sp>
          <p:nvSpPr>
            <p:cNvPr id="1675" name="Google Shape;1675;p6"/>
            <p:cNvSpPr txBox="1"/>
            <p:nvPr/>
          </p:nvSpPr>
          <p:spPr>
            <a:xfrm>
              <a:off x="4388886" y="2858211"/>
              <a:ext cx="8476264" cy="587176"/>
            </a:xfrm>
            <a:prstGeom prst="rect">
              <a:avLst/>
            </a:prstGeom>
            <a:solidFill>
              <a:srgbClr val="E3F3EF"/>
            </a:solidFill>
            <a:ln>
              <a:noFill/>
            </a:ln>
          </p:spPr>
          <p:txBody>
            <a:bodyPr spcFirstLastPara="1" wrap="square" lIns="91425" tIns="91425" rIns="91425" bIns="91425" anchor="ctr" anchorCtr="0">
              <a:noAutofit/>
            </a:bodyPr>
            <a:lstStyle/>
            <a:p>
              <a:pPr marL="158750" marR="0" lvl="0" indent="0" algn="l" rtl="0">
                <a:lnSpc>
                  <a:spcPct val="100000"/>
                </a:lnSpc>
                <a:spcBef>
                  <a:spcPts val="0"/>
                </a:spcBef>
                <a:spcAft>
                  <a:spcPts val="0"/>
                </a:spcAft>
                <a:buClr>
                  <a:srgbClr val="000000"/>
                </a:buClr>
                <a:buSzPts val="700"/>
                <a:buFont typeface="Arial"/>
                <a:buNone/>
              </a:pPr>
              <a:r>
                <a:rPr lang="es-ES" sz="700" b="0" i="0" u="none" strike="noStrike" cap="none" dirty="0">
                  <a:solidFill>
                    <a:schemeClr val="dk1"/>
                  </a:solidFill>
                  <a:latin typeface="Helvetica Neue"/>
                  <a:ea typeface="Helvetica Neue"/>
                  <a:cs typeface="Helvetica Neue"/>
                  <a:sym typeface="Helvetica Neue"/>
                </a:rPr>
                <a:t>Consultoría funcional y de adopción de la solución	Seguimiento de despliegue y estadísticas de éxito	</a:t>
              </a:r>
              <a:endParaRPr sz="700" b="0" i="0" u="none" strike="noStrike" cap="none" dirty="0">
                <a:solidFill>
                  <a:schemeClr val="dk1"/>
                </a:solidFill>
                <a:latin typeface="Helvetica Neue"/>
                <a:ea typeface="Helvetica Neue"/>
                <a:cs typeface="Helvetica Neue"/>
                <a:sym typeface="Helvetica Neue"/>
              </a:endParaRPr>
            </a:p>
          </p:txBody>
        </p:sp>
        <p:sp>
          <p:nvSpPr>
            <p:cNvPr id="1676" name="Google Shape;1676;p6"/>
            <p:cNvSpPr txBox="1"/>
            <p:nvPr/>
          </p:nvSpPr>
          <p:spPr>
            <a:xfrm>
              <a:off x="2691805" y="3627194"/>
              <a:ext cx="10173344" cy="594204"/>
            </a:xfrm>
            <a:prstGeom prst="rect">
              <a:avLst/>
            </a:prstGeom>
            <a:solidFill>
              <a:srgbClr val="E2E2EF"/>
            </a:solidFill>
            <a:ln>
              <a:noFill/>
            </a:ln>
          </p:spPr>
          <p:txBody>
            <a:bodyPr spcFirstLastPara="1" wrap="square" lIns="91425" tIns="91425" rIns="91425" bIns="91425" anchor="ctr" anchorCtr="0">
              <a:noAutofit/>
            </a:bodyPr>
            <a:lstStyle/>
            <a:p>
              <a:pPr marL="158750" marR="0" lvl="0" indent="0" algn="l" rtl="0">
                <a:lnSpc>
                  <a:spcPct val="100000"/>
                </a:lnSpc>
                <a:spcBef>
                  <a:spcPts val="0"/>
                </a:spcBef>
                <a:spcAft>
                  <a:spcPts val="0"/>
                </a:spcAft>
                <a:buClr>
                  <a:srgbClr val="000000"/>
                </a:buClr>
                <a:buSzPts val="700"/>
                <a:buFont typeface="Arial"/>
                <a:buNone/>
              </a:pPr>
              <a:r>
                <a:rPr lang="es-ES" sz="700" b="0" i="0" u="none" strike="noStrike" cap="none">
                  <a:solidFill>
                    <a:schemeClr val="dk1"/>
                  </a:solidFill>
                  <a:latin typeface="Helvetica Neue"/>
                  <a:ea typeface="Helvetica Neue"/>
                  <a:cs typeface="Helvetica Neue"/>
                  <a:sym typeface="Helvetica Neue"/>
                </a:rPr>
                <a:t>Construcción de solución y adaptaciones a estándares internacionales	Evolución funcional</a:t>
              </a:r>
              <a:endParaRPr sz="700" b="0" i="0" u="none" strike="noStrike" cap="none">
                <a:solidFill>
                  <a:schemeClr val="dk1"/>
                </a:solidFill>
                <a:latin typeface="Helvetica Neue"/>
                <a:ea typeface="Helvetica Neue"/>
                <a:cs typeface="Helvetica Neue"/>
                <a:sym typeface="Helvetica Neue"/>
              </a:endParaRPr>
            </a:p>
          </p:txBody>
        </p:sp>
      </p:grpSp>
      <p:cxnSp>
        <p:nvCxnSpPr>
          <p:cNvPr id="1677" name="Google Shape;1677;p6"/>
          <p:cNvCxnSpPr>
            <a:endCxn id="1675" idx="1"/>
          </p:cNvCxnSpPr>
          <p:nvPr/>
        </p:nvCxnSpPr>
        <p:spPr>
          <a:xfrm>
            <a:off x="1800430" y="5364315"/>
            <a:ext cx="1689600" cy="0"/>
          </a:xfrm>
          <a:prstGeom prst="straightConnector1">
            <a:avLst/>
          </a:prstGeom>
          <a:noFill/>
          <a:ln w="28575" cap="flat" cmpd="sng">
            <a:solidFill>
              <a:srgbClr val="C8E7E0"/>
            </a:solidFill>
            <a:prstDash val="dot"/>
            <a:miter lim="800000"/>
            <a:headEnd type="none" w="sm" len="sm"/>
            <a:tailEnd type="none" w="sm" len="sm"/>
          </a:ln>
        </p:spPr>
      </p:cxnSp>
      <p:sp>
        <p:nvSpPr>
          <p:cNvPr id="1679" name="Google Shape;1679;p6"/>
          <p:cNvSpPr txBox="1">
            <a:spLocks noGrp="1"/>
          </p:cNvSpPr>
          <p:nvPr>
            <p:ph type="body" idx="1"/>
          </p:nvPr>
        </p:nvSpPr>
        <p:spPr>
          <a:xfrm>
            <a:off x="336000" y="128400"/>
            <a:ext cx="11519400" cy="251400"/>
          </a:xfrm>
          <a:prstGeom prst="rect">
            <a:avLst/>
          </a:prstGeom>
          <a:noFill/>
          <a:ln>
            <a:noFill/>
          </a:ln>
        </p:spPr>
        <p:txBody>
          <a:bodyPr spcFirstLastPara="1" wrap="square" lIns="0" tIns="45700" rIns="91425" bIns="45700" anchor="t" anchorCtr="0">
            <a:noAutofit/>
          </a:bodyPr>
          <a:lstStyle/>
          <a:p>
            <a:pPr marL="0" lvl="0" indent="0" algn="l" rtl="0">
              <a:lnSpc>
                <a:spcPct val="90000"/>
              </a:lnSpc>
              <a:spcBef>
                <a:spcPts val="0"/>
              </a:spcBef>
              <a:spcAft>
                <a:spcPts val="0"/>
              </a:spcAft>
              <a:buClr>
                <a:srgbClr val="1A3B47"/>
              </a:buClr>
              <a:buSzPts val="1400"/>
              <a:buNone/>
            </a:pPr>
            <a:r>
              <a:rPr lang="es-ES" sz="1400">
                <a:latin typeface="Playfair Display"/>
                <a:ea typeface="Playfair Display"/>
                <a:cs typeface="Playfair Display"/>
                <a:sym typeface="Playfair Display"/>
              </a:rPr>
              <a:t>Covid-19 app - Calendario y equipo de trabajo</a:t>
            </a:r>
            <a:endParaRPr/>
          </a:p>
        </p:txBody>
      </p:sp>
      <p:sp>
        <p:nvSpPr>
          <p:cNvPr id="50" name="Google Shape;1666;p6"/>
          <p:cNvSpPr/>
          <p:nvPr/>
        </p:nvSpPr>
        <p:spPr>
          <a:xfrm rot="2255143">
            <a:off x="11040320" y="2811902"/>
            <a:ext cx="1056574" cy="271066"/>
          </a:xfrm>
          <a:prstGeom prst="rect">
            <a:avLst/>
          </a:prstGeom>
          <a:solidFill>
            <a:schemeClr val="lt2"/>
          </a:solidFill>
          <a:ln w="9525" cap="flat" cmpd="sng">
            <a:solidFill>
              <a:srgbClr val="D8D8D8"/>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666666"/>
              </a:buClr>
              <a:buSzPts val="1200"/>
              <a:buFont typeface="Arial"/>
              <a:buNone/>
            </a:pPr>
            <a:r>
              <a:rPr lang="es-ES" sz="900" b="0" i="0" u="none" strike="noStrike" cap="none" dirty="0" smtClean="0">
                <a:solidFill>
                  <a:srgbClr val="666666"/>
                </a:solidFill>
                <a:latin typeface="Arial"/>
                <a:ea typeface="Arial"/>
                <a:cs typeface="Arial"/>
                <a:sym typeface="Arial"/>
              </a:rPr>
              <a:t>Funcionalidades ilustrativas</a:t>
            </a:r>
            <a:endParaRPr sz="900" b="0" i="0" u="none" strike="noStrike" cap="none" dirty="0">
              <a:solidFill>
                <a:srgbClr val="666666"/>
              </a:solidFill>
              <a:latin typeface="Arial"/>
              <a:ea typeface="Arial"/>
              <a:cs typeface="Arial"/>
              <a:sym typeface="Arial"/>
            </a:endParaRP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1683"/>
        <p:cNvGrpSpPr/>
        <p:nvPr/>
      </p:nvGrpSpPr>
      <p:grpSpPr>
        <a:xfrm>
          <a:off x="0" y="0"/>
          <a:ext cx="0" cy="0"/>
          <a:chOff x="0" y="0"/>
          <a:chExt cx="0" cy="0"/>
        </a:xfrm>
      </p:grpSpPr>
      <p:sp>
        <p:nvSpPr>
          <p:cNvPr id="2" name="Marcador de texto 1"/>
          <p:cNvSpPr>
            <a:spLocks noGrp="1"/>
          </p:cNvSpPr>
          <p:nvPr>
            <p:ph type="body" idx="1"/>
          </p:nvPr>
        </p:nvSpPr>
        <p:spPr/>
        <p:txBody>
          <a:bodyPr/>
          <a:lstStyle/>
          <a:p>
            <a:endParaRPr lang="es-ES"/>
          </a:p>
        </p:txBody>
      </p:sp>
      <p:sp>
        <p:nvSpPr>
          <p:cNvPr id="3" name="Título 2"/>
          <p:cNvSpPr>
            <a:spLocks noGrp="1"/>
          </p:cNvSpPr>
          <p:nvPr>
            <p:ph type="title"/>
          </p:nvPr>
        </p:nvSpPr>
        <p:spPr/>
        <p:txBody>
          <a:bodyPr/>
          <a:lstStyle/>
          <a:p>
            <a:endParaRPr lang="es-ES"/>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577"/>
        <p:cNvGrpSpPr/>
        <p:nvPr/>
      </p:nvGrpSpPr>
      <p:grpSpPr>
        <a:xfrm>
          <a:off x="0" y="0"/>
          <a:ext cx="0" cy="0"/>
          <a:chOff x="0" y="0"/>
          <a:chExt cx="0" cy="0"/>
        </a:xfrm>
      </p:grpSpPr>
      <p:sp>
        <p:nvSpPr>
          <p:cNvPr id="2" name="Marcador de texto 1"/>
          <p:cNvSpPr>
            <a:spLocks noGrp="1"/>
          </p:cNvSpPr>
          <p:nvPr>
            <p:ph type="body" idx="1"/>
          </p:nvPr>
        </p:nvSpPr>
        <p:spPr/>
        <p:txBody>
          <a:bodyPr/>
          <a:lstStyle/>
          <a:p>
            <a:endParaRPr lang="es-ES"/>
          </a:p>
        </p:txBody>
      </p:sp>
    </p:spTree>
    <p:extLst>
      <p:ext uri="{BB962C8B-B14F-4D97-AF65-F5344CB8AC3E}">
        <p14:creationId xmlns:p14="http://schemas.microsoft.com/office/powerpoint/2010/main" val="3595565594"/>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603"/>
        <p:cNvGrpSpPr/>
        <p:nvPr/>
      </p:nvGrpSpPr>
      <p:grpSpPr>
        <a:xfrm>
          <a:off x="0" y="0"/>
          <a:ext cx="0" cy="0"/>
          <a:chOff x="0" y="0"/>
          <a:chExt cx="0" cy="0"/>
        </a:xfrm>
      </p:grpSpPr>
      <p:sp>
        <p:nvSpPr>
          <p:cNvPr id="2" name="Marcador de texto 1"/>
          <p:cNvSpPr>
            <a:spLocks noGrp="1"/>
          </p:cNvSpPr>
          <p:nvPr>
            <p:ph type="body" idx="1"/>
          </p:nvPr>
        </p:nvSpPr>
        <p:spPr/>
        <p:txBody>
          <a:bodyPr/>
          <a:lstStyle/>
          <a:p>
            <a:endParaRPr lang="es-ES"/>
          </a:p>
        </p:txBody>
      </p:sp>
    </p:spTree>
    <p:extLst>
      <p:ext uri="{BB962C8B-B14F-4D97-AF65-F5344CB8AC3E}">
        <p14:creationId xmlns:p14="http://schemas.microsoft.com/office/powerpoint/2010/main" val="335307384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1823"/>
        <p:cNvGrpSpPr/>
        <p:nvPr/>
      </p:nvGrpSpPr>
      <p:grpSpPr>
        <a:xfrm>
          <a:off x="0" y="0"/>
          <a:ext cx="0" cy="0"/>
          <a:chOff x="0" y="0"/>
          <a:chExt cx="0" cy="0"/>
        </a:xfrm>
      </p:grpSpPr>
      <p:sp>
        <p:nvSpPr>
          <p:cNvPr id="1833" name="Google Shape;1833;g7826bb8c5e_0_1744"/>
          <p:cNvSpPr txBox="1">
            <a:spLocks noGrp="1"/>
          </p:cNvSpPr>
          <p:nvPr>
            <p:ph type="body" idx="1"/>
          </p:nvPr>
        </p:nvSpPr>
        <p:spPr>
          <a:xfrm>
            <a:off x="336000" y="128400"/>
            <a:ext cx="11519400" cy="251400"/>
          </a:xfrm>
          <a:prstGeom prst="rect">
            <a:avLst/>
          </a:prstGeom>
          <a:noFill/>
          <a:ln>
            <a:noFill/>
          </a:ln>
        </p:spPr>
        <p:txBody>
          <a:bodyPr spcFirstLastPara="1" wrap="square" lIns="0" tIns="45700" rIns="91425" bIns="45700" anchor="t" anchorCtr="0">
            <a:noAutofit/>
          </a:bodyPr>
          <a:lstStyle/>
          <a:p>
            <a:pPr marL="0" lvl="0" indent="0" algn="l" rtl="0">
              <a:lnSpc>
                <a:spcPct val="90000"/>
              </a:lnSpc>
              <a:spcBef>
                <a:spcPts val="0"/>
              </a:spcBef>
              <a:spcAft>
                <a:spcPts val="0"/>
              </a:spcAft>
              <a:buClr>
                <a:srgbClr val="1A3B47"/>
              </a:buClr>
              <a:buSzPts val="1400"/>
              <a:buNone/>
            </a:pPr>
            <a:r>
              <a:rPr lang="es-ES" sz="1400">
                <a:latin typeface="Playfair Display"/>
                <a:ea typeface="Playfair Display"/>
                <a:cs typeface="Playfair Display"/>
                <a:sym typeface="Playfair Display"/>
              </a:rPr>
              <a:t>Covid-19 app - Calendario y equipo de trabajo</a:t>
            </a:r>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416"/>
        <p:cNvGrpSpPr/>
        <p:nvPr/>
      </p:nvGrpSpPr>
      <p:grpSpPr>
        <a:xfrm>
          <a:off x="0" y="0"/>
          <a:ext cx="0" cy="0"/>
          <a:chOff x="0" y="0"/>
          <a:chExt cx="0" cy="0"/>
        </a:xfrm>
      </p:grpSpPr>
      <p:pic>
        <p:nvPicPr>
          <p:cNvPr id="417" name="Google Shape;417;p2"/>
          <p:cNvPicPr preferRelativeResize="0"/>
          <p:nvPr/>
        </p:nvPicPr>
        <p:blipFill rotWithShape="1">
          <a:blip r:embed="rId3">
            <a:alphaModFix/>
          </a:blip>
          <a:srcRect/>
          <a:stretch/>
        </p:blipFill>
        <p:spPr>
          <a:xfrm flipH="1">
            <a:off x="-668025" y="-27383"/>
            <a:ext cx="12961440" cy="7416824"/>
          </a:xfrm>
          <a:prstGeom prst="rect">
            <a:avLst/>
          </a:prstGeom>
          <a:noFill/>
          <a:ln>
            <a:noFill/>
          </a:ln>
        </p:spPr>
      </p:pic>
      <p:sp>
        <p:nvSpPr>
          <p:cNvPr id="418" name="Google Shape;418;p2"/>
          <p:cNvSpPr/>
          <p:nvPr/>
        </p:nvSpPr>
        <p:spPr>
          <a:xfrm flipH="1">
            <a:off x="-624749" y="0"/>
            <a:ext cx="12769421" cy="6918459"/>
          </a:xfrm>
          <a:prstGeom prst="rect">
            <a:avLst/>
          </a:prstGeom>
          <a:gradFill>
            <a:gsLst>
              <a:gs pos="0">
                <a:schemeClr val="lt1"/>
              </a:gs>
              <a:gs pos="42000">
                <a:schemeClr val="lt1"/>
              </a:gs>
              <a:gs pos="100000">
                <a:srgbClr val="FFFFFF">
                  <a:alpha val="52156"/>
                </a:srgbClr>
              </a:gs>
            </a:gsLst>
            <a:lin ang="0" scaled="0"/>
          </a:gradFill>
          <a:ln>
            <a:noFill/>
          </a:ln>
        </p:spPr>
        <p:txBody>
          <a:bodyPr spcFirstLastPara="1" wrap="square" lIns="48000" tIns="45700" rIns="48000" bIns="45700" anchor="ctr" anchorCtr="0">
            <a:noAutofit/>
          </a:bodyPr>
          <a:lstStyle/>
          <a:p>
            <a:pPr marL="0" marR="0" lvl="0" indent="0" algn="ctr" rtl="0">
              <a:lnSpc>
                <a:spcPct val="100000"/>
              </a:lnSpc>
              <a:spcBef>
                <a:spcPts val="0"/>
              </a:spcBef>
              <a:spcAft>
                <a:spcPts val="0"/>
              </a:spcAft>
              <a:buClr>
                <a:srgbClr val="000000"/>
              </a:buClr>
              <a:buSzPts val="1467"/>
              <a:buFont typeface="Arial"/>
              <a:buNone/>
            </a:pPr>
            <a:endParaRPr sz="1467" b="0" i="0" u="none" strike="noStrike" cap="none">
              <a:solidFill>
                <a:srgbClr val="000000"/>
              </a:solidFill>
              <a:latin typeface="Arial"/>
              <a:ea typeface="Arial"/>
              <a:cs typeface="Arial"/>
              <a:sym typeface="Arial"/>
            </a:endParaRPr>
          </a:p>
        </p:txBody>
      </p:sp>
      <p:sp>
        <p:nvSpPr>
          <p:cNvPr id="419" name="Google Shape;419;p2"/>
          <p:cNvSpPr/>
          <p:nvPr/>
        </p:nvSpPr>
        <p:spPr>
          <a:xfrm>
            <a:off x="-624747" y="1124745"/>
            <a:ext cx="12900340" cy="5852638"/>
          </a:xfrm>
          <a:custGeom>
            <a:avLst/>
            <a:gdLst/>
            <a:ahLst/>
            <a:cxnLst/>
            <a:rect l="l" t="t" r="r" b="b"/>
            <a:pathLst>
              <a:path w="7351855" h="4301361" extrusionOk="0">
                <a:moveTo>
                  <a:pt x="7321608" y="4301361"/>
                </a:moveTo>
                <a:lnTo>
                  <a:pt x="7351855" y="695474"/>
                </a:lnTo>
                <a:lnTo>
                  <a:pt x="7351855" y="0"/>
                </a:lnTo>
                <a:lnTo>
                  <a:pt x="0" y="1661463"/>
                </a:lnTo>
                <a:lnTo>
                  <a:pt x="40329" y="4279670"/>
                </a:lnTo>
                <a:lnTo>
                  <a:pt x="7321608" y="4301361"/>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420" name="Google Shape;420;p2"/>
          <p:cNvSpPr txBox="1">
            <a:spLocks noGrp="1"/>
          </p:cNvSpPr>
          <p:nvPr>
            <p:ph type="title"/>
          </p:nvPr>
        </p:nvSpPr>
        <p:spPr>
          <a:xfrm>
            <a:off x="336000" y="649091"/>
            <a:ext cx="11519451" cy="919343"/>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dk1"/>
              </a:buClr>
              <a:buSzPts val="2600"/>
              <a:buFont typeface="Playfair Display"/>
              <a:buNone/>
            </a:pPr>
            <a:r>
              <a:rPr lang="es-ES"/>
              <a:t>Entendimiento de la colaboración</a:t>
            </a:r>
            <a:endParaRPr/>
          </a:p>
        </p:txBody>
      </p:sp>
      <p:sp>
        <p:nvSpPr>
          <p:cNvPr id="421" name="Google Shape;421;p2"/>
          <p:cNvSpPr txBox="1"/>
          <p:nvPr/>
        </p:nvSpPr>
        <p:spPr>
          <a:xfrm>
            <a:off x="7936934" y="5458441"/>
            <a:ext cx="3663499" cy="478954"/>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1"/>
              </a:buClr>
              <a:buSzPts val="1600"/>
              <a:buFont typeface="Playfair Display"/>
              <a:buNone/>
            </a:pPr>
            <a:r>
              <a:rPr lang="es-ES" sz="1600" b="0" i="0" u="none" strike="noStrike" cap="none">
                <a:solidFill>
                  <a:schemeClr val="dk1"/>
                </a:solidFill>
                <a:latin typeface="Playfair Display"/>
                <a:ea typeface="Playfair Display"/>
                <a:cs typeface="Playfair Display"/>
                <a:sym typeface="Playfair Display"/>
              </a:rPr>
              <a:t>Inclusión</a:t>
            </a:r>
            <a:r>
              <a:rPr lang="es-ES" sz="1400" b="0" i="0" u="none" strike="noStrike" cap="none">
                <a:solidFill>
                  <a:schemeClr val="dk1"/>
                </a:solidFill>
                <a:latin typeface="Helvetica Neue"/>
                <a:ea typeface="Helvetica Neue"/>
                <a:cs typeface="Helvetica Neue"/>
                <a:sym typeface="Helvetica Neue"/>
              </a:rPr>
              <a:t>. </a:t>
            </a:r>
            <a:r>
              <a:rPr lang="es-ES" sz="1400" b="0" i="0" u="none" strike="noStrike" cap="none">
                <a:solidFill>
                  <a:schemeClr val="dk1"/>
                </a:solidFill>
                <a:latin typeface="Arial"/>
                <a:ea typeface="Arial"/>
                <a:cs typeface="Arial"/>
                <a:sym typeface="Arial"/>
              </a:rPr>
              <a:t>Para gestionar la crisis sanitaria de forma efectiva, la solución debe ser adoptable por el máximo de la población</a:t>
            </a:r>
            <a:endParaRPr sz="1400" b="0" i="0" u="none" strike="noStrike" cap="none">
              <a:solidFill>
                <a:schemeClr val="dk1"/>
              </a:solidFill>
              <a:latin typeface="Arial"/>
              <a:ea typeface="Arial"/>
              <a:cs typeface="Arial"/>
              <a:sym typeface="Arial"/>
            </a:endParaRPr>
          </a:p>
        </p:txBody>
      </p:sp>
      <p:sp>
        <p:nvSpPr>
          <p:cNvPr id="422" name="Google Shape;422;p2"/>
          <p:cNvSpPr txBox="1"/>
          <p:nvPr/>
        </p:nvSpPr>
        <p:spPr>
          <a:xfrm>
            <a:off x="7936934" y="4370467"/>
            <a:ext cx="3663600" cy="4791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1"/>
              </a:buClr>
              <a:buSzPts val="1600"/>
              <a:buFont typeface="Playfair Display"/>
              <a:buNone/>
            </a:pPr>
            <a:r>
              <a:rPr lang="es-ES" sz="1600" b="0" i="0" u="none" strike="noStrike" cap="none">
                <a:solidFill>
                  <a:schemeClr val="dk1"/>
                </a:solidFill>
                <a:latin typeface="Playfair Display"/>
                <a:ea typeface="Playfair Display"/>
                <a:cs typeface="Playfair Display"/>
                <a:sym typeface="Playfair Display"/>
              </a:rPr>
              <a:t>Flexibilidad</a:t>
            </a:r>
            <a:r>
              <a:rPr lang="es-ES" sz="1400" b="0" i="0" u="none" strike="noStrike" cap="none">
                <a:solidFill>
                  <a:schemeClr val="dk1"/>
                </a:solidFill>
                <a:latin typeface="Helvetica Neue"/>
                <a:ea typeface="Helvetica Neue"/>
                <a:cs typeface="Helvetica Neue"/>
                <a:sym typeface="Helvetica Neue"/>
              </a:rPr>
              <a:t>. </a:t>
            </a:r>
            <a:r>
              <a:rPr lang="es-ES" sz="1400" b="0" i="0" u="none" strike="noStrike" cap="none">
                <a:solidFill>
                  <a:schemeClr val="dk1"/>
                </a:solidFill>
                <a:latin typeface="Arial"/>
                <a:ea typeface="Arial"/>
                <a:cs typeface="Arial"/>
                <a:sym typeface="Arial"/>
              </a:rPr>
              <a:t>El planteamiento de la respuesta a esta situación ha de ser flexible y permitir adaptar la solución a las necesidades de ciudadanos y autoridades.</a:t>
            </a:r>
            <a:endParaRPr sz="1400" b="1" i="0" u="none" strike="noStrike" cap="none">
              <a:solidFill>
                <a:schemeClr val="dk1"/>
              </a:solidFill>
              <a:latin typeface="Arial"/>
              <a:ea typeface="Arial"/>
              <a:cs typeface="Arial"/>
              <a:sym typeface="Arial"/>
            </a:endParaRPr>
          </a:p>
        </p:txBody>
      </p:sp>
      <p:sp>
        <p:nvSpPr>
          <p:cNvPr id="423" name="Google Shape;423;p2"/>
          <p:cNvSpPr txBox="1"/>
          <p:nvPr/>
        </p:nvSpPr>
        <p:spPr>
          <a:xfrm>
            <a:off x="7936934" y="3123943"/>
            <a:ext cx="3663499" cy="478954"/>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1"/>
              </a:buClr>
              <a:buSzPts val="1600"/>
              <a:buFont typeface="Playfair Display"/>
              <a:buNone/>
            </a:pPr>
            <a:r>
              <a:rPr lang="es-ES" sz="1600" b="0" i="0" u="none" strike="noStrike" cap="none" dirty="0">
                <a:solidFill>
                  <a:schemeClr val="dk1"/>
                </a:solidFill>
                <a:latin typeface="Playfair Display"/>
                <a:ea typeface="Playfair Display"/>
                <a:cs typeface="Playfair Display"/>
                <a:sym typeface="Playfair Display"/>
              </a:rPr>
              <a:t>Acompañamiento</a:t>
            </a:r>
            <a:r>
              <a:rPr lang="es-ES" sz="1400" b="0" i="0" u="none" strike="noStrike" cap="none" dirty="0">
                <a:solidFill>
                  <a:schemeClr val="dk1"/>
                </a:solidFill>
                <a:latin typeface="Helvetica Neue"/>
                <a:ea typeface="Helvetica Neue"/>
                <a:cs typeface="Helvetica Neue"/>
                <a:sym typeface="Helvetica Neue"/>
              </a:rPr>
              <a:t>. </a:t>
            </a:r>
            <a:r>
              <a:rPr lang="es-ES" sz="1400" b="0" i="0" u="none" strike="noStrike" cap="none" dirty="0">
                <a:solidFill>
                  <a:schemeClr val="dk1"/>
                </a:solidFill>
                <a:latin typeface="Arial"/>
                <a:ea typeface="Arial"/>
                <a:cs typeface="Arial"/>
                <a:sym typeface="Arial"/>
              </a:rPr>
              <a:t>No somos un proveedor tecnológico: somos un socio que acompañará a </a:t>
            </a:r>
            <a:r>
              <a:rPr lang="es-ES" sz="1400" b="0" i="0" u="none" strike="noStrike" cap="none" dirty="0" smtClean="0">
                <a:solidFill>
                  <a:schemeClr val="dk1"/>
                </a:solidFill>
                <a:latin typeface="Arial"/>
                <a:ea typeface="Arial"/>
                <a:cs typeface="Arial"/>
                <a:sym typeface="Arial"/>
              </a:rPr>
              <a:t>SGAD </a:t>
            </a:r>
            <a:r>
              <a:rPr lang="es-ES" sz="1400" b="0" i="0" u="none" strike="noStrike" cap="none" dirty="0">
                <a:solidFill>
                  <a:schemeClr val="dk1"/>
                </a:solidFill>
                <a:latin typeface="Arial"/>
                <a:ea typeface="Arial"/>
                <a:cs typeface="Arial"/>
                <a:sym typeface="Arial"/>
              </a:rPr>
              <a:t>en la gestión de la crisis sanitaria velando por la funcionalidad, seguridad y privacidad.</a:t>
            </a:r>
            <a:endParaRPr sz="1400" b="1" i="0" u="none" strike="noStrike" cap="none" dirty="0">
              <a:solidFill>
                <a:schemeClr val="dk1"/>
              </a:solidFill>
              <a:latin typeface="Arial"/>
              <a:ea typeface="Arial"/>
              <a:cs typeface="Arial"/>
              <a:sym typeface="Arial"/>
            </a:endParaRPr>
          </a:p>
        </p:txBody>
      </p:sp>
      <p:sp>
        <p:nvSpPr>
          <p:cNvPr id="424" name="Google Shape;424;p2"/>
          <p:cNvSpPr txBox="1"/>
          <p:nvPr/>
        </p:nvSpPr>
        <p:spPr>
          <a:xfrm>
            <a:off x="1744356" y="3281108"/>
            <a:ext cx="3320642" cy="478954"/>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1"/>
              </a:buClr>
              <a:buSzPts val="1600"/>
              <a:buFont typeface="Playfair Display"/>
              <a:buNone/>
            </a:pPr>
            <a:r>
              <a:rPr lang="es-ES" sz="1600" b="0" i="0" u="none" strike="noStrike" cap="none">
                <a:solidFill>
                  <a:schemeClr val="dk1"/>
                </a:solidFill>
                <a:latin typeface="Playfair Display"/>
                <a:ea typeface="Playfair Display"/>
                <a:cs typeface="Playfair Display"/>
                <a:sym typeface="Playfair Display"/>
              </a:rPr>
              <a:t>Desescalado</a:t>
            </a:r>
            <a:r>
              <a:rPr lang="es-ES" sz="1400" b="0" i="0" u="none" strike="noStrike" cap="none">
                <a:solidFill>
                  <a:schemeClr val="dk1"/>
                </a:solidFill>
                <a:latin typeface="Helvetica Neue"/>
                <a:ea typeface="Helvetica Neue"/>
                <a:cs typeface="Helvetica Neue"/>
                <a:sym typeface="Helvetica Neue"/>
              </a:rPr>
              <a:t>. </a:t>
            </a:r>
            <a:r>
              <a:rPr lang="es-ES" sz="1400" b="0" i="0" u="none" strike="noStrike" cap="none">
                <a:solidFill>
                  <a:schemeClr val="dk1"/>
                </a:solidFill>
                <a:latin typeface="Arial"/>
                <a:ea typeface="Arial"/>
                <a:cs typeface="Arial"/>
                <a:sym typeface="Arial"/>
              </a:rPr>
              <a:t>El reinicio del contacto social de forma segura y respetando los derechos del ciudadano demanda un sistema de control anónimo</a:t>
            </a:r>
            <a:endParaRPr sz="1400" b="1" i="0" u="none" strike="noStrike" cap="none">
              <a:solidFill>
                <a:schemeClr val="dk1"/>
              </a:solidFill>
              <a:latin typeface="Arial"/>
              <a:ea typeface="Arial"/>
              <a:cs typeface="Arial"/>
              <a:sym typeface="Arial"/>
            </a:endParaRPr>
          </a:p>
        </p:txBody>
      </p:sp>
      <p:sp>
        <p:nvSpPr>
          <p:cNvPr id="425" name="Google Shape;425;p2"/>
          <p:cNvSpPr txBox="1"/>
          <p:nvPr/>
        </p:nvSpPr>
        <p:spPr>
          <a:xfrm>
            <a:off x="335360" y="1556927"/>
            <a:ext cx="5328592" cy="478954"/>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dk1"/>
              </a:buClr>
              <a:buSzPts val="2000"/>
              <a:buFont typeface="Playfair Display"/>
              <a:buNone/>
            </a:pPr>
            <a:r>
              <a:rPr lang="es-ES" sz="2000" b="0" i="0" u="none" strike="noStrike" cap="none">
                <a:solidFill>
                  <a:schemeClr val="dk1"/>
                </a:solidFill>
                <a:latin typeface="Playfair Display"/>
                <a:ea typeface="Playfair Display"/>
                <a:cs typeface="Playfair Display"/>
                <a:sym typeface="Playfair Display"/>
              </a:rPr>
              <a:t>Contexto</a:t>
            </a:r>
            <a:endParaRPr sz="2000" b="0" i="0" u="none" strike="noStrike" cap="none">
              <a:solidFill>
                <a:schemeClr val="dk1"/>
              </a:solidFill>
              <a:latin typeface="Playfair Display"/>
              <a:ea typeface="Playfair Display"/>
              <a:cs typeface="Playfair Display"/>
              <a:sym typeface="Playfair Display"/>
            </a:endParaRPr>
          </a:p>
        </p:txBody>
      </p:sp>
      <p:sp>
        <p:nvSpPr>
          <p:cNvPr id="426" name="Google Shape;426;p2"/>
          <p:cNvSpPr txBox="1"/>
          <p:nvPr/>
        </p:nvSpPr>
        <p:spPr>
          <a:xfrm>
            <a:off x="6528048" y="1556927"/>
            <a:ext cx="5328592" cy="478954"/>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chemeClr val="dk1"/>
              </a:buClr>
              <a:buSzPts val="2000"/>
              <a:buFont typeface="Playfair Display"/>
              <a:buNone/>
            </a:pPr>
            <a:r>
              <a:rPr lang="es-ES" sz="2000" b="0" i="0" u="none" strike="noStrike" cap="none">
                <a:solidFill>
                  <a:schemeClr val="dk1"/>
                </a:solidFill>
                <a:latin typeface="Playfair Display"/>
                <a:ea typeface="Playfair Display"/>
                <a:cs typeface="Playfair Display"/>
                <a:sym typeface="Playfair Display"/>
              </a:rPr>
              <a:t>¿Cómo vamos a responder?</a:t>
            </a:r>
            <a:endParaRPr sz="2000" b="0" i="0" u="none" strike="noStrike" cap="none">
              <a:solidFill>
                <a:schemeClr val="dk1"/>
              </a:solidFill>
              <a:latin typeface="Playfair Display"/>
              <a:ea typeface="Playfair Display"/>
              <a:cs typeface="Playfair Display"/>
              <a:sym typeface="Playfair Display"/>
            </a:endParaRPr>
          </a:p>
        </p:txBody>
      </p:sp>
      <p:sp>
        <p:nvSpPr>
          <p:cNvPr id="427" name="Google Shape;427;p2"/>
          <p:cNvSpPr txBox="1"/>
          <p:nvPr/>
        </p:nvSpPr>
        <p:spPr>
          <a:xfrm>
            <a:off x="335364" y="2055223"/>
            <a:ext cx="4819079" cy="639835"/>
          </a:xfrm>
          <a:prstGeom prst="rect">
            <a:avLst/>
          </a:prstGeom>
          <a:noFill/>
          <a:ln>
            <a:noFill/>
          </a:ln>
        </p:spPr>
        <p:txBody>
          <a:bodyPr spcFirstLastPara="1" wrap="square" lIns="91425" tIns="91425" rIns="91425" bIns="91425" anchor="t" anchorCtr="0">
            <a:noAutofit/>
          </a:bodyPr>
          <a:lstStyle/>
          <a:p>
            <a:pPr marL="0" marR="0" lvl="0" indent="0" algn="l" rtl="0">
              <a:lnSpc>
                <a:spcPct val="90000"/>
              </a:lnSpc>
              <a:spcBef>
                <a:spcPts val="0"/>
              </a:spcBef>
              <a:spcAft>
                <a:spcPts val="0"/>
              </a:spcAft>
              <a:buClr>
                <a:schemeClr val="dk1"/>
              </a:buClr>
              <a:buSzPts val="1400"/>
              <a:buFont typeface="Playfair Display"/>
              <a:buNone/>
            </a:pPr>
            <a:r>
              <a:rPr lang="es-ES" sz="1400" b="0" i="0" u="none" strike="noStrike" cap="none">
                <a:solidFill>
                  <a:schemeClr val="dk1"/>
                </a:solidFill>
                <a:latin typeface="Playfair Display"/>
                <a:ea typeface="Playfair Display"/>
                <a:cs typeface="Playfair Display"/>
                <a:sym typeface="Playfair Display"/>
              </a:rPr>
              <a:t>Tras el confinamiento de la población para contener la crisis sanitaria provocada por Covid-19, se inician las primeras fases de desescalada</a:t>
            </a:r>
            <a:endParaRPr sz="1400" b="0" i="0" u="none" strike="noStrike" cap="none">
              <a:solidFill>
                <a:schemeClr val="dk1"/>
              </a:solidFill>
              <a:latin typeface="Playfair Display"/>
              <a:ea typeface="Playfair Display"/>
              <a:cs typeface="Playfair Display"/>
              <a:sym typeface="Playfair Display"/>
            </a:endParaRPr>
          </a:p>
        </p:txBody>
      </p:sp>
      <p:sp>
        <p:nvSpPr>
          <p:cNvPr id="428" name="Google Shape;428;p2"/>
          <p:cNvSpPr txBox="1"/>
          <p:nvPr/>
        </p:nvSpPr>
        <p:spPr>
          <a:xfrm>
            <a:off x="1744356" y="4819164"/>
            <a:ext cx="3320642" cy="478954"/>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s-ES" sz="1600" b="0" i="0" u="none" strike="noStrike" cap="none">
                <a:solidFill>
                  <a:schemeClr val="dk1"/>
                </a:solidFill>
                <a:latin typeface="Playfair Display"/>
                <a:ea typeface="Playfair Display"/>
                <a:cs typeface="Playfair Display"/>
                <a:sym typeface="Playfair Display"/>
              </a:rPr>
              <a:t>Incertidumbre</a:t>
            </a:r>
            <a:r>
              <a:rPr lang="es-ES" sz="1400" b="0" i="0" u="none" strike="noStrike" cap="none">
                <a:solidFill>
                  <a:schemeClr val="dk1"/>
                </a:solidFill>
                <a:latin typeface="Helvetica Neue"/>
                <a:ea typeface="Helvetica Neue"/>
                <a:cs typeface="Helvetica Neue"/>
                <a:sym typeface="Helvetica Neue"/>
              </a:rPr>
              <a:t>. </a:t>
            </a:r>
            <a:r>
              <a:rPr lang="es-ES" sz="1400" b="0" i="0" u="none" strike="noStrike" cap="none">
                <a:solidFill>
                  <a:schemeClr val="dk1"/>
                </a:solidFill>
                <a:latin typeface="Arial"/>
                <a:ea typeface="Arial"/>
                <a:cs typeface="Arial"/>
                <a:sym typeface="Arial"/>
              </a:rPr>
              <a:t>El desconocimiento de los resultados y la volatilidad del contexto piden soluciones adaptables y que permiten testar supuestos</a:t>
            </a:r>
            <a:endParaRPr sz="1400" b="0" i="0" u="none" strike="noStrike" cap="none">
              <a:solidFill>
                <a:schemeClr val="dk1"/>
              </a:solidFill>
              <a:latin typeface="Arial"/>
              <a:ea typeface="Arial"/>
              <a:cs typeface="Arial"/>
              <a:sym typeface="Arial"/>
            </a:endParaRPr>
          </a:p>
        </p:txBody>
      </p:sp>
      <p:sp>
        <p:nvSpPr>
          <p:cNvPr id="429" name="Google Shape;429;p2"/>
          <p:cNvSpPr txBox="1"/>
          <p:nvPr/>
        </p:nvSpPr>
        <p:spPr>
          <a:xfrm>
            <a:off x="6528052" y="2055223"/>
            <a:ext cx="5072367" cy="639835"/>
          </a:xfrm>
          <a:prstGeom prst="rect">
            <a:avLst/>
          </a:prstGeom>
          <a:noFill/>
          <a:ln>
            <a:noFill/>
          </a:ln>
        </p:spPr>
        <p:txBody>
          <a:bodyPr spcFirstLastPara="1" wrap="square" lIns="91425" tIns="91425" rIns="91425" bIns="91425" anchor="t" anchorCtr="0">
            <a:noAutofit/>
          </a:bodyPr>
          <a:lstStyle/>
          <a:p>
            <a:pPr marL="0" marR="0" lvl="0" indent="0" algn="l" rtl="0">
              <a:lnSpc>
                <a:spcPct val="90000"/>
              </a:lnSpc>
              <a:spcBef>
                <a:spcPts val="0"/>
              </a:spcBef>
              <a:spcAft>
                <a:spcPts val="0"/>
              </a:spcAft>
              <a:buClr>
                <a:schemeClr val="dk1"/>
              </a:buClr>
              <a:buSzPts val="1400"/>
              <a:buFont typeface="Playfair Display"/>
              <a:buNone/>
            </a:pPr>
            <a:r>
              <a:rPr lang="es-ES" sz="1400" b="0" i="0" u="none" strike="noStrike" cap="none">
                <a:solidFill>
                  <a:schemeClr val="dk1"/>
                </a:solidFill>
                <a:latin typeface="Playfair Display"/>
                <a:ea typeface="Playfair Display"/>
                <a:cs typeface="Playfair Display"/>
                <a:sym typeface="Playfair Display"/>
              </a:rPr>
              <a:t>La respuesta a este escenario complejo requiere ir más allá de una mera solución tecnológica: exige un acompañamiento por parte de un socio con agilidad de respuesta</a:t>
            </a:r>
            <a:endParaRPr sz="1400" b="0" i="0" u="none" strike="noStrike" cap="none">
              <a:solidFill>
                <a:schemeClr val="dk1"/>
              </a:solidFill>
              <a:latin typeface="Playfair Display"/>
              <a:ea typeface="Playfair Display"/>
              <a:cs typeface="Playfair Display"/>
              <a:sym typeface="Playfair Display"/>
            </a:endParaRPr>
          </a:p>
        </p:txBody>
      </p:sp>
      <p:pic>
        <p:nvPicPr>
          <p:cNvPr id="430" name="Google Shape;430;p2" descr="https://lh4.googleusercontent.com/MZ5UK6uQBqTb7Iys2sMh5xq021C-SDRYG6oGPDhX3P791xJBBHqhRLoYJTPs75yWozhfUrgrTz3gz75CoIn2vUpN_QFWEW2VG0eS4r-nXNuoApoujcWJjEt2oLbK0AMBHddF_3RE7LQ"/>
          <p:cNvPicPr preferRelativeResize="0"/>
          <p:nvPr/>
        </p:nvPicPr>
        <p:blipFill rotWithShape="1">
          <a:blip r:embed="rId4">
            <a:alphaModFix/>
          </a:blip>
          <a:srcRect/>
          <a:stretch/>
        </p:blipFill>
        <p:spPr>
          <a:xfrm>
            <a:off x="576040" y="3474729"/>
            <a:ext cx="807905" cy="807905"/>
          </a:xfrm>
          <a:prstGeom prst="rect">
            <a:avLst/>
          </a:prstGeom>
          <a:noFill/>
          <a:ln>
            <a:noFill/>
          </a:ln>
        </p:spPr>
      </p:pic>
      <p:pic>
        <p:nvPicPr>
          <p:cNvPr id="431" name="Google Shape;431;p2" descr="https://lh5.googleusercontent.com/0zfivme0GxBPHFsa_nhCfcZRg_EiOOg1WBtc_404fIcsc5ExQ94VDdlhdxOdJFwlRgMG7vTYbmftlJQXFdb-axox9SJyZizst8AUm5x1HWDVd1l29qOSus01Sg_WXj6_6XmenbIUiow"/>
          <p:cNvPicPr preferRelativeResize="0"/>
          <p:nvPr/>
        </p:nvPicPr>
        <p:blipFill rotWithShape="1">
          <a:blip r:embed="rId5">
            <a:alphaModFix/>
          </a:blip>
          <a:srcRect/>
          <a:stretch/>
        </p:blipFill>
        <p:spPr>
          <a:xfrm>
            <a:off x="6838428" y="4471732"/>
            <a:ext cx="667690" cy="667690"/>
          </a:xfrm>
          <a:prstGeom prst="rect">
            <a:avLst/>
          </a:prstGeom>
          <a:noFill/>
          <a:ln>
            <a:noFill/>
          </a:ln>
        </p:spPr>
      </p:pic>
      <p:pic>
        <p:nvPicPr>
          <p:cNvPr id="432" name="Google Shape;432;p2" descr="https://lh4.googleusercontent.com/2Mhxgba9uylSB8uXSiZ-mmfP7DR28d1lulcntLRB98L8OOuimSbL7F7grynBrjiv8GHkqZysMUYg9sm-tVVf7zqoWBNPQauuzHtaJOIxzA3MHElUTG0QLuyRA33UbVg9YRp-xlRwqgo"/>
          <p:cNvPicPr preferRelativeResize="0"/>
          <p:nvPr/>
        </p:nvPicPr>
        <p:blipFill rotWithShape="1">
          <a:blip r:embed="rId6">
            <a:alphaModFix/>
          </a:blip>
          <a:srcRect/>
          <a:stretch/>
        </p:blipFill>
        <p:spPr>
          <a:xfrm>
            <a:off x="491209" y="4882166"/>
            <a:ext cx="977566" cy="977566"/>
          </a:xfrm>
          <a:prstGeom prst="rect">
            <a:avLst/>
          </a:prstGeom>
          <a:noFill/>
          <a:ln>
            <a:noFill/>
          </a:ln>
        </p:spPr>
      </p:pic>
      <p:pic>
        <p:nvPicPr>
          <p:cNvPr id="433" name="Google Shape;433;p2" descr="https://lh3.googleusercontent.com/pDvvUiUB8K-8rOuXOT3kTjTyH2bz6xMv-uNZeCtEjaaEOz63RKnmRMvhxy-8xBcmOqzUmbewY-EYQrITxsNLl0Zd-dqlU20sNdHHFAAN8vxSEzt0p8ymotg9NEBNaC3JM9li2U043Uw"/>
          <p:cNvPicPr preferRelativeResize="0"/>
          <p:nvPr/>
        </p:nvPicPr>
        <p:blipFill rotWithShape="1">
          <a:blip r:embed="rId7">
            <a:alphaModFix/>
          </a:blip>
          <a:srcRect/>
          <a:stretch/>
        </p:blipFill>
        <p:spPr>
          <a:xfrm>
            <a:off x="6856604" y="5502853"/>
            <a:ext cx="734459" cy="734459"/>
          </a:xfrm>
          <a:prstGeom prst="rect">
            <a:avLst/>
          </a:prstGeom>
          <a:noFill/>
          <a:ln>
            <a:noFill/>
          </a:ln>
        </p:spPr>
      </p:pic>
      <p:pic>
        <p:nvPicPr>
          <p:cNvPr id="434" name="Google Shape;434;p2" descr="https://lh3.googleusercontent.com/jJ8ZC98YqR9AjUN5zLCf7zbSlt8OHJ7A7Ui3LLSS4tAgoMrM4c5PL09BKswLqu-AauQXtbDTvgpMcYhCeAZXEgPxigvzdnhpBBVI4-XOnViqyy8zviAUqMpcX14HV7KW2zjyrAJ83vU"/>
          <p:cNvPicPr preferRelativeResize="0"/>
          <p:nvPr/>
        </p:nvPicPr>
        <p:blipFill rotWithShape="1">
          <a:blip r:embed="rId8">
            <a:alphaModFix/>
          </a:blip>
          <a:srcRect/>
          <a:stretch/>
        </p:blipFill>
        <p:spPr>
          <a:xfrm>
            <a:off x="6960096" y="3312177"/>
            <a:ext cx="667690" cy="667690"/>
          </a:xfrm>
          <a:prstGeom prst="rect">
            <a:avLst/>
          </a:prstGeom>
          <a:noFill/>
          <a:ln>
            <a:noFill/>
          </a:ln>
        </p:spPr>
      </p:pic>
      <p:sp>
        <p:nvSpPr>
          <p:cNvPr id="435" name="Google Shape;435;p2"/>
          <p:cNvSpPr/>
          <p:nvPr/>
        </p:nvSpPr>
        <p:spPr>
          <a:xfrm>
            <a:off x="5746863" y="3146538"/>
            <a:ext cx="288032" cy="2650387"/>
          </a:xfrm>
          <a:prstGeom prst="chevron">
            <a:avLst>
              <a:gd name="adj" fmla="val 90761"/>
            </a:avLst>
          </a:prstGeom>
          <a:solidFill>
            <a:schemeClr val="dk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799"/>
              <a:buFont typeface="Arial"/>
              <a:buNone/>
            </a:pPr>
            <a:endParaRPr sz="1799" b="0" i="0" u="none" strike="noStrike" cap="none">
              <a:solidFill>
                <a:schemeClr val="dk1"/>
              </a:solidFill>
              <a:latin typeface="Arial"/>
              <a:ea typeface="Arial"/>
              <a:cs typeface="Arial"/>
              <a:sym typeface="Arial"/>
            </a:endParaRPr>
          </a:p>
        </p:txBody>
      </p:sp>
      <p:sp>
        <p:nvSpPr>
          <p:cNvPr id="436" name="Google Shape;436;p2"/>
          <p:cNvSpPr txBox="1">
            <a:spLocks noGrp="1"/>
          </p:cNvSpPr>
          <p:nvPr>
            <p:ph type="body" idx="1"/>
          </p:nvPr>
        </p:nvSpPr>
        <p:spPr>
          <a:xfrm>
            <a:off x="336000" y="128400"/>
            <a:ext cx="11519400" cy="251400"/>
          </a:xfrm>
          <a:prstGeom prst="rect">
            <a:avLst/>
          </a:prstGeom>
          <a:noFill/>
          <a:ln>
            <a:noFill/>
          </a:ln>
        </p:spPr>
        <p:txBody>
          <a:bodyPr spcFirstLastPara="1" wrap="square" lIns="0" tIns="45700" rIns="91425" bIns="45700" anchor="t" anchorCtr="0">
            <a:noAutofit/>
          </a:bodyPr>
          <a:lstStyle/>
          <a:p>
            <a:pPr marL="0" lvl="0" indent="0" algn="l" rtl="0">
              <a:lnSpc>
                <a:spcPct val="90000"/>
              </a:lnSpc>
              <a:spcBef>
                <a:spcPts val="0"/>
              </a:spcBef>
              <a:spcAft>
                <a:spcPts val="0"/>
              </a:spcAft>
              <a:buClr>
                <a:srgbClr val="1A3B47"/>
              </a:buClr>
              <a:buSzPts val="1400"/>
              <a:buNone/>
            </a:pPr>
            <a:r>
              <a:rPr lang="en-US" sz="1400" dirty="0" smtClean="0">
                <a:latin typeface="Playfair Display"/>
                <a:ea typeface="Playfair Display"/>
                <a:cs typeface="Playfair Display"/>
                <a:sym typeface="Playfair Display"/>
              </a:rPr>
              <a:t>Covid-19 app - </a:t>
            </a:r>
            <a:r>
              <a:rPr lang="en-US" sz="1400" dirty="0" err="1" smtClean="0">
                <a:latin typeface="Playfair Display"/>
                <a:ea typeface="Playfair Display"/>
                <a:cs typeface="Playfair Display"/>
                <a:sym typeface="Playfair Display"/>
              </a:rPr>
              <a:t>Piloto</a:t>
            </a:r>
            <a:r>
              <a:rPr lang="en-US" sz="1400" dirty="0" smtClean="0">
                <a:latin typeface="Playfair Display"/>
                <a:ea typeface="Playfair Display"/>
                <a:cs typeface="Playfair Display"/>
                <a:sym typeface="Playfair Display"/>
              </a:rPr>
              <a:t> App Contact Tracing Covid-19 </a:t>
            </a:r>
            <a:endParaRPr dirty="0"/>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1862"/>
        <p:cNvGrpSpPr/>
        <p:nvPr/>
      </p:nvGrpSpPr>
      <p:grpSpPr>
        <a:xfrm>
          <a:off x="0" y="0"/>
          <a:ext cx="0" cy="0"/>
          <a:chOff x="0" y="0"/>
          <a:chExt cx="0" cy="0"/>
        </a:xfrm>
      </p:grpSpPr>
      <p:sp>
        <p:nvSpPr>
          <p:cNvPr id="2" name="Marcador de texto 1"/>
          <p:cNvSpPr>
            <a:spLocks noGrp="1"/>
          </p:cNvSpPr>
          <p:nvPr>
            <p:ph type="body" idx="1"/>
          </p:nvPr>
        </p:nvSpPr>
        <p:spPr/>
        <p:txBody>
          <a:bodyPr/>
          <a:lstStyle/>
          <a:p>
            <a:endParaRPr lang="es-ES"/>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1917"/>
        <p:cNvGrpSpPr/>
        <p:nvPr/>
      </p:nvGrpSpPr>
      <p:grpSpPr>
        <a:xfrm>
          <a:off x="0" y="0"/>
          <a:ext cx="0" cy="0"/>
          <a:chOff x="0" y="0"/>
          <a:chExt cx="0" cy="0"/>
        </a:xfrm>
      </p:grpSpPr>
      <p:pic>
        <p:nvPicPr>
          <p:cNvPr id="1918" name="Google Shape;1918;g7826bb8c5e_0_3827"/>
          <p:cNvPicPr preferRelativeResize="0"/>
          <p:nvPr/>
        </p:nvPicPr>
        <p:blipFill rotWithShape="1">
          <a:blip r:embed="rId3">
            <a:alphaModFix/>
          </a:blip>
          <a:srcRect/>
          <a:stretch/>
        </p:blipFill>
        <p:spPr>
          <a:xfrm>
            <a:off x="0" y="-2084851"/>
            <a:ext cx="12192001" cy="6857999"/>
          </a:xfrm>
          <a:prstGeom prst="rect">
            <a:avLst/>
          </a:prstGeom>
          <a:noFill/>
          <a:ln>
            <a:noFill/>
          </a:ln>
        </p:spPr>
      </p:pic>
      <p:sp>
        <p:nvSpPr>
          <p:cNvPr id="1919" name="Google Shape;1919;g7826bb8c5e_0_3827"/>
          <p:cNvSpPr/>
          <p:nvPr/>
        </p:nvSpPr>
        <p:spPr>
          <a:xfrm flipH="1">
            <a:off x="7340520" y="3014134"/>
            <a:ext cx="5042573" cy="6889623"/>
          </a:xfrm>
          <a:custGeom>
            <a:avLst/>
            <a:gdLst/>
            <a:ahLst/>
            <a:cxnLst/>
            <a:rect l="l" t="t" r="r" b="b"/>
            <a:pathLst>
              <a:path w="3589020" h="5151120" extrusionOk="0">
                <a:moveTo>
                  <a:pt x="15240" y="5090160"/>
                </a:moveTo>
                <a:lnTo>
                  <a:pt x="15240" y="1021080"/>
                </a:lnTo>
                <a:lnTo>
                  <a:pt x="3589020" y="0"/>
                </a:lnTo>
                <a:lnTo>
                  <a:pt x="3589020" y="5151120"/>
                </a:lnTo>
                <a:lnTo>
                  <a:pt x="0" y="5151120"/>
                </a:lnTo>
                <a:lnTo>
                  <a:pt x="15240" y="5090160"/>
                </a:ln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920" name="Google Shape;1920;g7826bb8c5e_0_3827"/>
          <p:cNvSpPr/>
          <p:nvPr/>
        </p:nvSpPr>
        <p:spPr>
          <a:xfrm flipH="1">
            <a:off x="-115904" y="1576735"/>
            <a:ext cx="11926904" cy="8063624"/>
          </a:xfrm>
          <a:custGeom>
            <a:avLst/>
            <a:gdLst/>
            <a:ahLst/>
            <a:cxnLst/>
            <a:rect l="l" t="t" r="r" b="b"/>
            <a:pathLst>
              <a:path w="11069052" h="7483642" extrusionOk="0">
                <a:moveTo>
                  <a:pt x="0" y="3176337"/>
                </a:moveTo>
                <a:lnTo>
                  <a:pt x="11069052" y="0"/>
                </a:lnTo>
                <a:lnTo>
                  <a:pt x="11069052" y="7483642"/>
                </a:lnTo>
                <a:lnTo>
                  <a:pt x="10804358" y="7483642"/>
                </a:lnTo>
                <a:lnTo>
                  <a:pt x="0" y="7483642"/>
                </a:lnTo>
                <a:lnTo>
                  <a:pt x="0" y="3176337"/>
                </a:lnTo>
                <a:close/>
              </a:path>
            </a:pathLst>
          </a:cu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921" name="Google Shape;1921;g7826bb8c5e_0_3827"/>
          <p:cNvSpPr txBox="1"/>
          <p:nvPr/>
        </p:nvSpPr>
        <p:spPr>
          <a:xfrm>
            <a:off x="613122" y="3834300"/>
            <a:ext cx="5962800" cy="485700"/>
          </a:xfrm>
          <a:prstGeom prst="rect">
            <a:avLst/>
          </a:prstGeom>
          <a:noFill/>
          <a:ln>
            <a:noFill/>
          </a:ln>
        </p:spPr>
        <p:txBody>
          <a:bodyPr spcFirstLastPara="1" wrap="square" lIns="121900" tIns="60950" rIns="121900" bIns="60950" anchor="t" anchorCtr="0">
            <a:noAutofit/>
          </a:bodyPr>
          <a:lstStyle/>
          <a:p>
            <a:pPr marL="0" marR="0" lvl="0" indent="0" algn="l" rtl="0">
              <a:lnSpc>
                <a:spcPct val="80000"/>
              </a:lnSpc>
              <a:spcBef>
                <a:spcPts val="0"/>
              </a:spcBef>
              <a:spcAft>
                <a:spcPts val="0"/>
              </a:spcAft>
              <a:buClr>
                <a:srgbClr val="000000"/>
              </a:buClr>
              <a:buSzPts val="3733"/>
              <a:buFont typeface="Arial"/>
              <a:buNone/>
            </a:pPr>
            <a:r>
              <a:rPr lang="es-ES" sz="3733" b="0" i="0" u="none" strike="noStrike" cap="none">
                <a:solidFill>
                  <a:srgbClr val="FFFFFF"/>
                </a:solidFill>
                <a:latin typeface="Playfair Display"/>
                <a:ea typeface="Playfair Display"/>
                <a:cs typeface="Playfair Display"/>
                <a:sym typeface="Playfair Display"/>
              </a:rPr>
              <a:t>Por qué Minsait</a:t>
            </a:r>
            <a:endParaRPr sz="1400" b="0" i="0" u="none" strike="noStrike" cap="none">
              <a:solidFill>
                <a:srgbClr val="000000"/>
              </a:solidFill>
              <a:latin typeface="Arial"/>
              <a:ea typeface="Arial"/>
              <a:cs typeface="Arial"/>
              <a:sym typeface="Arial"/>
            </a:endParaRPr>
          </a:p>
        </p:txBody>
      </p:sp>
      <p:sp>
        <p:nvSpPr>
          <p:cNvPr id="1922" name="Google Shape;1922;g7826bb8c5e_0_3827"/>
          <p:cNvSpPr/>
          <p:nvPr/>
        </p:nvSpPr>
        <p:spPr>
          <a:xfrm>
            <a:off x="636125" y="4536315"/>
            <a:ext cx="5587800" cy="412500"/>
          </a:xfrm>
          <a:prstGeom prst="rect">
            <a:avLst/>
          </a:prstGeom>
          <a:noFill/>
          <a:ln>
            <a:noFill/>
          </a:ln>
        </p:spPr>
        <p:txBody>
          <a:bodyPr spcFirstLastPara="1" wrap="square" lIns="91425" tIns="45700" rIns="91425" bIns="45700" anchor="t" anchorCtr="0">
            <a:noAutofit/>
          </a:bodyPr>
          <a:lstStyle/>
          <a:p>
            <a:pPr marL="0" marR="0" lvl="0" indent="0" algn="l" rtl="0">
              <a:lnSpc>
                <a:spcPct val="130000"/>
              </a:lnSpc>
              <a:spcBef>
                <a:spcPts val="0"/>
              </a:spcBef>
              <a:spcAft>
                <a:spcPts val="0"/>
              </a:spcAft>
              <a:buClr>
                <a:srgbClr val="000000"/>
              </a:buClr>
              <a:buSzPts val="1600"/>
              <a:buFont typeface="Arial"/>
              <a:buNone/>
            </a:pPr>
            <a:r>
              <a:rPr lang="es-ES" sz="1600" b="0" i="0" u="none" strike="noStrike" cap="none">
                <a:solidFill>
                  <a:srgbClr val="FFFFFF"/>
                </a:solidFill>
                <a:latin typeface="Arial"/>
                <a:ea typeface="Arial"/>
                <a:cs typeface="Arial"/>
                <a:sym typeface="Arial"/>
              </a:rPr>
              <a:t>___</a:t>
            </a:r>
            <a:endParaRPr sz="1400" b="0" i="0" u="none" strike="noStrike" cap="none">
              <a:solidFill>
                <a:srgbClr val="000000"/>
              </a:solidFill>
              <a:latin typeface="Arial"/>
              <a:ea typeface="Arial"/>
              <a:cs typeface="Arial"/>
              <a:sym typeface="Arial"/>
            </a:endParaRPr>
          </a:p>
        </p:txBody>
      </p:sp>
      <p:sp>
        <p:nvSpPr>
          <p:cNvPr id="1923" name="Google Shape;1923;g7826bb8c5e_0_3827"/>
          <p:cNvSpPr txBox="1"/>
          <p:nvPr/>
        </p:nvSpPr>
        <p:spPr>
          <a:xfrm>
            <a:off x="527382" y="2244463"/>
            <a:ext cx="3734700" cy="202170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FFFFFF"/>
              </a:buClr>
              <a:buSzPts val="10666"/>
              <a:buFont typeface="Arial"/>
              <a:buNone/>
            </a:pPr>
            <a:r>
              <a:rPr lang="es-ES" sz="10666">
                <a:solidFill>
                  <a:srgbClr val="FFFFFF"/>
                </a:solidFill>
                <a:latin typeface="Playfair Display"/>
                <a:ea typeface="Playfair Display"/>
                <a:cs typeface="Playfair Display"/>
                <a:sym typeface="Playfair Display"/>
              </a:rPr>
              <a:t>c</a:t>
            </a:r>
            <a:endParaRPr sz="1400" b="0" i="0" u="none" strike="noStrike" cap="none">
              <a:solidFill>
                <a:srgbClr val="000000"/>
              </a:solidFill>
              <a:latin typeface="Arial"/>
              <a:ea typeface="Arial"/>
              <a:cs typeface="Arial"/>
              <a:sym typeface="Arial"/>
            </a:endParaRPr>
          </a:p>
        </p:txBody>
      </p:sp>
      <p:sp>
        <p:nvSpPr>
          <p:cNvPr id="1924" name="Google Shape;1924;g7826bb8c5e_0_3827"/>
          <p:cNvSpPr/>
          <p:nvPr/>
        </p:nvSpPr>
        <p:spPr>
          <a:xfrm>
            <a:off x="636125" y="4536315"/>
            <a:ext cx="5587800" cy="412500"/>
          </a:xfrm>
          <a:prstGeom prst="rect">
            <a:avLst/>
          </a:prstGeom>
          <a:noFill/>
          <a:ln>
            <a:noFill/>
          </a:ln>
        </p:spPr>
        <p:txBody>
          <a:bodyPr spcFirstLastPara="1" wrap="square" lIns="91425" tIns="45700" rIns="91425" bIns="45700" anchor="t" anchorCtr="0">
            <a:noAutofit/>
          </a:bodyPr>
          <a:lstStyle/>
          <a:p>
            <a:pPr marL="0" marR="0" lvl="0" indent="0" algn="l" rtl="0">
              <a:lnSpc>
                <a:spcPct val="130000"/>
              </a:lnSpc>
              <a:spcBef>
                <a:spcPts val="0"/>
              </a:spcBef>
              <a:spcAft>
                <a:spcPts val="0"/>
              </a:spcAft>
              <a:buClr>
                <a:srgbClr val="000000"/>
              </a:buClr>
              <a:buSzPts val="1600"/>
              <a:buFont typeface="Arial"/>
              <a:buNone/>
            </a:pPr>
            <a:r>
              <a:rPr lang="es-ES" sz="1600" b="0" i="0" u="none" strike="noStrike" cap="none">
                <a:solidFill>
                  <a:srgbClr val="FFFFFF"/>
                </a:solidFill>
                <a:latin typeface="Arial"/>
                <a:ea typeface="Arial"/>
                <a:cs typeface="Arial"/>
                <a:sym typeface="Arial"/>
              </a:rPr>
              <a:t>___</a:t>
            </a:r>
            <a:endParaRPr sz="1400" b="0" i="0" u="none" strike="noStrike" cap="none">
              <a:solidFill>
                <a:srgbClr val="000000"/>
              </a:solidFill>
              <a:latin typeface="Arial"/>
              <a:ea typeface="Arial"/>
              <a:cs typeface="Arial"/>
              <a:sym typeface="Arial"/>
            </a:endParaRPr>
          </a:p>
        </p:txBody>
      </p:sp>
      <p:sp>
        <p:nvSpPr>
          <p:cNvPr id="1925" name="Google Shape;1925;g7826bb8c5e_0_3827"/>
          <p:cNvSpPr/>
          <p:nvPr/>
        </p:nvSpPr>
        <p:spPr>
          <a:xfrm>
            <a:off x="636125" y="4536315"/>
            <a:ext cx="8052600" cy="412500"/>
          </a:xfrm>
          <a:prstGeom prst="rect">
            <a:avLst/>
          </a:prstGeom>
          <a:noFill/>
          <a:ln>
            <a:noFill/>
          </a:ln>
        </p:spPr>
        <p:txBody>
          <a:bodyPr spcFirstLastPara="1" wrap="square" lIns="91425" tIns="45700" rIns="91425" bIns="45700" anchor="t" anchorCtr="0">
            <a:noAutofit/>
          </a:bodyPr>
          <a:lstStyle/>
          <a:p>
            <a:pPr marL="0" marR="0" lvl="0" indent="0" algn="l" rtl="0">
              <a:lnSpc>
                <a:spcPct val="130000"/>
              </a:lnSpc>
              <a:spcBef>
                <a:spcPts val="0"/>
              </a:spcBef>
              <a:spcAft>
                <a:spcPts val="0"/>
              </a:spcAft>
              <a:buClr>
                <a:srgbClr val="000000"/>
              </a:buClr>
              <a:buSzPts val="1600"/>
              <a:buFont typeface="Arial"/>
              <a:buNone/>
            </a:pPr>
            <a:r>
              <a:rPr lang="es-ES" sz="1600" b="0" i="0" u="none" strike="noStrike" cap="none">
                <a:solidFill>
                  <a:srgbClr val="FFFFFF"/>
                </a:solidFill>
                <a:latin typeface="Arial"/>
                <a:ea typeface="Arial"/>
                <a:cs typeface="Arial"/>
                <a:sym typeface="Arial"/>
              </a:rPr>
              <a:t>___</a:t>
            </a:r>
            <a:endParaRPr sz="1400" b="0" i="0" u="none" strike="noStrike" cap="none">
              <a:solidFill>
                <a:srgbClr val="000000"/>
              </a:solidFill>
              <a:latin typeface="Arial"/>
              <a:ea typeface="Arial"/>
              <a:cs typeface="Arial"/>
              <a:sym typeface="Arial"/>
            </a:endParaRP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1929"/>
        <p:cNvGrpSpPr/>
        <p:nvPr/>
      </p:nvGrpSpPr>
      <p:grpSpPr>
        <a:xfrm>
          <a:off x="0" y="0"/>
          <a:ext cx="0" cy="0"/>
          <a:chOff x="0" y="0"/>
          <a:chExt cx="0" cy="0"/>
        </a:xfrm>
      </p:grpSpPr>
      <p:sp>
        <p:nvSpPr>
          <p:cNvPr id="1930" name="Google Shape;1930;g7826bb8c5e_0_4294"/>
          <p:cNvSpPr txBox="1"/>
          <p:nvPr/>
        </p:nvSpPr>
        <p:spPr>
          <a:xfrm>
            <a:off x="335998" y="649092"/>
            <a:ext cx="11232600" cy="7221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900"/>
              <a:buFont typeface="Arial"/>
              <a:buNone/>
            </a:pPr>
            <a:r>
              <a:rPr lang="es-ES" sz="2400" b="0" i="0" u="none" strike="noStrike" cap="none">
                <a:solidFill>
                  <a:schemeClr val="dk1"/>
                </a:solidFill>
                <a:latin typeface="Playfair Display"/>
                <a:ea typeface="Playfair Display"/>
                <a:cs typeface="Playfair Display"/>
                <a:sym typeface="Playfair Display"/>
              </a:rPr>
              <a:t>Pertenecemos a una gran compañía con capacidades expertas probadas a nivel internacional</a:t>
            </a:r>
            <a:endParaRPr sz="2400" b="0" i="0" u="none" strike="noStrike" cap="none">
              <a:solidFill>
                <a:schemeClr val="dk1"/>
              </a:solidFill>
              <a:latin typeface="Playfair Display"/>
              <a:ea typeface="Playfair Display"/>
              <a:cs typeface="Playfair Display"/>
              <a:sym typeface="Playfair Display"/>
            </a:endParaRPr>
          </a:p>
          <a:p>
            <a:pPr marL="0" marR="0" lvl="0" indent="0" algn="l" rtl="0">
              <a:lnSpc>
                <a:spcPct val="90000"/>
              </a:lnSpc>
              <a:spcBef>
                <a:spcPts val="0"/>
              </a:spcBef>
              <a:spcAft>
                <a:spcPts val="0"/>
              </a:spcAft>
              <a:buClr>
                <a:schemeClr val="dk1"/>
              </a:buClr>
              <a:buSzPts val="2400"/>
              <a:buFont typeface="Playfair Display"/>
              <a:buNone/>
            </a:pPr>
            <a:endParaRPr sz="2400" b="0" i="0" u="none" strike="noStrike" cap="none">
              <a:solidFill>
                <a:schemeClr val="dk1"/>
              </a:solidFill>
              <a:latin typeface="Playfair Display"/>
              <a:ea typeface="Playfair Display"/>
              <a:cs typeface="Playfair Display"/>
              <a:sym typeface="Playfair Display"/>
            </a:endParaRPr>
          </a:p>
        </p:txBody>
      </p:sp>
      <p:sp>
        <p:nvSpPr>
          <p:cNvPr id="1931" name="Google Shape;1931;g7826bb8c5e_0_4294"/>
          <p:cNvSpPr txBox="1">
            <a:spLocks noGrp="1"/>
          </p:cNvSpPr>
          <p:nvPr>
            <p:ph type="body" idx="1"/>
          </p:nvPr>
        </p:nvSpPr>
        <p:spPr>
          <a:xfrm>
            <a:off x="336000" y="128400"/>
            <a:ext cx="11519400" cy="251400"/>
          </a:xfrm>
          <a:prstGeom prst="rect">
            <a:avLst/>
          </a:prstGeom>
          <a:noFill/>
          <a:ln>
            <a:noFill/>
          </a:ln>
        </p:spPr>
        <p:txBody>
          <a:bodyPr spcFirstLastPara="1" wrap="square" lIns="0" tIns="45700" rIns="91425" bIns="45700" anchor="t" anchorCtr="0">
            <a:noAutofit/>
          </a:bodyPr>
          <a:lstStyle/>
          <a:p>
            <a:pPr marL="0" lvl="0" indent="0" algn="l" rtl="0">
              <a:lnSpc>
                <a:spcPct val="90000"/>
              </a:lnSpc>
              <a:spcBef>
                <a:spcPts val="0"/>
              </a:spcBef>
              <a:spcAft>
                <a:spcPts val="0"/>
              </a:spcAft>
              <a:buClr>
                <a:srgbClr val="1A3B47"/>
              </a:buClr>
              <a:buSzPts val="1400"/>
              <a:buNone/>
            </a:pPr>
            <a:r>
              <a:rPr lang="es-ES" sz="1400">
                <a:latin typeface="Playfair Display"/>
                <a:ea typeface="Playfair Display"/>
                <a:cs typeface="Playfair Display"/>
                <a:sym typeface="Playfair Display"/>
              </a:rPr>
              <a:t>Covid-19 app - Por qué Minsait</a:t>
            </a:r>
            <a:endParaRPr/>
          </a:p>
        </p:txBody>
      </p:sp>
      <p:grpSp>
        <p:nvGrpSpPr>
          <p:cNvPr id="1932" name="Google Shape;1932;g7826bb8c5e_0_4294"/>
          <p:cNvGrpSpPr/>
          <p:nvPr/>
        </p:nvGrpSpPr>
        <p:grpSpPr>
          <a:xfrm>
            <a:off x="8211456" y="1543501"/>
            <a:ext cx="3331815" cy="5868572"/>
            <a:chOff x="4707134" y="1022350"/>
            <a:chExt cx="1561666" cy="2775263"/>
          </a:xfrm>
        </p:grpSpPr>
        <p:sp>
          <p:nvSpPr>
            <p:cNvPr id="1933" name="Google Shape;1933;g7826bb8c5e_0_4294"/>
            <p:cNvSpPr/>
            <p:nvPr/>
          </p:nvSpPr>
          <p:spPr>
            <a:xfrm>
              <a:off x="4707731" y="1022350"/>
              <a:ext cx="171450" cy="2775263"/>
            </a:xfrm>
            <a:custGeom>
              <a:avLst/>
              <a:gdLst/>
              <a:ahLst/>
              <a:cxnLst/>
              <a:rect l="l" t="t" r="r" b="b"/>
              <a:pathLst>
                <a:path w="171450" h="2761456" extrusionOk="0">
                  <a:moveTo>
                    <a:pt x="0" y="0"/>
                  </a:moveTo>
                  <a:lnTo>
                    <a:pt x="168275" y="47393"/>
                  </a:lnTo>
                  <a:cubicBezTo>
                    <a:pt x="169333" y="934089"/>
                    <a:pt x="170392" y="1820785"/>
                    <a:pt x="171450" y="2707481"/>
                  </a:cubicBezTo>
                  <a:lnTo>
                    <a:pt x="0" y="2761456"/>
                  </a:lnTo>
                  <a:lnTo>
                    <a:pt x="0" y="0"/>
                  </a:lnTo>
                  <a:close/>
                </a:path>
              </a:pathLst>
            </a:custGeom>
            <a:solidFill>
              <a:srgbClr val="DFEBF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rgbClr val="1A3B47"/>
                </a:solidFill>
                <a:latin typeface="Arial"/>
                <a:ea typeface="Arial"/>
                <a:cs typeface="Arial"/>
                <a:sym typeface="Arial"/>
              </a:endParaRPr>
            </a:p>
          </p:txBody>
        </p:sp>
        <p:sp>
          <p:nvSpPr>
            <p:cNvPr id="1934" name="Google Shape;1934;g7826bb8c5e_0_4294"/>
            <p:cNvSpPr/>
            <p:nvPr/>
          </p:nvSpPr>
          <p:spPr>
            <a:xfrm>
              <a:off x="6096000" y="1470024"/>
              <a:ext cx="172800" cy="1879500"/>
            </a:xfrm>
            <a:prstGeom prst="rect">
              <a:avLst/>
            </a:prstGeom>
            <a:solidFill>
              <a:srgbClr val="DFEBF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rgbClr val="1A3B47"/>
                </a:solidFill>
                <a:latin typeface="Arial"/>
                <a:ea typeface="Arial"/>
                <a:cs typeface="Arial"/>
                <a:sym typeface="Arial"/>
              </a:endParaRPr>
            </a:p>
          </p:txBody>
        </p:sp>
        <p:sp>
          <p:nvSpPr>
            <p:cNvPr id="1935" name="Google Shape;1935;g7826bb8c5e_0_4294"/>
            <p:cNvSpPr/>
            <p:nvPr/>
          </p:nvSpPr>
          <p:spPr>
            <a:xfrm rot="6360820">
              <a:off x="5398687" y="549929"/>
              <a:ext cx="172910" cy="1569208"/>
            </a:xfrm>
            <a:prstGeom prst="rect">
              <a:avLst/>
            </a:prstGeom>
            <a:solidFill>
              <a:srgbClr val="DFEBF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rgbClr val="1A3B47"/>
                </a:solidFill>
                <a:latin typeface="Arial"/>
                <a:ea typeface="Arial"/>
                <a:cs typeface="Arial"/>
                <a:sym typeface="Arial"/>
              </a:endParaRPr>
            </a:p>
          </p:txBody>
        </p:sp>
        <p:sp>
          <p:nvSpPr>
            <p:cNvPr id="1936" name="Google Shape;1936;g7826bb8c5e_0_4294"/>
            <p:cNvSpPr/>
            <p:nvPr/>
          </p:nvSpPr>
          <p:spPr>
            <a:xfrm rot="4439180">
              <a:off x="5430300" y="2717031"/>
              <a:ext cx="172910" cy="1507684"/>
            </a:xfrm>
            <a:prstGeom prst="rect">
              <a:avLst/>
            </a:prstGeom>
            <a:solidFill>
              <a:srgbClr val="DFEBF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rgbClr val="1A3B47"/>
                </a:solidFill>
                <a:latin typeface="Arial"/>
                <a:ea typeface="Arial"/>
                <a:cs typeface="Arial"/>
                <a:sym typeface="Arial"/>
              </a:endParaRPr>
            </a:p>
          </p:txBody>
        </p:sp>
      </p:grpSp>
      <p:grpSp>
        <p:nvGrpSpPr>
          <p:cNvPr id="1937" name="Google Shape;1937;g7826bb8c5e_0_4294"/>
          <p:cNvGrpSpPr/>
          <p:nvPr/>
        </p:nvGrpSpPr>
        <p:grpSpPr>
          <a:xfrm>
            <a:off x="835930" y="3095753"/>
            <a:ext cx="6652332" cy="3303139"/>
            <a:chOff x="1776348" y="2327086"/>
            <a:chExt cx="5341952" cy="3061013"/>
          </a:xfrm>
        </p:grpSpPr>
        <p:sp>
          <p:nvSpPr>
            <p:cNvPr id="1938" name="Google Shape;1938;g7826bb8c5e_0_4294"/>
            <p:cNvSpPr/>
            <p:nvPr/>
          </p:nvSpPr>
          <p:spPr>
            <a:xfrm>
              <a:off x="6047875" y="4110173"/>
              <a:ext cx="5085" cy="2730"/>
            </a:xfrm>
            <a:custGeom>
              <a:avLst/>
              <a:gdLst/>
              <a:ahLst/>
              <a:cxnLst/>
              <a:rect l="l" t="t" r="r" b="b"/>
              <a:pathLst>
                <a:path w="12" h="2" extrusionOk="0">
                  <a:moveTo>
                    <a:pt x="12" y="0"/>
                  </a:moveTo>
                  <a:lnTo>
                    <a:pt x="0" y="2"/>
                  </a:lnTo>
                  <a:lnTo>
                    <a:pt x="0" y="0"/>
                  </a:lnTo>
                  <a:lnTo>
                    <a:pt x="12"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39" name="Google Shape;1939;g7826bb8c5e_0_4294"/>
            <p:cNvSpPr/>
            <p:nvPr/>
          </p:nvSpPr>
          <p:spPr>
            <a:xfrm>
              <a:off x="5932188" y="4107442"/>
              <a:ext cx="15256" cy="23210"/>
            </a:xfrm>
            <a:custGeom>
              <a:avLst/>
              <a:gdLst/>
              <a:ahLst/>
              <a:cxnLst/>
              <a:rect l="l" t="t" r="r" b="b"/>
              <a:pathLst>
                <a:path w="30" h="35" extrusionOk="0">
                  <a:moveTo>
                    <a:pt x="30" y="19"/>
                  </a:moveTo>
                  <a:lnTo>
                    <a:pt x="26" y="35"/>
                  </a:lnTo>
                  <a:lnTo>
                    <a:pt x="0" y="4"/>
                  </a:lnTo>
                  <a:lnTo>
                    <a:pt x="8" y="0"/>
                  </a:lnTo>
                  <a:lnTo>
                    <a:pt x="30" y="19"/>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40" name="Google Shape;1940;g7826bb8c5e_0_4294"/>
            <p:cNvSpPr/>
            <p:nvPr/>
          </p:nvSpPr>
          <p:spPr>
            <a:xfrm>
              <a:off x="6229670" y="4028255"/>
              <a:ext cx="15256" cy="21845"/>
            </a:xfrm>
            <a:custGeom>
              <a:avLst/>
              <a:gdLst/>
              <a:ahLst/>
              <a:cxnLst/>
              <a:rect l="l" t="t" r="r" b="b"/>
              <a:pathLst>
                <a:path w="31" h="35" extrusionOk="0">
                  <a:moveTo>
                    <a:pt x="18" y="35"/>
                  </a:moveTo>
                  <a:lnTo>
                    <a:pt x="0" y="14"/>
                  </a:lnTo>
                  <a:lnTo>
                    <a:pt x="31" y="0"/>
                  </a:lnTo>
                  <a:lnTo>
                    <a:pt x="31" y="2"/>
                  </a:lnTo>
                  <a:lnTo>
                    <a:pt x="26" y="19"/>
                  </a:lnTo>
                  <a:lnTo>
                    <a:pt x="18" y="35"/>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41" name="Google Shape;1941;g7826bb8c5e_0_4294"/>
            <p:cNvSpPr/>
            <p:nvPr/>
          </p:nvSpPr>
          <p:spPr>
            <a:xfrm>
              <a:off x="6580544" y="3973643"/>
              <a:ext cx="1272" cy="1500"/>
            </a:xfrm>
            <a:custGeom>
              <a:avLst/>
              <a:gdLst/>
              <a:ahLst/>
              <a:cxnLst/>
              <a:rect l="l" t="t" r="r" b="b"/>
              <a:pathLst>
                <a:path w="2" h="120000" extrusionOk="0">
                  <a:moveTo>
                    <a:pt x="2" y="0"/>
                  </a:moveTo>
                  <a:lnTo>
                    <a:pt x="0" y="0"/>
                  </a:lnTo>
                  <a:lnTo>
                    <a:pt x="2"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42" name="Google Shape;1942;g7826bb8c5e_0_4294"/>
            <p:cNvSpPr/>
            <p:nvPr/>
          </p:nvSpPr>
          <p:spPr>
            <a:xfrm>
              <a:off x="5737681" y="3490325"/>
              <a:ext cx="54665" cy="32768"/>
            </a:xfrm>
            <a:custGeom>
              <a:avLst/>
              <a:gdLst/>
              <a:ahLst/>
              <a:cxnLst/>
              <a:rect l="l" t="t" r="r" b="b"/>
              <a:pathLst>
                <a:path w="107" h="54" extrusionOk="0">
                  <a:moveTo>
                    <a:pt x="68" y="6"/>
                  </a:moveTo>
                  <a:lnTo>
                    <a:pt x="22" y="0"/>
                  </a:lnTo>
                  <a:lnTo>
                    <a:pt x="0" y="35"/>
                  </a:lnTo>
                  <a:lnTo>
                    <a:pt x="6" y="50"/>
                  </a:lnTo>
                  <a:lnTo>
                    <a:pt x="45" y="54"/>
                  </a:lnTo>
                  <a:lnTo>
                    <a:pt x="76" y="50"/>
                  </a:lnTo>
                  <a:lnTo>
                    <a:pt x="107" y="48"/>
                  </a:lnTo>
                  <a:lnTo>
                    <a:pt x="95" y="29"/>
                  </a:lnTo>
                  <a:lnTo>
                    <a:pt x="86" y="17"/>
                  </a:lnTo>
                  <a:lnTo>
                    <a:pt x="68" y="6"/>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43" name="Google Shape;1943;g7826bb8c5e_0_4294"/>
            <p:cNvSpPr/>
            <p:nvPr/>
          </p:nvSpPr>
          <p:spPr>
            <a:xfrm>
              <a:off x="6009737" y="3802980"/>
              <a:ext cx="90261" cy="99667"/>
            </a:xfrm>
            <a:custGeom>
              <a:avLst/>
              <a:gdLst/>
              <a:ahLst/>
              <a:cxnLst/>
              <a:rect l="l" t="t" r="r" b="b"/>
              <a:pathLst>
                <a:path w="174" h="164" extrusionOk="0">
                  <a:moveTo>
                    <a:pt x="126" y="120"/>
                  </a:moveTo>
                  <a:lnTo>
                    <a:pt x="135" y="149"/>
                  </a:lnTo>
                  <a:lnTo>
                    <a:pt x="110" y="145"/>
                  </a:lnTo>
                  <a:lnTo>
                    <a:pt x="100" y="151"/>
                  </a:lnTo>
                  <a:lnTo>
                    <a:pt x="81" y="164"/>
                  </a:lnTo>
                  <a:lnTo>
                    <a:pt x="60" y="159"/>
                  </a:lnTo>
                  <a:lnTo>
                    <a:pt x="50" y="153"/>
                  </a:lnTo>
                  <a:lnTo>
                    <a:pt x="46" y="135"/>
                  </a:lnTo>
                  <a:lnTo>
                    <a:pt x="37" y="145"/>
                  </a:lnTo>
                  <a:lnTo>
                    <a:pt x="27" y="120"/>
                  </a:lnTo>
                  <a:lnTo>
                    <a:pt x="25" y="118"/>
                  </a:lnTo>
                  <a:lnTo>
                    <a:pt x="13" y="85"/>
                  </a:lnTo>
                  <a:lnTo>
                    <a:pt x="0" y="54"/>
                  </a:lnTo>
                  <a:lnTo>
                    <a:pt x="21" y="15"/>
                  </a:lnTo>
                  <a:lnTo>
                    <a:pt x="56" y="15"/>
                  </a:lnTo>
                  <a:lnTo>
                    <a:pt x="93" y="13"/>
                  </a:lnTo>
                  <a:lnTo>
                    <a:pt x="120" y="31"/>
                  </a:lnTo>
                  <a:lnTo>
                    <a:pt x="120" y="19"/>
                  </a:lnTo>
                  <a:lnTo>
                    <a:pt x="132" y="9"/>
                  </a:lnTo>
                  <a:lnTo>
                    <a:pt x="145" y="13"/>
                  </a:lnTo>
                  <a:lnTo>
                    <a:pt x="168" y="0"/>
                  </a:lnTo>
                  <a:lnTo>
                    <a:pt x="168" y="35"/>
                  </a:lnTo>
                  <a:lnTo>
                    <a:pt x="172" y="64"/>
                  </a:lnTo>
                  <a:lnTo>
                    <a:pt x="174" y="95"/>
                  </a:lnTo>
                  <a:lnTo>
                    <a:pt x="143" y="110"/>
                  </a:lnTo>
                  <a:lnTo>
                    <a:pt x="126" y="12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44" name="Google Shape;1944;g7826bb8c5e_0_4294"/>
            <p:cNvSpPr/>
            <p:nvPr/>
          </p:nvSpPr>
          <p:spPr>
            <a:xfrm>
              <a:off x="6183903" y="3626856"/>
              <a:ext cx="1272" cy="2730"/>
            </a:xfrm>
            <a:custGeom>
              <a:avLst/>
              <a:gdLst/>
              <a:ahLst/>
              <a:cxnLst/>
              <a:rect l="l" t="t" r="r" b="b"/>
              <a:pathLst>
                <a:path w="6" h="4" extrusionOk="0">
                  <a:moveTo>
                    <a:pt x="6" y="0"/>
                  </a:moveTo>
                  <a:lnTo>
                    <a:pt x="4" y="4"/>
                  </a:lnTo>
                  <a:lnTo>
                    <a:pt x="0" y="4"/>
                  </a:lnTo>
                  <a:lnTo>
                    <a:pt x="6"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45" name="Google Shape;1945;g7826bb8c5e_0_4294"/>
            <p:cNvSpPr/>
            <p:nvPr/>
          </p:nvSpPr>
          <p:spPr>
            <a:xfrm>
              <a:off x="6352985" y="3869880"/>
              <a:ext cx="24154" cy="31402"/>
            </a:xfrm>
            <a:custGeom>
              <a:avLst/>
              <a:gdLst/>
              <a:ahLst/>
              <a:cxnLst/>
              <a:rect l="l" t="t" r="r" b="b"/>
              <a:pathLst>
                <a:path w="42" h="51" extrusionOk="0">
                  <a:moveTo>
                    <a:pt x="38" y="12"/>
                  </a:moveTo>
                  <a:lnTo>
                    <a:pt x="4" y="0"/>
                  </a:lnTo>
                  <a:lnTo>
                    <a:pt x="0" y="2"/>
                  </a:lnTo>
                  <a:lnTo>
                    <a:pt x="9" y="51"/>
                  </a:lnTo>
                  <a:lnTo>
                    <a:pt x="40" y="20"/>
                  </a:lnTo>
                  <a:lnTo>
                    <a:pt x="42" y="18"/>
                  </a:lnTo>
                  <a:lnTo>
                    <a:pt x="38" y="12"/>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46" name="Google Shape;1946;g7826bb8c5e_0_4294"/>
            <p:cNvSpPr/>
            <p:nvPr/>
          </p:nvSpPr>
          <p:spPr>
            <a:xfrm>
              <a:off x="6375868" y="3854863"/>
              <a:ext cx="16527" cy="17749"/>
            </a:xfrm>
            <a:custGeom>
              <a:avLst/>
              <a:gdLst/>
              <a:ahLst/>
              <a:cxnLst/>
              <a:rect l="l" t="t" r="r" b="b"/>
              <a:pathLst>
                <a:path w="31" h="27" extrusionOk="0">
                  <a:moveTo>
                    <a:pt x="31" y="27"/>
                  </a:moveTo>
                  <a:lnTo>
                    <a:pt x="6" y="12"/>
                  </a:lnTo>
                  <a:lnTo>
                    <a:pt x="0" y="15"/>
                  </a:lnTo>
                  <a:lnTo>
                    <a:pt x="2" y="0"/>
                  </a:lnTo>
                  <a:lnTo>
                    <a:pt x="29" y="21"/>
                  </a:lnTo>
                  <a:lnTo>
                    <a:pt x="31" y="27"/>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47" name="Google Shape;1947;g7826bb8c5e_0_4294"/>
            <p:cNvSpPr/>
            <p:nvPr/>
          </p:nvSpPr>
          <p:spPr>
            <a:xfrm>
              <a:off x="5583855" y="3438443"/>
              <a:ext cx="143656" cy="91476"/>
            </a:xfrm>
            <a:custGeom>
              <a:avLst/>
              <a:gdLst/>
              <a:ahLst/>
              <a:cxnLst/>
              <a:rect l="l" t="t" r="r" b="b"/>
              <a:pathLst>
                <a:path w="277" h="151" extrusionOk="0">
                  <a:moveTo>
                    <a:pt x="157" y="120"/>
                  </a:moveTo>
                  <a:lnTo>
                    <a:pt x="116" y="114"/>
                  </a:lnTo>
                  <a:lnTo>
                    <a:pt x="83" y="106"/>
                  </a:lnTo>
                  <a:lnTo>
                    <a:pt x="42" y="85"/>
                  </a:lnTo>
                  <a:lnTo>
                    <a:pt x="2" y="64"/>
                  </a:lnTo>
                  <a:lnTo>
                    <a:pt x="0" y="40"/>
                  </a:lnTo>
                  <a:lnTo>
                    <a:pt x="19" y="9"/>
                  </a:lnTo>
                  <a:lnTo>
                    <a:pt x="21" y="13"/>
                  </a:lnTo>
                  <a:lnTo>
                    <a:pt x="35" y="0"/>
                  </a:lnTo>
                  <a:lnTo>
                    <a:pt x="62" y="15"/>
                  </a:lnTo>
                  <a:lnTo>
                    <a:pt x="104" y="48"/>
                  </a:lnTo>
                  <a:lnTo>
                    <a:pt x="118" y="44"/>
                  </a:lnTo>
                  <a:lnTo>
                    <a:pt x="130" y="56"/>
                  </a:lnTo>
                  <a:lnTo>
                    <a:pt x="159" y="69"/>
                  </a:lnTo>
                  <a:lnTo>
                    <a:pt x="164" y="77"/>
                  </a:lnTo>
                  <a:lnTo>
                    <a:pt x="197" y="91"/>
                  </a:lnTo>
                  <a:lnTo>
                    <a:pt x="226" y="95"/>
                  </a:lnTo>
                  <a:lnTo>
                    <a:pt x="267" y="98"/>
                  </a:lnTo>
                  <a:lnTo>
                    <a:pt x="277" y="151"/>
                  </a:lnTo>
                  <a:lnTo>
                    <a:pt x="240" y="149"/>
                  </a:lnTo>
                  <a:lnTo>
                    <a:pt x="197" y="145"/>
                  </a:lnTo>
                  <a:lnTo>
                    <a:pt x="174" y="137"/>
                  </a:lnTo>
                  <a:lnTo>
                    <a:pt x="157" y="12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48" name="Google Shape;1948;g7826bb8c5e_0_4294"/>
            <p:cNvSpPr/>
            <p:nvPr/>
          </p:nvSpPr>
          <p:spPr>
            <a:xfrm>
              <a:off x="4804556" y="3372909"/>
              <a:ext cx="17798" cy="88746"/>
            </a:xfrm>
            <a:custGeom>
              <a:avLst/>
              <a:gdLst/>
              <a:ahLst/>
              <a:cxnLst/>
              <a:rect l="l" t="t" r="r" b="b"/>
              <a:pathLst>
                <a:path w="39" h="143" extrusionOk="0">
                  <a:moveTo>
                    <a:pt x="29" y="143"/>
                  </a:moveTo>
                  <a:lnTo>
                    <a:pt x="14" y="108"/>
                  </a:lnTo>
                  <a:lnTo>
                    <a:pt x="0" y="74"/>
                  </a:lnTo>
                  <a:lnTo>
                    <a:pt x="10" y="41"/>
                  </a:lnTo>
                  <a:lnTo>
                    <a:pt x="21" y="6"/>
                  </a:lnTo>
                  <a:lnTo>
                    <a:pt x="37" y="0"/>
                  </a:lnTo>
                  <a:lnTo>
                    <a:pt x="39" y="19"/>
                  </a:lnTo>
                  <a:lnTo>
                    <a:pt x="37" y="50"/>
                  </a:lnTo>
                  <a:lnTo>
                    <a:pt x="35" y="81"/>
                  </a:lnTo>
                  <a:lnTo>
                    <a:pt x="33" y="110"/>
                  </a:lnTo>
                  <a:lnTo>
                    <a:pt x="31" y="141"/>
                  </a:lnTo>
                  <a:lnTo>
                    <a:pt x="29" y="143"/>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49" name="Google Shape;1949;g7826bb8c5e_0_4294"/>
            <p:cNvSpPr/>
            <p:nvPr/>
          </p:nvSpPr>
          <p:spPr>
            <a:xfrm>
              <a:off x="4819811" y="3371543"/>
              <a:ext cx="66107" cy="96936"/>
            </a:xfrm>
            <a:custGeom>
              <a:avLst/>
              <a:gdLst/>
              <a:ahLst/>
              <a:cxnLst/>
              <a:rect l="l" t="t" r="r" b="b"/>
              <a:pathLst>
                <a:path w="128" h="159" extrusionOk="0">
                  <a:moveTo>
                    <a:pt x="49" y="41"/>
                  </a:moveTo>
                  <a:lnTo>
                    <a:pt x="8" y="23"/>
                  </a:lnTo>
                  <a:lnTo>
                    <a:pt x="6" y="54"/>
                  </a:lnTo>
                  <a:lnTo>
                    <a:pt x="4" y="85"/>
                  </a:lnTo>
                  <a:lnTo>
                    <a:pt x="2" y="114"/>
                  </a:lnTo>
                  <a:lnTo>
                    <a:pt x="0" y="145"/>
                  </a:lnTo>
                  <a:lnTo>
                    <a:pt x="0" y="153"/>
                  </a:lnTo>
                  <a:lnTo>
                    <a:pt x="37" y="159"/>
                  </a:lnTo>
                  <a:lnTo>
                    <a:pt x="56" y="134"/>
                  </a:lnTo>
                  <a:lnTo>
                    <a:pt x="80" y="128"/>
                  </a:lnTo>
                  <a:lnTo>
                    <a:pt x="93" y="109"/>
                  </a:lnTo>
                  <a:lnTo>
                    <a:pt x="58" y="72"/>
                  </a:lnTo>
                  <a:lnTo>
                    <a:pt x="93" y="56"/>
                  </a:lnTo>
                  <a:lnTo>
                    <a:pt x="128" y="43"/>
                  </a:lnTo>
                  <a:lnTo>
                    <a:pt x="107" y="0"/>
                  </a:lnTo>
                  <a:lnTo>
                    <a:pt x="78" y="19"/>
                  </a:lnTo>
                  <a:lnTo>
                    <a:pt x="49" y="4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50" name="Google Shape;1950;g7826bb8c5e_0_4294"/>
            <p:cNvSpPr/>
            <p:nvPr/>
          </p:nvSpPr>
          <p:spPr>
            <a:xfrm>
              <a:off x="4735906" y="4168882"/>
              <a:ext cx="34325" cy="36863"/>
            </a:xfrm>
            <a:custGeom>
              <a:avLst/>
              <a:gdLst/>
              <a:ahLst/>
              <a:cxnLst/>
              <a:rect l="l" t="t" r="r" b="b"/>
              <a:pathLst>
                <a:path w="66" h="62" extrusionOk="0">
                  <a:moveTo>
                    <a:pt x="23" y="11"/>
                  </a:moveTo>
                  <a:lnTo>
                    <a:pt x="8" y="38"/>
                  </a:lnTo>
                  <a:lnTo>
                    <a:pt x="0" y="62"/>
                  </a:lnTo>
                  <a:lnTo>
                    <a:pt x="2" y="62"/>
                  </a:lnTo>
                  <a:lnTo>
                    <a:pt x="4" y="62"/>
                  </a:lnTo>
                  <a:lnTo>
                    <a:pt x="33" y="60"/>
                  </a:lnTo>
                  <a:lnTo>
                    <a:pt x="37" y="48"/>
                  </a:lnTo>
                  <a:lnTo>
                    <a:pt x="56" y="50"/>
                  </a:lnTo>
                  <a:lnTo>
                    <a:pt x="66" y="46"/>
                  </a:lnTo>
                  <a:lnTo>
                    <a:pt x="53" y="0"/>
                  </a:lnTo>
                  <a:lnTo>
                    <a:pt x="33" y="11"/>
                  </a:lnTo>
                  <a:lnTo>
                    <a:pt x="23" y="1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51" name="Google Shape;1951;g7826bb8c5e_0_4294"/>
            <p:cNvSpPr/>
            <p:nvPr/>
          </p:nvSpPr>
          <p:spPr>
            <a:xfrm>
              <a:off x="5090595" y="3538112"/>
              <a:ext cx="0" cy="6826"/>
            </a:xfrm>
            <a:custGeom>
              <a:avLst/>
              <a:gdLst/>
              <a:ahLst/>
              <a:cxnLst/>
              <a:rect l="l" t="t" r="r" b="b"/>
              <a:pathLst>
                <a:path w="2" h="10" extrusionOk="0">
                  <a:moveTo>
                    <a:pt x="0" y="0"/>
                  </a:moveTo>
                  <a:lnTo>
                    <a:pt x="0" y="10"/>
                  </a:lnTo>
                  <a:lnTo>
                    <a:pt x="0" y="4"/>
                  </a:lnTo>
                  <a:lnTo>
                    <a:pt x="0"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52" name="Google Shape;1952;g7826bb8c5e_0_4294"/>
            <p:cNvSpPr/>
            <p:nvPr/>
          </p:nvSpPr>
          <p:spPr>
            <a:xfrm>
              <a:off x="4466393" y="3600916"/>
              <a:ext cx="177980" cy="367267"/>
            </a:xfrm>
            <a:custGeom>
              <a:avLst/>
              <a:gdLst/>
              <a:ahLst/>
              <a:cxnLst/>
              <a:rect l="l" t="t" r="r" b="b"/>
              <a:pathLst>
                <a:path w="345" h="607" extrusionOk="0">
                  <a:moveTo>
                    <a:pt x="339" y="151"/>
                  </a:moveTo>
                  <a:lnTo>
                    <a:pt x="306" y="132"/>
                  </a:lnTo>
                  <a:lnTo>
                    <a:pt x="271" y="115"/>
                  </a:lnTo>
                  <a:lnTo>
                    <a:pt x="238" y="95"/>
                  </a:lnTo>
                  <a:lnTo>
                    <a:pt x="205" y="76"/>
                  </a:lnTo>
                  <a:lnTo>
                    <a:pt x="170" y="56"/>
                  </a:lnTo>
                  <a:lnTo>
                    <a:pt x="137" y="37"/>
                  </a:lnTo>
                  <a:lnTo>
                    <a:pt x="104" y="20"/>
                  </a:lnTo>
                  <a:lnTo>
                    <a:pt x="71" y="0"/>
                  </a:lnTo>
                  <a:lnTo>
                    <a:pt x="38" y="20"/>
                  </a:lnTo>
                  <a:lnTo>
                    <a:pt x="42" y="47"/>
                  </a:lnTo>
                  <a:lnTo>
                    <a:pt x="46" y="76"/>
                  </a:lnTo>
                  <a:lnTo>
                    <a:pt x="73" y="120"/>
                  </a:lnTo>
                  <a:lnTo>
                    <a:pt x="66" y="136"/>
                  </a:lnTo>
                  <a:lnTo>
                    <a:pt x="64" y="165"/>
                  </a:lnTo>
                  <a:lnTo>
                    <a:pt x="64" y="192"/>
                  </a:lnTo>
                  <a:lnTo>
                    <a:pt x="62" y="221"/>
                  </a:lnTo>
                  <a:lnTo>
                    <a:pt x="60" y="250"/>
                  </a:lnTo>
                  <a:lnTo>
                    <a:pt x="44" y="274"/>
                  </a:lnTo>
                  <a:lnTo>
                    <a:pt x="29" y="297"/>
                  </a:lnTo>
                  <a:lnTo>
                    <a:pt x="15" y="318"/>
                  </a:lnTo>
                  <a:lnTo>
                    <a:pt x="0" y="341"/>
                  </a:lnTo>
                  <a:lnTo>
                    <a:pt x="0" y="372"/>
                  </a:lnTo>
                  <a:lnTo>
                    <a:pt x="15" y="396"/>
                  </a:lnTo>
                  <a:lnTo>
                    <a:pt x="29" y="396"/>
                  </a:lnTo>
                  <a:lnTo>
                    <a:pt x="44" y="433"/>
                  </a:lnTo>
                  <a:lnTo>
                    <a:pt x="48" y="475"/>
                  </a:lnTo>
                  <a:lnTo>
                    <a:pt x="71" y="514"/>
                  </a:lnTo>
                  <a:lnTo>
                    <a:pt x="33" y="514"/>
                  </a:lnTo>
                  <a:lnTo>
                    <a:pt x="15" y="524"/>
                  </a:lnTo>
                  <a:lnTo>
                    <a:pt x="44" y="559"/>
                  </a:lnTo>
                  <a:lnTo>
                    <a:pt x="66" y="607"/>
                  </a:lnTo>
                  <a:lnTo>
                    <a:pt x="97" y="597"/>
                  </a:lnTo>
                  <a:lnTo>
                    <a:pt x="104" y="601"/>
                  </a:lnTo>
                  <a:lnTo>
                    <a:pt x="122" y="599"/>
                  </a:lnTo>
                  <a:lnTo>
                    <a:pt x="168" y="588"/>
                  </a:lnTo>
                  <a:lnTo>
                    <a:pt x="184" y="570"/>
                  </a:lnTo>
                  <a:lnTo>
                    <a:pt x="178" y="557"/>
                  </a:lnTo>
                  <a:lnTo>
                    <a:pt x="226" y="547"/>
                  </a:lnTo>
                  <a:lnTo>
                    <a:pt x="254" y="518"/>
                  </a:lnTo>
                  <a:lnTo>
                    <a:pt x="279" y="487"/>
                  </a:lnTo>
                  <a:lnTo>
                    <a:pt x="310" y="479"/>
                  </a:lnTo>
                  <a:lnTo>
                    <a:pt x="308" y="458"/>
                  </a:lnTo>
                  <a:lnTo>
                    <a:pt x="302" y="436"/>
                  </a:lnTo>
                  <a:lnTo>
                    <a:pt x="286" y="409"/>
                  </a:lnTo>
                  <a:lnTo>
                    <a:pt x="275" y="407"/>
                  </a:lnTo>
                  <a:lnTo>
                    <a:pt x="286" y="378"/>
                  </a:lnTo>
                  <a:lnTo>
                    <a:pt x="290" y="361"/>
                  </a:lnTo>
                  <a:lnTo>
                    <a:pt x="294" y="351"/>
                  </a:lnTo>
                  <a:lnTo>
                    <a:pt x="294" y="338"/>
                  </a:lnTo>
                  <a:lnTo>
                    <a:pt x="310" y="307"/>
                  </a:lnTo>
                  <a:lnTo>
                    <a:pt x="321" y="297"/>
                  </a:lnTo>
                  <a:lnTo>
                    <a:pt x="345" y="297"/>
                  </a:lnTo>
                  <a:lnTo>
                    <a:pt x="343" y="260"/>
                  </a:lnTo>
                  <a:lnTo>
                    <a:pt x="341" y="225"/>
                  </a:lnTo>
                  <a:lnTo>
                    <a:pt x="341" y="188"/>
                  </a:lnTo>
                  <a:lnTo>
                    <a:pt x="339" y="151"/>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53" name="Google Shape;1953;g7826bb8c5e_0_4294"/>
            <p:cNvSpPr/>
            <p:nvPr/>
          </p:nvSpPr>
          <p:spPr>
            <a:xfrm>
              <a:off x="4738448" y="4197553"/>
              <a:ext cx="30511" cy="47787"/>
            </a:xfrm>
            <a:custGeom>
              <a:avLst/>
              <a:gdLst/>
              <a:ahLst/>
              <a:cxnLst/>
              <a:rect l="l" t="t" r="r" b="b"/>
              <a:pathLst>
                <a:path w="60" h="80" extrusionOk="0">
                  <a:moveTo>
                    <a:pt x="52" y="22"/>
                  </a:moveTo>
                  <a:lnTo>
                    <a:pt x="52" y="2"/>
                  </a:lnTo>
                  <a:lnTo>
                    <a:pt x="33" y="0"/>
                  </a:lnTo>
                  <a:lnTo>
                    <a:pt x="29" y="12"/>
                  </a:lnTo>
                  <a:lnTo>
                    <a:pt x="0" y="14"/>
                  </a:lnTo>
                  <a:lnTo>
                    <a:pt x="0" y="16"/>
                  </a:lnTo>
                  <a:lnTo>
                    <a:pt x="0" y="18"/>
                  </a:lnTo>
                  <a:lnTo>
                    <a:pt x="6" y="49"/>
                  </a:lnTo>
                  <a:lnTo>
                    <a:pt x="12" y="80"/>
                  </a:lnTo>
                  <a:lnTo>
                    <a:pt x="21" y="80"/>
                  </a:lnTo>
                  <a:lnTo>
                    <a:pt x="41" y="56"/>
                  </a:lnTo>
                  <a:lnTo>
                    <a:pt x="60" y="33"/>
                  </a:lnTo>
                  <a:lnTo>
                    <a:pt x="52" y="22"/>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54" name="Google Shape;1954;g7826bb8c5e_0_4294"/>
            <p:cNvSpPr/>
            <p:nvPr/>
          </p:nvSpPr>
          <p:spPr>
            <a:xfrm>
              <a:off x="4424441" y="4061023"/>
              <a:ext cx="130944" cy="197969"/>
            </a:xfrm>
            <a:custGeom>
              <a:avLst/>
              <a:gdLst/>
              <a:ahLst/>
              <a:cxnLst/>
              <a:rect l="l" t="t" r="r" b="b"/>
              <a:pathLst>
                <a:path w="252" h="326" extrusionOk="0">
                  <a:moveTo>
                    <a:pt x="47" y="229"/>
                  </a:moveTo>
                  <a:lnTo>
                    <a:pt x="16" y="231"/>
                  </a:lnTo>
                  <a:lnTo>
                    <a:pt x="18" y="243"/>
                  </a:lnTo>
                  <a:lnTo>
                    <a:pt x="21" y="252"/>
                  </a:lnTo>
                  <a:lnTo>
                    <a:pt x="27" y="268"/>
                  </a:lnTo>
                  <a:lnTo>
                    <a:pt x="21" y="276"/>
                  </a:lnTo>
                  <a:lnTo>
                    <a:pt x="12" y="270"/>
                  </a:lnTo>
                  <a:lnTo>
                    <a:pt x="0" y="287"/>
                  </a:lnTo>
                  <a:lnTo>
                    <a:pt x="29" y="326"/>
                  </a:lnTo>
                  <a:lnTo>
                    <a:pt x="52" y="307"/>
                  </a:lnTo>
                  <a:lnTo>
                    <a:pt x="66" y="312"/>
                  </a:lnTo>
                  <a:lnTo>
                    <a:pt x="83" y="318"/>
                  </a:lnTo>
                  <a:lnTo>
                    <a:pt x="91" y="307"/>
                  </a:lnTo>
                  <a:lnTo>
                    <a:pt x="113" y="305"/>
                  </a:lnTo>
                  <a:lnTo>
                    <a:pt x="116" y="322"/>
                  </a:lnTo>
                  <a:lnTo>
                    <a:pt x="142" y="297"/>
                  </a:lnTo>
                  <a:lnTo>
                    <a:pt x="167" y="272"/>
                  </a:lnTo>
                  <a:lnTo>
                    <a:pt x="171" y="243"/>
                  </a:lnTo>
                  <a:lnTo>
                    <a:pt x="177" y="214"/>
                  </a:lnTo>
                  <a:lnTo>
                    <a:pt x="200" y="183"/>
                  </a:lnTo>
                  <a:lnTo>
                    <a:pt x="223" y="152"/>
                  </a:lnTo>
                  <a:lnTo>
                    <a:pt x="227" y="122"/>
                  </a:lnTo>
                  <a:lnTo>
                    <a:pt x="233" y="93"/>
                  </a:lnTo>
                  <a:lnTo>
                    <a:pt x="237" y="64"/>
                  </a:lnTo>
                  <a:lnTo>
                    <a:pt x="242" y="37"/>
                  </a:lnTo>
                  <a:lnTo>
                    <a:pt x="252" y="4"/>
                  </a:lnTo>
                  <a:lnTo>
                    <a:pt x="225" y="2"/>
                  </a:lnTo>
                  <a:lnTo>
                    <a:pt x="200" y="0"/>
                  </a:lnTo>
                  <a:lnTo>
                    <a:pt x="180" y="12"/>
                  </a:lnTo>
                  <a:lnTo>
                    <a:pt x="171" y="51"/>
                  </a:lnTo>
                  <a:lnTo>
                    <a:pt x="163" y="68"/>
                  </a:lnTo>
                  <a:lnTo>
                    <a:pt x="134" y="62"/>
                  </a:lnTo>
                  <a:lnTo>
                    <a:pt x="107" y="55"/>
                  </a:lnTo>
                  <a:lnTo>
                    <a:pt x="72" y="53"/>
                  </a:lnTo>
                  <a:lnTo>
                    <a:pt x="70" y="89"/>
                  </a:lnTo>
                  <a:lnTo>
                    <a:pt x="107" y="86"/>
                  </a:lnTo>
                  <a:lnTo>
                    <a:pt x="109" y="113"/>
                  </a:lnTo>
                  <a:lnTo>
                    <a:pt x="93" y="134"/>
                  </a:lnTo>
                  <a:lnTo>
                    <a:pt x="113" y="167"/>
                  </a:lnTo>
                  <a:lnTo>
                    <a:pt x="105" y="219"/>
                  </a:lnTo>
                  <a:lnTo>
                    <a:pt x="93" y="229"/>
                  </a:lnTo>
                  <a:lnTo>
                    <a:pt x="87" y="219"/>
                  </a:lnTo>
                  <a:lnTo>
                    <a:pt x="68" y="227"/>
                  </a:lnTo>
                  <a:lnTo>
                    <a:pt x="49" y="206"/>
                  </a:lnTo>
                  <a:lnTo>
                    <a:pt x="47" y="229"/>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55" name="Google Shape;1955;g7826bb8c5e_0_4294"/>
            <p:cNvSpPr/>
            <p:nvPr/>
          </p:nvSpPr>
          <p:spPr>
            <a:xfrm>
              <a:off x="4133315" y="3793423"/>
              <a:ext cx="136028" cy="129705"/>
            </a:xfrm>
            <a:custGeom>
              <a:avLst/>
              <a:gdLst/>
              <a:ahLst/>
              <a:cxnLst/>
              <a:rect l="l" t="t" r="r" b="b"/>
              <a:pathLst>
                <a:path w="263" h="213" extrusionOk="0">
                  <a:moveTo>
                    <a:pt x="217" y="155"/>
                  </a:moveTo>
                  <a:lnTo>
                    <a:pt x="205" y="155"/>
                  </a:lnTo>
                  <a:lnTo>
                    <a:pt x="178" y="149"/>
                  </a:lnTo>
                  <a:lnTo>
                    <a:pt x="170" y="153"/>
                  </a:lnTo>
                  <a:lnTo>
                    <a:pt x="130" y="153"/>
                  </a:lnTo>
                  <a:lnTo>
                    <a:pt x="89" y="155"/>
                  </a:lnTo>
                  <a:lnTo>
                    <a:pt x="91" y="184"/>
                  </a:lnTo>
                  <a:lnTo>
                    <a:pt x="95" y="213"/>
                  </a:lnTo>
                  <a:lnTo>
                    <a:pt x="64" y="196"/>
                  </a:lnTo>
                  <a:lnTo>
                    <a:pt x="33" y="206"/>
                  </a:lnTo>
                  <a:lnTo>
                    <a:pt x="13" y="182"/>
                  </a:lnTo>
                  <a:lnTo>
                    <a:pt x="0" y="177"/>
                  </a:lnTo>
                  <a:lnTo>
                    <a:pt x="8" y="126"/>
                  </a:lnTo>
                  <a:lnTo>
                    <a:pt x="17" y="118"/>
                  </a:lnTo>
                  <a:lnTo>
                    <a:pt x="37" y="101"/>
                  </a:lnTo>
                  <a:lnTo>
                    <a:pt x="42" y="85"/>
                  </a:lnTo>
                  <a:lnTo>
                    <a:pt x="48" y="64"/>
                  </a:lnTo>
                  <a:lnTo>
                    <a:pt x="70" y="72"/>
                  </a:lnTo>
                  <a:lnTo>
                    <a:pt x="75" y="58"/>
                  </a:lnTo>
                  <a:lnTo>
                    <a:pt x="81" y="54"/>
                  </a:lnTo>
                  <a:lnTo>
                    <a:pt x="95" y="37"/>
                  </a:lnTo>
                  <a:lnTo>
                    <a:pt x="114" y="35"/>
                  </a:lnTo>
                  <a:lnTo>
                    <a:pt x="118" y="21"/>
                  </a:lnTo>
                  <a:lnTo>
                    <a:pt x="161" y="0"/>
                  </a:lnTo>
                  <a:lnTo>
                    <a:pt x="192" y="4"/>
                  </a:lnTo>
                  <a:lnTo>
                    <a:pt x="196" y="37"/>
                  </a:lnTo>
                  <a:lnTo>
                    <a:pt x="223" y="64"/>
                  </a:lnTo>
                  <a:lnTo>
                    <a:pt x="217" y="66"/>
                  </a:lnTo>
                  <a:lnTo>
                    <a:pt x="217" y="78"/>
                  </a:lnTo>
                  <a:lnTo>
                    <a:pt x="236" y="93"/>
                  </a:lnTo>
                  <a:lnTo>
                    <a:pt x="248" y="91"/>
                  </a:lnTo>
                  <a:lnTo>
                    <a:pt x="256" y="103"/>
                  </a:lnTo>
                  <a:lnTo>
                    <a:pt x="263" y="120"/>
                  </a:lnTo>
                  <a:lnTo>
                    <a:pt x="263" y="122"/>
                  </a:lnTo>
                  <a:lnTo>
                    <a:pt x="263" y="126"/>
                  </a:lnTo>
                  <a:lnTo>
                    <a:pt x="238" y="142"/>
                  </a:lnTo>
                  <a:lnTo>
                    <a:pt x="217" y="155"/>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56" name="Google Shape;1956;g7826bb8c5e_0_4294"/>
            <p:cNvSpPr/>
            <p:nvPr/>
          </p:nvSpPr>
          <p:spPr>
            <a:xfrm>
              <a:off x="4377403" y="3839844"/>
              <a:ext cx="136028" cy="262138"/>
            </a:xfrm>
            <a:custGeom>
              <a:avLst/>
              <a:gdLst/>
              <a:ahLst/>
              <a:cxnLst/>
              <a:rect l="l" t="t" r="r" b="b"/>
              <a:pathLst>
                <a:path w="260" h="430" extrusionOk="0">
                  <a:moveTo>
                    <a:pt x="240" y="118"/>
                  </a:moveTo>
                  <a:lnTo>
                    <a:pt x="202" y="118"/>
                  </a:lnTo>
                  <a:lnTo>
                    <a:pt x="184" y="128"/>
                  </a:lnTo>
                  <a:lnTo>
                    <a:pt x="213" y="163"/>
                  </a:lnTo>
                  <a:lnTo>
                    <a:pt x="235" y="211"/>
                  </a:lnTo>
                  <a:lnTo>
                    <a:pt x="217" y="242"/>
                  </a:lnTo>
                  <a:lnTo>
                    <a:pt x="202" y="273"/>
                  </a:lnTo>
                  <a:lnTo>
                    <a:pt x="211" y="325"/>
                  </a:lnTo>
                  <a:lnTo>
                    <a:pt x="231" y="353"/>
                  </a:lnTo>
                  <a:lnTo>
                    <a:pt x="248" y="380"/>
                  </a:lnTo>
                  <a:lnTo>
                    <a:pt x="260" y="413"/>
                  </a:lnTo>
                  <a:lnTo>
                    <a:pt x="252" y="430"/>
                  </a:lnTo>
                  <a:lnTo>
                    <a:pt x="223" y="424"/>
                  </a:lnTo>
                  <a:lnTo>
                    <a:pt x="196" y="417"/>
                  </a:lnTo>
                  <a:lnTo>
                    <a:pt x="161" y="415"/>
                  </a:lnTo>
                  <a:lnTo>
                    <a:pt x="128" y="415"/>
                  </a:lnTo>
                  <a:lnTo>
                    <a:pt x="95" y="415"/>
                  </a:lnTo>
                  <a:lnTo>
                    <a:pt x="70" y="413"/>
                  </a:lnTo>
                  <a:lnTo>
                    <a:pt x="45" y="409"/>
                  </a:lnTo>
                  <a:lnTo>
                    <a:pt x="45" y="368"/>
                  </a:lnTo>
                  <a:lnTo>
                    <a:pt x="41" y="351"/>
                  </a:lnTo>
                  <a:lnTo>
                    <a:pt x="39" y="345"/>
                  </a:lnTo>
                  <a:lnTo>
                    <a:pt x="15" y="343"/>
                  </a:lnTo>
                  <a:lnTo>
                    <a:pt x="6" y="320"/>
                  </a:lnTo>
                  <a:lnTo>
                    <a:pt x="0" y="322"/>
                  </a:lnTo>
                  <a:lnTo>
                    <a:pt x="4" y="314"/>
                  </a:lnTo>
                  <a:lnTo>
                    <a:pt x="14" y="283"/>
                  </a:lnTo>
                  <a:lnTo>
                    <a:pt x="29" y="261"/>
                  </a:lnTo>
                  <a:lnTo>
                    <a:pt x="45" y="240"/>
                  </a:lnTo>
                  <a:lnTo>
                    <a:pt x="70" y="230"/>
                  </a:lnTo>
                  <a:lnTo>
                    <a:pt x="89" y="254"/>
                  </a:lnTo>
                  <a:lnTo>
                    <a:pt x="110" y="223"/>
                  </a:lnTo>
                  <a:lnTo>
                    <a:pt x="124" y="190"/>
                  </a:lnTo>
                  <a:lnTo>
                    <a:pt x="136" y="170"/>
                  </a:lnTo>
                  <a:lnTo>
                    <a:pt x="149" y="139"/>
                  </a:lnTo>
                  <a:lnTo>
                    <a:pt x="161" y="112"/>
                  </a:lnTo>
                  <a:lnTo>
                    <a:pt x="172" y="85"/>
                  </a:lnTo>
                  <a:lnTo>
                    <a:pt x="196" y="64"/>
                  </a:lnTo>
                  <a:lnTo>
                    <a:pt x="203" y="42"/>
                  </a:lnTo>
                  <a:lnTo>
                    <a:pt x="190" y="29"/>
                  </a:lnTo>
                  <a:lnTo>
                    <a:pt x="184" y="0"/>
                  </a:lnTo>
                  <a:lnTo>
                    <a:pt x="198" y="0"/>
                  </a:lnTo>
                  <a:lnTo>
                    <a:pt x="213" y="37"/>
                  </a:lnTo>
                  <a:lnTo>
                    <a:pt x="217" y="79"/>
                  </a:lnTo>
                  <a:lnTo>
                    <a:pt x="240" y="118"/>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57" name="Google Shape;1957;g7826bb8c5e_0_4294"/>
            <p:cNvSpPr/>
            <p:nvPr/>
          </p:nvSpPr>
          <p:spPr>
            <a:xfrm>
              <a:off x="4481649" y="3891724"/>
              <a:ext cx="228832" cy="199335"/>
            </a:xfrm>
            <a:custGeom>
              <a:avLst/>
              <a:gdLst/>
              <a:ahLst/>
              <a:cxnLst/>
              <a:rect l="l" t="t" r="r" b="b"/>
              <a:pathLst>
                <a:path w="434" h="330" extrusionOk="0">
                  <a:moveTo>
                    <a:pt x="151" y="91"/>
                  </a:moveTo>
                  <a:lnTo>
                    <a:pt x="145" y="78"/>
                  </a:lnTo>
                  <a:lnTo>
                    <a:pt x="193" y="68"/>
                  </a:lnTo>
                  <a:lnTo>
                    <a:pt x="221" y="39"/>
                  </a:lnTo>
                  <a:lnTo>
                    <a:pt x="246" y="8"/>
                  </a:lnTo>
                  <a:lnTo>
                    <a:pt x="277" y="0"/>
                  </a:lnTo>
                  <a:lnTo>
                    <a:pt x="292" y="23"/>
                  </a:lnTo>
                  <a:lnTo>
                    <a:pt x="306" y="47"/>
                  </a:lnTo>
                  <a:lnTo>
                    <a:pt x="300" y="83"/>
                  </a:lnTo>
                  <a:lnTo>
                    <a:pt x="325" y="89"/>
                  </a:lnTo>
                  <a:lnTo>
                    <a:pt x="331" y="101"/>
                  </a:lnTo>
                  <a:lnTo>
                    <a:pt x="360" y="122"/>
                  </a:lnTo>
                  <a:lnTo>
                    <a:pt x="368" y="138"/>
                  </a:lnTo>
                  <a:lnTo>
                    <a:pt x="397" y="167"/>
                  </a:lnTo>
                  <a:lnTo>
                    <a:pt x="411" y="186"/>
                  </a:lnTo>
                  <a:lnTo>
                    <a:pt x="430" y="211"/>
                  </a:lnTo>
                  <a:lnTo>
                    <a:pt x="434" y="225"/>
                  </a:lnTo>
                  <a:lnTo>
                    <a:pt x="416" y="219"/>
                  </a:lnTo>
                  <a:lnTo>
                    <a:pt x="391" y="217"/>
                  </a:lnTo>
                  <a:lnTo>
                    <a:pt x="364" y="213"/>
                  </a:lnTo>
                  <a:lnTo>
                    <a:pt x="352" y="225"/>
                  </a:lnTo>
                  <a:lnTo>
                    <a:pt x="327" y="225"/>
                  </a:lnTo>
                  <a:lnTo>
                    <a:pt x="292" y="237"/>
                  </a:lnTo>
                  <a:lnTo>
                    <a:pt x="279" y="235"/>
                  </a:lnTo>
                  <a:lnTo>
                    <a:pt x="263" y="258"/>
                  </a:lnTo>
                  <a:lnTo>
                    <a:pt x="230" y="248"/>
                  </a:lnTo>
                  <a:lnTo>
                    <a:pt x="199" y="239"/>
                  </a:lnTo>
                  <a:lnTo>
                    <a:pt x="164" y="219"/>
                  </a:lnTo>
                  <a:lnTo>
                    <a:pt x="137" y="254"/>
                  </a:lnTo>
                  <a:lnTo>
                    <a:pt x="139" y="283"/>
                  </a:lnTo>
                  <a:lnTo>
                    <a:pt x="112" y="281"/>
                  </a:lnTo>
                  <a:lnTo>
                    <a:pt x="87" y="279"/>
                  </a:lnTo>
                  <a:lnTo>
                    <a:pt x="67" y="291"/>
                  </a:lnTo>
                  <a:lnTo>
                    <a:pt x="58" y="330"/>
                  </a:lnTo>
                  <a:lnTo>
                    <a:pt x="46" y="297"/>
                  </a:lnTo>
                  <a:lnTo>
                    <a:pt x="29" y="270"/>
                  </a:lnTo>
                  <a:lnTo>
                    <a:pt x="9" y="242"/>
                  </a:lnTo>
                  <a:lnTo>
                    <a:pt x="0" y="190"/>
                  </a:lnTo>
                  <a:lnTo>
                    <a:pt x="15" y="159"/>
                  </a:lnTo>
                  <a:lnTo>
                    <a:pt x="33" y="128"/>
                  </a:lnTo>
                  <a:lnTo>
                    <a:pt x="64" y="118"/>
                  </a:lnTo>
                  <a:lnTo>
                    <a:pt x="71" y="122"/>
                  </a:lnTo>
                  <a:lnTo>
                    <a:pt x="89" y="120"/>
                  </a:lnTo>
                  <a:lnTo>
                    <a:pt x="135" y="109"/>
                  </a:lnTo>
                  <a:lnTo>
                    <a:pt x="151" y="9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58" name="Google Shape;1958;g7826bb8c5e_0_4294"/>
            <p:cNvSpPr/>
            <p:nvPr/>
          </p:nvSpPr>
          <p:spPr>
            <a:xfrm>
              <a:off x="3937537" y="3824825"/>
              <a:ext cx="49580" cy="16383"/>
            </a:xfrm>
            <a:custGeom>
              <a:avLst/>
              <a:gdLst/>
              <a:ahLst/>
              <a:cxnLst/>
              <a:rect l="l" t="t" r="r" b="b"/>
              <a:pathLst>
                <a:path w="97" h="29" extrusionOk="0">
                  <a:moveTo>
                    <a:pt x="4" y="11"/>
                  </a:moveTo>
                  <a:lnTo>
                    <a:pt x="0" y="29"/>
                  </a:lnTo>
                  <a:lnTo>
                    <a:pt x="25" y="19"/>
                  </a:lnTo>
                  <a:lnTo>
                    <a:pt x="52" y="9"/>
                  </a:lnTo>
                  <a:lnTo>
                    <a:pt x="97" y="19"/>
                  </a:lnTo>
                  <a:lnTo>
                    <a:pt x="87" y="9"/>
                  </a:lnTo>
                  <a:lnTo>
                    <a:pt x="46" y="0"/>
                  </a:lnTo>
                  <a:lnTo>
                    <a:pt x="42" y="7"/>
                  </a:lnTo>
                  <a:lnTo>
                    <a:pt x="6" y="7"/>
                  </a:lnTo>
                  <a:lnTo>
                    <a:pt x="6" y="11"/>
                  </a:lnTo>
                  <a:lnTo>
                    <a:pt x="37" y="11"/>
                  </a:lnTo>
                  <a:lnTo>
                    <a:pt x="19" y="21"/>
                  </a:lnTo>
                  <a:lnTo>
                    <a:pt x="4" y="1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59" name="Google Shape;1959;g7826bb8c5e_0_4294"/>
            <p:cNvSpPr/>
            <p:nvPr/>
          </p:nvSpPr>
          <p:spPr>
            <a:xfrm>
              <a:off x="3966777" y="3849401"/>
              <a:ext cx="125858" cy="125608"/>
            </a:xfrm>
            <a:custGeom>
              <a:avLst/>
              <a:gdLst/>
              <a:ahLst/>
              <a:cxnLst/>
              <a:rect l="l" t="t" r="r" b="b"/>
              <a:pathLst>
                <a:path w="242" h="206" extrusionOk="0">
                  <a:moveTo>
                    <a:pt x="219" y="49"/>
                  </a:moveTo>
                  <a:lnTo>
                    <a:pt x="215" y="60"/>
                  </a:lnTo>
                  <a:lnTo>
                    <a:pt x="219" y="62"/>
                  </a:lnTo>
                  <a:lnTo>
                    <a:pt x="236" y="95"/>
                  </a:lnTo>
                  <a:lnTo>
                    <a:pt x="233" y="124"/>
                  </a:lnTo>
                  <a:lnTo>
                    <a:pt x="236" y="132"/>
                  </a:lnTo>
                  <a:lnTo>
                    <a:pt x="238" y="140"/>
                  </a:lnTo>
                  <a:lnTo>
                    <a:pt x="242" y="153"/>
                  </a:lnTo>
                  <a:lnTo>
                    <a:pt x="240" y="161"/>
                  </a:lnTo>
                  <a:lnTo>
                    <a:pt x="227" y="163"/>
                  </a:lnTo>
                  <a:lnTo>
                    <a:pt x="233" y="181"/>
                  </a:lnTo>
                  <a:lnTo>
                    <a:pt x="221" y="194"/>
                  </a:lnTo>
                  <a:lnTo>
                    <a:pt x="219" y="194"/>
                  </a:lnTo>
                  <a:lnTo>
                    <a:pt x="209" y="196"/>
                  </a:lnTo>
                  <a:lnTo>
                    <a:pt x="194" y="206"/>
                  </a:lnTo>
                  <a:lnTo>
                    <a:pt x="186" y="198"/>
                  </a:lnTo>
                  <a:lnTo>
                    <a:pt x="176" y="159"/>
                  </a:lnTo>
                  <a:lnTo>
                    <a:pt x="159" y="159"/>
                  </a:lnTo>
                  <a:lnTo>
                    <a:pt x="145" y="163"/>
                  </a:lnTo>
                  <a:lnTo>
                    <a:pt x="147" y="138"/>
                  </a:lnTo>
                  <a:lnTo>
                    <a:pt x="126" y="103"/>
                  </a:lnTo>
                  <a:lnTo>
                    <a:pt x="81" y="115"/>
                  </a:lnTo>
                  <a:lnTo>
                    <a:pt x="56" y="140"/>
                  </a:lnTo>
                  <a:lnTo>
                    <a:pt x="54" y="128"/>
                  </a:lnTo>
                  <a:lnTo>
                    <a:pt x="46" y="117"/>
                  </a:lnTo>
                  <a:lnTo>
                    <a:pt x="41" y="109"/>
                  </a:lnTo>
                  <a:lnTo>
                    <a:pt x="31" y="99"/>
                  </a:lnTo>
                  <a:lnTo>
                    <a:pt x="14" y="80"/>
                  </a:lnTo>
                  <a:lnTo>
                    <a:pt x="14" y="72"/>
                  </a:lnTo>
                  <a:lnTo>
                    <a:pt x="10" y="74"/>
                  </a:lnTo>
                  <a:lnTo>
                    <a:pt x="8" y="64"/>
                  </a:lnTo>
                  <a:lnTo>
                    <a:pt x="0" y="68"/>
                  </a:lnTo>
                  <a:lnTo>
                    <a:pt x="0" y="66"/>
                  </a:lnTo>
                  <a:lnTo>
                    <a:pt x="8" y="51"/>
                  </a:lnTo>
                  <a:lnTo>
                    <a:pt x="39" y="39"/>
                  </a:lnTo>
                  <a:lnTo>
                    <a:pt x="41" y="18"/>
                  </a:lnTo>
                  <a:lnTo>
                    <a:pt x="45" y="0"/>
                  </a:lnTo>
                  <a:lnTo>
                    <a:pt x="74" y="8"/>
                  </a:lnTo>
                  <a:lnTo>
                    <a:pt x="122" y="12"/>
                  </a:lnTo>
                  <a:lnTo>
                    <a:pt x="118" y="20"/>
                  </a:lnTo>
                  <a:lnTo>
                    <a:pt x="140" y="22"/>
                  </a:lnTo>
                  <a:lnTo>
                    <a:pt x="149" y="25"/>
                  </a:lnTo>
                  <a:lnTo>
                    <a:pt x="169" y="22"/>
                  </a:lnTo>
                  <a:lnTo>
                    <a:pt x="192" y="14"/>
                  </a:lnTo>
                  <a:lnTo>
                    <a:pt x="196" y="8"/>
                  </a:lnTo>
                  <a:lnTo>
                    <a:pt x="207" y="39"/>
                  </a:lnTo>
                  <a:lnTo>
                    <a:pt x="219" y="49"/>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60" name="Google Shape;1960;g7826bb8c5e_0_4294"/>
            <p:cNvSpPr/>
            <p:nvPr/>
          </p:nvSpPr>
          <p:spPr>
            <a:xfrm>
              <a:off x="3937537" y="3849401"/>
              <a:ext cx="52123" cy="39593"/>
            </a:xfrm>
            <a:custGeom>
              <a:avLst/>
              <a:gdLst/>
              <a:ahLst/>
              <a:cxnLst/>
              <a:rect l="l" t="t" r="r" b="b"/>
              <a:pathLst>
                <a:path w="101" h="66" extrusionOk="0">
                  <a:moveTo>
                    <a:pt x="50" y="41"/>
                  </a:moveTo>
                  <a:lnTo>
                    <a:pt x="46" y="51"/>
                  </a:lnTo>
                  <a:lnTo>
                    <a:pt x="52" y="60"/>
                  </a:lnTo>
                  <a:lnTo>
                    <a:pt x="56" y="66"/>
                  </a:lnTo>
                  <a:lnTo>
                    <a:pt x="64" y="51"/>
                  </a:lnTo>
                  <a:lnTo>
                    <a:pt x="95" y="39"/>
                  </a:lnTo>
                  <a:lnTo>
                    <a:pt x="97" y="18"/>
                  </a:lnTo>
                  <a:lnTo>
                    <a:pt x="101" y="0"/>
                  </a:lnTo>
                  <a:lnTo>
                    <a:pt x="71" y="2"/>
                  </a:lnTo>
                  <a:lnTo>
                    <a:pt x="44" y="6"/>
                  </a:lnTo>
                  <a:lnTo>
                    <a:pt x="0" y="14"/>
                  </a:lnTo>
                  <a:lnTo>
                    <a:pt x="17" y="16"/>
                  </a:lnTo>
                  <a:lnTo>
                    <a:pt x="11" y="22"/>
                  </a:lnTo>
                  <a:lnTo>
                    <a:pt x="29" y="25"/>
                  </a:lnTo>
                  <a:lnTo>
                    <a:pt x="27" y="31"/>
                  </a:lnTo>
                  <a:lnTo>
                    <a:pt x="50" y="29"/>
                  </a:lnTo>
                  <a:lnTo>
                    <a:pt x="56" y="35"/>
                  </a:lnTo>
                  <a:lnTo>
                    <a:pt x="38" y="37"/>
                  </a:lnTo>
                  <a:lnTo>
                    <a:pt x="50" y="4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61" name="Google Shape;1961;g7826bb8c5e_0_4294"/>
            <p:cNvSpPr/>
            <p:nvPr/>
          </p:nvSpPr>
          <p:spPr>
            <a:xfrm>
              <a:off x="3996016" y="3912205"/>
              <a:ext cx="52123" cy="70995"/>
            </a:xfrm>
            <a:custGeom>
              <a:avLst/>
              <a:gdLst/>
              <a:ahLst/>
              <a:cxnLst/>
              <a:rect l="l" t="t" r="r" b="b"/>
              <a:pathLst>
                <a:path w="103" h="116" extrusionOk="0">
                  <a:moveTo>
                    <a:pt x="103" y="56"/>
                  </a:moveTo>
                  <a:lnTo>
                    <a:pt x="87" y="81"/>
                  </a:lnTo>
                  <a:lnTo>
                    <a:pt x="72" y="105"/>
                  </a:lnTo>
                  <a:lnTo>
                    <a:pt x="60" y="116"/>
                  </a:lnTo>
                  <a:lnTo>
                    <a:pt x="27" y="99"/>
                  </a:lnTo>
                  <a:lnTo>
                    <a:pt x="33" y="93"/>
                  </a:lnTo>
                  <a:lnTo>
                    <a:pt x="25" y="87"/>
                  </a:lnTo>
                  <a:lnTo>
                    <a:pt x="4" y="62"/>
                  </a:lnTo>
                  <a:lnTo>
                    <a:pt x="14" y="54"/>
                  </a:lnTo>
                  <a:lnTo>
                    <a:pt x="2" y="50"/>
                  </a:lnTo>
                  <a:lnTo>
                    <a:pt x="12" y="43"/>
                  </a:lnTo>
                  <a:lnTo>
                    <a:pt x="0" y="37"/>
                  </a:lnTo>
                  <a:lnTo>
                    <a:pt x="25" y="12"/>
                  </a:lnTo>
                  <a:lnTo>
                    <a:pt x="70" y="0"/>
                  </a:lnTo>
                  <a:lnTo>
                    <a:pt x="91" y="35"/>
                  </a:lnTo>
                  <a:lnTo>
                    <a:pt x="89" y="60"/>
                  </a:lnTo>
                  <a:lnTo>
                    <a:pt x="103" y="56"/>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62" name="Google Shape;1962;g7826bb8c5e_0_4294"/>
            <p:cNvSpPr/>
            <p:nvPr/>
          </p:nvSpPr>
          <p:spPr>
            <a:xfrm>
              <a:off x="4081192" y="3290991"/>
              <a:ext cx="353418" cy="409590"/>
            </a:xfrm>
            <a:custGeom>
              <a:avLst/>
              <a:gdLst/>
              <a:ahLst/>
              <a:cxnLst/>
              <a:rect l="l" t="t" r="r" b="b"/>
              <a:pathLst>
                <a:path w="675" h="677" extrusionOk="0">
                  <a:moveTo>
                    <a:pt x="8" y="309"/>
                  </a:moveTo>
                  <a:lnTo>
                    <a:pt x="0" y="353"/>
                  </a:lnTo>
                  <a:lnTo>
                    <a:pt x="0" y="367"/>
                  </a:lnTo>
                  <a:lnTo>
                    <a:pt x="31" y="390"/>
                  </a:lnTo>
                  <a:lnTo>
                    <a:pt x="62" y="411"/>
                  </a:lnTo>
                  <a:lnTo>
                    <a:pt x="93" y="433"/>
                  </a:lnTo>
                  <a:lnTo>
                    <a:pt x="124" y="454"/>
                  </a:lnTo>
                  <a:lnTo>
                    <a:pt x="149" y="473"/>
                  </a:lnTo>
                  <a:lnTo>
                    <a:pt x="172" y="491"/>
                  </a:lnTo>
                  <a:lnTo>
                    <a:pt x="198" y="510"/>
                  </a:lnTo>
                  <a:lnTo>
                    <a:pt x="221" y="530"/>
                  </a:lnTo>
                  <a:lnTo>
                    <a:pt x="246" y="547"/>
                  </a:lnTo>
                  <a:lnTo>
                    <a:pt x="269" y="566"/>
                  </a:lnTo>
                  <a:lnTo>
                    <a:pt x="295" y="584"/>
                  </a:lnTo>
                  <a:lnTo>
                    <a:pt x="320" y="603"/>
                  </a:lnTo>
                  <a:lnTo>
                    <a:pt x="320" y="615"/>
                  </a:lnTo>
                  <a:lnTo>
                    <a:pt x="335" y="629"/>
                  </a:lnTo>
                  <a:lnTo>
                    <a:pt x="384" y="648"/>
                  </a:lnTo>
                  <a:lnTo>
                    <a:pt x="384" y="677"/>
                  </a:lnTo>
                  <a:lnTo>
                    <a:pt x="421" y="677"/>
                  </a:lnTo>
                  <a:lnTo>
                    <a:pt x="448" y="671"/>
                  </a:lnTo>
                  <a:lnTo>
                    <a:pt x="473" y="665"/>
                  </a:lnTo>
                  <a:lnTo>
                    <a:pt x="500" y="638"/>
                  </a:lnTo>
                  <a:lnTo>
                    <a:pt x="527" y="613"/>
                  </a:lnTo>
                  <a:lnTo>
                    <a:pt x="564" y="588"/>
                  </a:lnTo>
                  <a:lnTo>
                    <a:pt x="601" y="563"/>
                  </a:lnTo>
                  <a:lnTo>
                    <a:pt x="638" y="535"/>
                  </a:lnTo>
                  <a:lnTo>
                    <a:pt x="675" y="510"/>
                  </a:lnTo>
                  <a:lnTo>
                    <a:pt x="659" y="481"/>
                  </a:lnTo>
                  <a:lnTo>
                    <a:pt x="622" y="473"/>
                  </a:lnTo>
                  <a:lnTo>
                    <a:pt x="609" y="442"/>
                  </a:lnTo>
                  <a:lnTo>
                    <a:pt x="587" y="411"/>
                  </a:lnTo>
                  <a:lnTo>
                    <a:pt x="603" y="398"/>
                  </a:lnTo>
                  <a:lnTo>
                    <a:pt x="601" y="353"/>
                  </a:lnTo>
                  <a:lnTo>
                    <a:pt x="601" y="311"/>
                  </a:lnTo>
                  <a:lnTo>
                    <a:pt x="585" y="266"/>
                  </a:lnTo>
                  <a:lnTo>
                    <a:pt x="589" y="256"/>
                  </a:lnTo>
                  <a:lnTo>
                    <a:pt x="580" y="219"/>
                  </a:lnTo>
                  <a:lnTo>
                    <a:pt x="572" y="185"/>
                  </a:lnTo>
                  <a:lnTo>
                    <a:pt x="547" y="157"/>
                  </a:lnTo>
                  <a:lnTo>
                    <a:pt x="519" y="121"/>
                  </a:lnTo>
                  <a:lnTo>
                    <a:pt x="535" y="91"/>
                  </a:lnTo>
                  <a:lnTo>
                    <a:pt x="549" y="64"/>
                  </a:lnTo>
                  <a:lnTo>
                    <a:pt x="545" y="12"/>
                  </a:lnTo>
                  <a:lnTo>
                    <a:pt x="552" y="2"/>
                  </a:lnTo>
                  <a:lnTo>
                    <a:pt x="504" y="0"/>
                  </a:lnTo>
                  <a:lnTo>
                    <a:pt x="477" y="0"/>
                  </a:lnTo>
                  <a:lnTo>
                    <a:pt x="442" y="6"/>
                  </a:lnTo>
                  <a:lnTo>
                    <a:pt x="405" y="8"/>
                  </a:lnTo>
                  <a:lnTo>
                    <a:pt x="370" y="8"/>
                  </a:lnTo>
                  <a:lnTo>
                    <a:pt x="329" y="20"/>
                  </a:lnTo>
                  <a:lnTo>
                    <a:pt x="289" y="31"/>
                  </a:lnTo>
                  <a:lnTo>
                    <a:pt x="271" y="41"/>
                  </a:lnTo>
                  <a:lnTo>
                    <a:pt x="240" y="57"/>
                  </a:lnTo>
                  <a:lnTo>
                    <a:pt x="211" y="70"/>
                  </a:lnTo>
                  <a:lnTo>
                    <a:pt x="219" y="80"/>
                  </a:lnTo>
                  <a:lnTo>
                    <a:pt x="223" y="107"/>
                  </a:lnTo>
                  <a:lnTo>
                    <a:pt x="229" y="136"/>
                  </a:lnTo>
                  <a:lnTo>
                    <a:pt x="248" y="169"/>
                  </a:lnTo>
                  <a:lnTo>
                    <a:pt x="240" y="181"/>
                  </a:lnTo>
                  <a:lnTo>
                    <a:pt x="205" y="183"/>
                  </a:lnTo>
                  <a:lnTo>
                    <a:pt x="163" y="198"/>
                  </a:lnTo>
                  <a:lnTo>
                    <a:pt x="163" y="221"/>
                  </a:lnTo>
                  <a:lnTo>
                    <a:pt x="139" y="239"/>
                  </a:lnTo>
                  <a:lnTo>
                    <a:pt x="116" y="254"/>
                  </a:lnTo>
                  <a:lnTo>
                    <a:pt x="89" y="266"/>
                  </a:lnTo>
                  <a:lnTo>
                    <a:pt x="60" y="280"/>
                  </a:lnTo>
                  <a:lnTo>
                    <a:pt x="33" y="293"/>
                  </a:lnTo>
                  <a:lnTo>
                    <a:pt x="8" y="309"/>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63" name="Google Shape;1963;g7826bb8c5e_0_4294"/>
            <p:cNvSpPr/>
            <p:nvPr/>
          </p:nvSpPr>
          <p:spPr>
            <a:xfrm>
              <a:off x="3987117" y="3473942"/>
              <a:ext cx="10171" cy="13653"/>
            </a:xfrm>
            <a:custGeom>
              <a:avLst/>
              <a:gdLst/>
              <a:ahLst/>
              <a:cxnLst/>
              <a:rect l="l" t="t" r="r" b="b"/>
              <a:pathLst>
                <a:path w="17" h="21" extrusionOk="0">
                  <a:moveTo>
                    <a:pt x="17" y="0"/>
                  </a:moveTo>
                  <a:lnTo>
                    <a:pt x="15" y="15"/>
                  </a:lnTo>
                  <a:lnTo>
                    <a:pt x="0" y="21"/>
                  </a:lnTo>
                  <a:lnTo>
                    <a:pt x="17" y="0"/>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64" name="Google Shape;1964;g7826bb8c5e_0_4294"/>
            <p:cNvSpPr/>
            <p:nvPr/>
          </p:nvSpPr>
          <p:spPr>
            <a:xfrm>
              <a:off x="3997287" y="3465749"/>
              <a:ext cx="8900" cy="4096"/>
            </a:xfrm>
            <a:custGeom>
              <a:avLst/>
              <a:gdLst/>
              <a:ahLst/>
              <a:cxnLst/>
              <a:rect l="l" t="t" r="r" b="b"/>
              <a:pathLst>
                <a:path w="12" h="4" extrusionOk="0">
                  <a:moveTo>
                    <a:pt x="8" y="4"/>
                  </a:moveTo>
                  <a:lnTo>
                    <a:pt x="12" y="0"/>
                  </a:lnTo>
                  <a:lnTo>
                    <a:pt x="0" y="4"/>
                  </a:lnTo>
                  <a:lnTo>
                    <a:pt x="8" y="4"/>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65" name="Google Shape;1965;g7826bb8c5e_0_4294"/>
            <p:cNvSpPr/>
            <p:nvPr/>
          </p:nvSpPr>
          <p:spPr>
            <a:xfrm>
              <a:off x="3810409" y="3756559"/>
              <a:ext cx="2542" cy="2730"/>
            </a:xfrm>
            <a:custGeom>
              <a:avLst/>
              <a:gdLst/>
              <a:ahLst/>
              <a:cxnLst/>
              <a:rect l="l" t="t" r="r" b="b"/>
              <a:pathLst>
                <a:path w="7" h="4" extrusionOk="0">
                  <a:moveTo>
                    <a:pt x="7" y="4"/>
                  </a:moveTo>
                  <a:lnTo>
                    <a:pt x="1" y="2"/>
                  </a:lnTo>
                  <a:lnTo>
                    <a:pt x="0" y="0"/>
                  </a:lnTo>
                  <a:lnTo>
                    <a:pt x="7" y="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66" name="Google Shape;1966;g7826bb8c5e_0_4294"/>
            <p:cNvSpPr/>
            <p:nvPr/>
          </p:nvSpPr>
          <p:spPr>
            <a:xfrm>
              <a:off x="4140944" y="3307374"/>
              <a:ext cx="0" cy="1366"/>
            </a:xfrm>
            <a:custGeom>
              <a:avLst/>
              <a:gdLst/>
              <a:ahLst/>
              <a:cxnLst/>
              <a:rect l="l" t="t" r="r" b="b"/>
              <a:pathLst>
                <a:path w="2" h="2" extrusionOk="0">
                  <a:moveTo>
                    <a:pt x="0" y="2"/>
                  </a:moveTo>
                  <a:lnTo>
                    <a:pt x="0" y="0"/>
                  </a:lnTo>
                  <a:lnTo>
                    <a:pt x="0" y="0"/>
                  </a:lnTo>
                  <a:lnTo>
                    <a:pt x="0" y="0"/>
                  </a:lnTo>
                  <a:lnTo>
                    <a:pt x="0" y="2"/>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67" name="Google Shape;1967;g7826bb8c5e_0_4294"/>
            <p:cNvSpPr/>
            <p:nvPr/>
          </p:nvSpPr>
          <p:spPr>
            <a:xfrm>
              <a:off x="4015085" y="3565418"/>
              <a:ext cx="287310" cy="341327"/>
            </a:xfrm>
            <a:custGeom>
              <a:avLst/>
              <a:gdLst/>
              <a:ahLst/>
              <a:cxnLst/>
              <a:rect l="l" t="t" r="r" b="b"/>
              <a:pathLst>
                <a:path w="547" h="564" extrusionOk="0">
                  <a:moveTo>
                    <a:pt x="124" y="518"/>
                  </a:moveTo>
                  <a:lnTo>
                    <a:pt x="120" y="529"/>
                  </a:lnTo>
                  <a:lnTo>
                    <a:pt x="124" y="531"/>
                  </a:lnTo>
                  <a:lnTo>
                    <a:pt x="141" y="564"/>
                  </a:lnTo>
                  <a:lnTo>
                    <a:pt x="149" y="558"/>
                  </a:lnTo>
                  <a:lnTo>
                    <a:pt x="169" y="562"/>
                  </a:lnTo>
                  <a:lnTo>
                    <a:pt x="184" y="555"/>
                  </a:lnTo>
                  <a:lnTo>
                    <a:pt x="196" y="545"/>
                  </a:lnTo>
                  <a:lnTo>
                    <a:pt x="200" y="558"/>
                  </a:lnTo>
                  <a:lnTo>
                    <a:pt x="223" y="555"/>
                  </a:lnTo>
                  <a:lnTo>
                    <a:pt x="231" y="504"/>
                  </a:lnTo>
                  <a:lnTo>
                    <a:pt x="240" y="496"/>
                  </a:lnTo>
                  <a:lnTo>
                    <a:pt x="260" y="479"/>
                  </a:lnTo>
                  <a:lnTo>
                    <a:pt x="265" y="463"/>
                  </a:lnTo>
                  <a:lnTo>
                    <a:pt x="271" y="442"/>
                  </a:lnTo>
                  <a:lnTo>
                    <a:pt x="293" y="450"/>
                  </a:lnTo>
                  <a:lnTo>
                    <a:pt x="298" y="436"/>
                  </a:lnTo>
                  <a:lnTo>
                    <a:pt x="304" y="432"/>
                  </a:lnTo>
                  <a:lnTo>
                    <a:pt x="318" y="415"/>
                  </a:lnTo>
                  <a:lnTo>
                    <a:pt x="337" y="413"/>
                  </a:lnTo>
                  <a:lnTo>
                    <a:pt x="341" y="399"/>
                  </a:lnTo>
                  <a:lnTo>
                    <a:pt x="384" y="378"/>
                  </a:lnTo>
                  <a:lnTo>
                    <a:pt x="415" y="382"/>
                  </a:lnTo>
                  <a:lnTo>
                    <a:pt x="421" y="382"/>
                  </a:lnTo>
                  <a:lnTo>
                    <a:pt x="452" y="370"/>
                  </a:lnTo>
                  <a:lnTo>
                    <a:pt x="486" y="368"/>
                  </a:lnTo>
                  <a:lnTo>
                    <a:pt x="523" y="368"/>
                  </a:lnTo>
                  <a:lnTo>
                    <a:pt x="541" y="333"/>
                  </a:lnTo>
                  <a:lnTo>
                    <a:pt x="543" y="306"/>
                  </a:lnTo>
                  <a:lnTo>
                    <a:pt x="545" y="279"/>
                  </a:lnTo>
                  <a:lnTo>
                    <a:pt x="547" y="250"/>
                  </a:lnTo>
                  <a:lnTo>
                    <a:pt x="547" y="223"/>
                  </a:lnTo>
                  <a:lnTo>
                    <a:pt x="510" y="223"/>
                  </a:lnTo>
                  <a:lnTo>
                    <a:pt x="510" y="194"/>
                  </a:lnTo>
                  <a:lnTo>
                    <a:pt x="461" y="175"/>
                  </a:lnTo>
                  <a:lnTo>
                    <a:pt x="446" y="161"/>
                  </a:lnTo>
                  <a:lnTo>
                    <a:pt x="446" y="149"/>
                  </a:lnTo>
                  <a:lnTo>
                    <a:pt x="421" y="130"/>
                  </a:lnTo>
                  <a:lnTo>
                    <a:pt x="395" y="112"/>
                  </a:lnTo>
                  <a:lnTo>
                    <a:pt x="372" y="93"/>
                  </a:lnTo>
                  <a:lnTo>
                    <a:pt x="347" y="76"/>
                  </a:lnTo>
                  <a:lnTo>
                    <a:pt x="324" y="56"/>
                  </a:lnTo>
                  <a:lnTo>
                    <a:pt x="298" y="37"/>
                  </a:lnTo>
                  <a:lnTo>
                    <a:pt x="275" y="19"/>
                  </a:lnTo>
                  <a:lnTo>
                    <a:pt x="250" y="0"/>
                  </a:lnTo>
                  <a:lnTo>
                    <a:pt x="221" y="0"/>
                  </a:lnTo>
                  <a:lnTo>
                    <a:pt x="192" y="0"/>
                  </a:lnTo>
                  <a:lnTo>
                    <a:pt x="196" y="41"/>
                  </a:lnTo>
                  <a:lnTo>
                    <a:pt x="200" y="81"/>
                  </a:lnTo>
                  <a:lnTo>
                    <a:pt x="202" y="122"/>
                  </a:lnTo>
                  <a:lnTo>
                    <a:pt x="205" y="163"/>
                  </a:lnTo>
                  <a:lnTo>
                    <a:pt x="209" y="204"/>
                  </a:lnTo>
                  <a:lnTo>
                    <a:pt x="213" y="242"/>
                  </a:lnTo>
                  <a:lnTo>
                    <a:pt x="217" y="283"/>
                  </a:lnTo>
                  <a:lnTo>
                    <a:pt x="221" y="324"/>
                  </a:lnTo>
                  <a:lnTo>
                    <a:pt x="231" y="330"/>
                  </a:lnTo>
                  <a:lnTo>
                    <a:pt x="225" y="363"/>
                  </a:lnTo>
                  <a:lnTo>
                    <a:pt x="192" y="363"/>
                  </a:lnTo>
                  <a:lnTo>
                    <a:pt x="161" y="363"/>
                  </a:lnTo>
                  <a:lnTo>
                    <a:pt x="128" y="363"/>
                  </a:lnTo>
                  <a:lnTo>
                    <a:pt x="97" y="363"/>
                  </a:lnTo>
                  <a:lnTo>
                    <a:pt x="93" y="359"/>
                  </a:lnTo>
                  <a:lnTo>
                    <a:pt x="46" y="370"/>
                  </a:lnTo>
                  <a:lnTo>
                    <a:pt x="41" y="372"/>
                  </a:lnTo>
                  <a:lnTo>
                    <a:pt x="21" y="361"/>
                  </a:lnTo>
                  <a:lnTo>
                    <a:pt x="6" y="392"/>
                  </a:lnTo>
                  <a:lnTo>
                    <a:pt x="0" y="390"/>
                  </a:lnTo>
                  <a:lnTo>
                    <a:pt x="8" y="429"/>
                  </a:lnTo>
                  <a:lnTo>
                    <a:pt x="17" y="442"/>
                  </a:lnTo>
                  <a:lnTo>
                    <a:pt x="27" y="481"/>
                  </a:lnTo>
                  <a:lnTo>
                    <a:pt x="23" y="489"/>
                  </a:lnTo>
                  <a:lnTo>
                    <a:pt x="45" y="491"/>
                  </a:lnTo>
                  <a:lnTo>
                    <a:pt x="54" y="494"/>
                  </a:lnTo>
                  <a:lnTo>
                    <a:pt x="74" y="491"/>
                  </a:lnTo>
                  <a:lnTo>
                    <a:pt x="97" y="483"/>
                  </a:lnTo>
                  <a:lnTo>
                    <a:pt x="101" y="477"/>
                  </a:lnTo>
                  <a:lnTo>
                    <a:pt x="112" y="508"/>
                  </a:lnTo>
                  <a:lnTo>
                    <a:pt x="124" y="518"/>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68" name="Google Shape;1968;g7826bb8c5e_0_4294"/>
            <p:cNvSpPr/>
            <p:nvPr/>
          </p:nvSpPr>
          <p:spPr>
            <a:xfrm>
              <a:off x="4465122" y="3310105"/>
              <a:ext cx="2542" cy="5462"/>
            </a:xfrm>
            <a:custGeom>
              <a:avLst/>
              <a:gdLst/>
              <a:ahLst/>
              <a:cxnLst/>
              <a:rect l="l" t="t" r="r" b="b"/>
              <a:pathLst>
                <a:path w="7" h="6" extrusionOk="0">
                  <a:moveTo>
                    <a:pt x="7" y="4"/>
                  </a:moveTo>
                  <a:lnTo>
                    <a:pt x="4" y="6"/>
                  </a:lnTo>
                  <a:lnTo>
                    <a:pt x="0" y="0"/>
                  </a:lnTo>
                  <a:lnTo>
                    <a:pt x="7" y="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69" name="Google Shape;1969;g7826bb8c5e_0_4294"/>
            <p:cNvSpPr/>
            <p:nvPr/>
          </p:nvSpPr>
          <p:spPr>
            <a:xfrm>
              <a:off x="3936266" y="3512170"/>
              <a:ext cx="211034" cy="290810"/>
            </a:xfrm>
            <a:custGeom>
              <a:avLst/>
              <a:gdLst/>
              <a:ahLst/>
              <a:cxnLst/>
              <a:rect l="l" t="t" r="r" b="b"/>
              <a:pathLst>
                <a:path w="405" h="479" extrusionOk="0">
                  <a:moveTo>
                    <a:pt x="21" y="413"/>
                  </a:moveTo>
                  <a:lnTo>
                    <a:pt x="13" y="428"/>
                  </a:lnTo>
                  <a:lnTo>
                    <a:pt x="21" y="384"/>
                  </a:lnTo>
                  <a:lnTo>
                    <a:pt x="31" y="337"/>
                  </a:lnTo>
                  <a:lnTo>
                    <a:pt x="21" y="300"/>
                  </a:lnTo>
                  <a:lnTo>
                    <a:pt x="23" y="262"/>
                  </a:lnTo>
                  <a:lnTo>
                    <a:pt x="2" y="238"/>
                  </a:lnTo>
                  <a:lnTo>
                    <a:pt x="0" y="248"/>
                  </a:lnTo>
                  <a:lnTo>
                    <a:pt x="4" y="227"/>
                  </a:lnTo>
                  <a:lnTo>
                    <a:pt x="37" y="227"/>
                  </a:lnTo>
                  <a:lnTo>
                    <a:pt x="70" y="227"/>
                  </a:lnTo>
                  <a:lnTo>
                    <a:pt x="101" y="227"/>
                  </a:lnTo>
                  <a:lnTo>
                    <a:pt x="134" y="227"/>
                  </a:lnTo>
                  <a:lnTo>
                    <a:pt x="134" y="196"/>
                  </a:lnTo>
                  <a:lnTo>
                    <a:pt x="136" y="163"/>
                  </a:lnTo>
                  <a:lnTo>
                    <a:pt x="168" y="147"/>
                  </a:lnTo>
                  <a:lnTo>
                    <a:pt x="168" y="99"/>
                  </a:lnTo>
                  <a:lnTo>
                    <a:pt x="170" y="50"/>
                  </a:lnTo>
                  <a:lnTo>
                    <a:pt x="198" y="50"/>
                  </a:lnTo>
                  <a:lnTo>
                    <a:pt x="225" y="50"/>
                  </a:lnTo>
                  <a:lnTo>
                    <a:pt x="252" y="50"/>
                  </a:lnTo>
                  <a:lnTo>
                    <a:pt x="279" y="50"/>
                  </a:lnTo>
                  <a:lnTo>
                    <a:pt x="281" y="0"/>
                  </a:lnTo>
                  <a:lnTo>
                    <a:pt x="312" y="23"/>
                  </a:lnTo>
                  <a:lnTo>
                    <a:pt x="343" y="44"/>
                  </a:lnTo>
                  <a:lnTo>
                    <a:pt x="374" y="66"/>
                  </a:lnTo>
                  <a:lnTo>
                    <a:pt x="405" y="87"/>
                  </a:lnTo>
                  <a:lnTo>
                    <a:pt x="376" y="87"/>
                  </a:lnTo>
                  <a:lnTo>
                    <a:pt x="347" y="87"/>
                  </a:lnTo>
                  <a:lnTo>
                    <a:pt x="351" y="128"/>
                  </a:lnTo>
                  <a:lnTo>
                    <a:pt x="355" y="168"/>
                  </a:lnTo>
                  <a:lnTo>
                    <a:pt x="357" y="209"/>
                  </a:lnTo>
                  <a:lnTo>
                    <a:pt x="360" y="250"/>
                  </a:lnTo>
                  <a:lnTo>
                    <a:pt x="364" y="291"/>
                  </a:lnTo>
                  <a:lnTo>
                    <a:pt x="368" y="329"/>
                  </a:lnTo>
                  <a:lnTo>
                    <a:pt x="372" y="370"/>
                  </a:lnTo>
                  <a:lnTo>
                    <a:pt x="376" y="411"/>
                  </a:lnTo>
                  <a:lnTo>
                    <a:pt x="386" y="417"/>
                  </a:lnTo>
                  <a:lnTo>
                    <a:pt x="380" y="450"/>
                  </a:lnTo>
                  <a:lnTo>
                    <a:pt x="347" y="450"/>
                  </a:lnTo>
                  <a:lnTo>
                    <a:pt x="316" y="450"/>
                  </a:lnTo>
                  <a:lnTo>
                    <a:pt x="283" y="450"/>
                  </a:lnTo>
                  <a:lnTo>
                    <a:pt x="252" y="450"/>
                  </a:lnTo>
                  <a:lnTo>
                    <a:pt x="248" y="446"/>
                  </a:lnTo>
                  <a:lnTo>
                    <a:pt x="201" y="457"/>
                  </a:lnTo>
                  <a:lnTo>
                    <a:pt x="196" y="459"/>
                  </a:lnTo>
                  <a:lnTo>
                    <a:pt x="176" y="448"/>
                  </a:lnTo>
                  <a:lnTo>
                    <a:pt x="161" y="479"/>
                  </a:lnTo>
                  <a:lnTo>
                    <a:pt x="155" y="477"/>
                  </a:lnTo>
                  <a:lnTo>
                    <a:pt x="130" y="452"/>
                  </a:lnTo>
                  <a:lnTo>
                    <a:pt x="105" y="424"/>
                  </a:lnTo>
                  <a:lnTo>
                    <a:pt x="74" y="407"/>
                  </a:lnTo>
                  <a:lnTo>
                    <a:pt x="46" y="409"/>
                  </a:lnTo>
                  <a:lnTo>
                    <a:pt x="21" y="413"/>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70" name="Google Shape;1970;g7826bb8c5e_0_4294"/>
            <p:cNvSpPr/>
            <p:nvPr/>
          </p:nvSpPr>
          <p:spPr>
            <a:xfrm>
              <a:off x="4006187" y="3311471"/>
              <a:ext cx="205949" cy="191143"/>
            </a:xfrm>
            <a:custGeom>
              <a:avLst/>
              <a:gdLst/>
              <a:ahLst/>
              <a:cxnLst/>
              <a:rect l="l" t="t" r="r" b="b"/>
              <a:pathLst>
                <a:path w="395" h="314" extrusionOk="0">
                  <a:moveTo>
                    <a:pt x="205" y="78"/>
                  </a:moveTo>
                  <a:lnTo>
                    <a:pt x="174" y="97"/>
                  </a:lnTo>
                  <a:lnTo>
                    <a:pt x="145" y="116"/>
                  </a:lnTo>
                  <a:lnTo>
                    <a:pt x="129" y="146"/>
                  </a:lnTo>
                  <a:lnTo>
                    <a:pt x="114" y="175"/>
                  </a:lnTo>
                  <a:lnTo>
                    <a:pt x="118" y="209"/>
                  </a:lnTo>
                  <a:lnTo>
                    <a:pt x="102" y="237"/>
                  </a:lnTo>
                  <a:lnTo>
                    <a:pt x="87" y="264"/>
                  </a:lnTo>
                  <a:lnTo>
                    <a:pt x="62" y="281"/>
                  </a:lnTo>
                  <a:lnTo>
                    <a:pt x="36" y="299"/>
                  </a:lnTo>
                  <a:lnTo>
                    <a:pt x="0" y="314"/>
                  </a:lnTo>
                  <a:lnTo>
                    <a:pt x="36" y="314"/>
                  </a:lnTo>
                  <a:lnTo>
                    <a:pt x="73" y="314"/>
                  </a:lnTo>
                  <a:lnTo>
                    <a:pt x="110" y="314"/>
                  </a:lnTo>
                  <a:lnTo>
                    <a:pt x="147" y="314"/>
                  </a:lnTo>
                  <a:lnTo>
                    <a:pt x="155" y="270"/>
                  </a:lnTo>
                  <a:lnTo>
                    <a:pt x="180" y="254"/>
                  </a:lnTo>
                  <a:lnTo>
                    <a:pt x="207" y="241"/>
                  </a:lnTo>
                  <a:lnTo>
                    <a:pt x="236" y="227"/>
                  </a:lnTo>
                  <a:lnTo>
                    <a:pt x="263" y="215"/>
                  </a:lnTo>
                  <a:lnTo>
                    <a:pt x="286" y="200"/>
                  </a:lnTo>
                  <a:lnTo>
                    <a:pt x="310" y="182"/>
                  </a:lnTo>
                  <a:lnTo>
                    <a:pt x="310" y="159"/>
                  </a:lnTo>
                  <a:lnTo>
                    <a:pt x="352" y="144"/>
                  </a:lnTo>
                  <a:lnTo>
                    <a:pt x="387" y="142"/>
                  </a:lnTo>
                  <a:lnTo>
                    <a:pt x="395" y="130"/>
                  </a:lnTo>
                  <a:lnTo>
                    <a:pt x="376" y="97"/>
                  </a:lnTo>
                  <a:lnTo>
                    <a:pt x="370" y="68"/>
                  </a:lnTo>
                  <a:lnTo>
                    <a:pt x="366" y="41"/>
                  </a:lnTo>
                  <a:lnTo>
                    <a:pt x="358" y="31"/>
                  </a:lnTo>
                  <a:lnTo>
                    <a:pt x="337" y="25"/>
                  </a:lnTo>
                  <a:lnTo>
                    <a:pt x="327" y="25"/>
                  </a:lnTo>
                  <a:lnTo>
                    <a:pt x="273" y="23"/>
                  </a:lnTo>
                  <a:lnTo>
                    <a:pt x="255" y="0"/>
                  </a:lnTo>
                  <a:lnTo>
                    <a:pt x="238" y="18"/>
                  </a:lnTo>
                  <a:lnTo>
                    <a:pt x="221" y="47"/>
                  </a:lnTo>
                  <a:lnTo>
                    <a:pt x="205" y="78"/>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71" name="Google Shape;1971;g7826bb8c5e_0_4294"/>
            <p:cNvSpPr/>
            <p:nvPr/>
          </p:nvSpPr>
          <p:spPr>
            <a:xfrm>
              <a:off x="3924824" y="3757925"/>
              <a:ext cx="106788" cy="99667"/>
            </a:xfrm>
            <a:custGeom>
              <a:avLst/>
              <a:gdLst/>
              <a:ahLst/>
              <a:cxnLst/>
              <a:rect l="l" t="t" r="r" b="b"/>
              <a:pathLst>
                <a:path w="200" h="163" extrusionOk="0">
                  <a:moveTo>
                    <a:pt x="39" y="6"/>
                  </a:moveTo>
                  <a:lnTo>
                    <a:pt x="31" y="21"/>
                  </a:lnTo>
                  <a:lnTo>
                    <a:pt x="16" y="48"/>
                  </a:lnTo>
                  <a:lnTo>
                    <a:pt x="0" y="74"/>
                  </a:lnTo>
                  <a:lnTo>
                    <a:pt x="22" y="101"/>
                  </a:lnTo>
                  <a:lnTo>
                    <a:pt x="29" y="93"/>
                  </a:lnTo>
                  <a:lnTo>
                    <a:pt x="24" y="101"/>
                  </a:lnTo>
                  <a:lnTo>
                    <a:pt x="28" y="105"/>
                  </a:lnTo>
                  <a:lnTo>
                    <a:pt x="28" y="114"/>
                  </a:lnTo>
                  <a:lnTo>
                    <a:pt x="64" y="114"/>
                  </a:lnTo>
                  <a:lnTo>
                    <a:pt x="68" y="107"/>
                  </a:lnTo>
                  <a:lnTo>
                    <a:pt x="109" y="116"/>
                  </a:lnTo>
                  <a:lnTo>
                    <a:pt x="119" y="126"/>
                  </a:lnTo>
                  <a:lnTo>
                    <a:pt x="74" y="116"/>
                  </a:lnTo>
                  <a:lnTo>
                    <a:pt x="47" y="126"/>
                  </a:lnTo>
                  <a:lnTo>
                    <a:pt x="22" y="136"/>
                  </a:lnTo>
                  <a:lnTo>
                    <a:pt x="24" y="151"/>
                  </a:lnTo>
                  <a:lnTo>
                    <a:pt x="49" y="147"/>
                  </a:lnTo>
                  <a:lnTo>
                    <a:pt x="62" y="145"/>
                  </a:lnTo>
                  <a:lnTo>
                    <a:pt x="62" y="147"/>
                  </a:lnTo>
                  <a:lnTo>
                    <a:pt x="29" y="153"/>
                  </a:lnTo>
                  <a:lnTo>
                    <a:pt x="22" y="163"/>
                  </a:lnTo>
                  <a:lnTo>
                    <a:pt x="66" y="155"/>
                  </a:lnTo>
                  <a:lnTo>
                    <a:pt x="93" y="151"/>
                  </a:lnTo>
                  <a:lnTo>
                    <a:pt x="123" y="149"/>
                  </a:lnTo>
                  <a:lnTo>
                    <a:pt x="152" y="157"/>
                  </a:lnTo>
                  <a:lnTo>
                    <a:pt x="200" y="161"/>
                  </a:lnTo>
                  <a:lnTo>
                    <a:pt x="190" y="122"/>
                  </a:lnTo>
                  <a:lnTo>
                    <a:pt x="181" y="109"/>
                  </a:lnTo>
                  <a:lnTo>
                    <a:pt x="173" y="70"/>
                  </a:lnTo>
                  <a:lnTo>
                    <a:pt x="148" y="45"/>
                  </a:lnTo>
                  <a:lnTo>
                    <a:pt x="123" y="17"/>
                  </a:lnTo>
                  <a:lnTo>
                    <a:pt x="92" y="0"/>
                  </a:lnTo>
                  <a:lnTo>
                    <a:pt x="64" y="2"/>
                  </a:lnTo>
                  <a:lnTo>
                    <a:pt x="39" y="6"/>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72" name="Google Shape;1972;g7826bb8c5e_0_4294"/>
            <p:cNvSpPr/>
            <p:nvPr/>
          </p:nvSpPr>
          <p:spPr>
            <a:xfrm>
              <a:off x="2834060" y="3923126"/>
              <a:ext cx="43223" cy="53246"/>
            </a:xfrm>
            <a:custGeom>
              <a:avLst/>
              <a:gdLst/>
              <a:ahLst/>
              <a:cxnLst/>
              <a:rect l="l" t="t" r="r" b="b"/>
              <a:pathLst>
                <a:path w="79" h="86" extrusionOk="0">
                  <a:moveTo>
                    <a:pt x="46" y="47"/>
                  </a:moveTo>
                  <a:lnTo>
                    <a:pt x="58" y="49"/>
                  </a:lnTo>
                  <a:lnTo>
                    <a:pt x="54" y="41"/>
                  </a:lnTo>
                  <a:lnTo>
                    <a:pt x="44" y="39"/>
                  </a:lnTo>
                  <a:lnTo>
                    <a:pt x="35" y="29"/>
                  </a:lnTo>
                  <a:lnTo>
                    <a:pt x="11" y="18"/>
                  </a:lnTo>
                  <a:lnTo>
                    <a:pt x="2" y="10"/>
                  </a:lnTo>
                  <a:lnTo>
                    <a:pt x="0" y="0"/>
                  </a:lnTo>
                  <a:lnTo>
                    <a:pt x="33" y="2"/>
                  </a:lnTo>
                  <a:lnTo>
                    <a:pt x="56" y="16"/>
                  </a:lnTo>
                  <a:lnTo>
                    <a:pt x="77" y="31"/>
                  </a:lnTo>
                  <a:lnTo>
                    <a:pt x="79" y="60"/>
                  </a:lnTo>
                  <a:lnTo>
                    <a:pt x="66" y="70"/>
                  </a:lnTo>
                  <a:lnTo>
                    <a:pt x="58" y="86"/>
                  </a:lnTo>
                  <a:lnTo>
                    <a:pt x="50" y="74"/>
                  </a:lnTo>
                  <a:lnTo>
                    <a:pt x="46" y="47"/>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73" name="Google Shape;1973;g7826bb8c5e_0_4294"/>
            <p:cNvSpPr/>
            <p:nvPr/>
          </p:nvSpPr>
          <p:spPr>
            <a:xfrm>
              <a:off x="3272653" y="4011872"/>
              <a:ext cx="50852" cy="80553"/>
            </a:xfrm>
            <a:custGeom>
              <a:avLst/>
              <a:gdLst/>
              <a:ahLst/>
              <a:cxnLst/>
              <a:rect l="l" t="t" r="r" b="b"/>
              <a:pathLst>
                <a:path w="99" h="134" extrusionOk="0">
                  <a:moveTo>
                    <a:pt x="78" y="35"/>
                  </a:moveTo>
                  <a:lnTo>
                    <a:pt x="47" y="6"/>
                  </a:lnTo>
                  <a:lnTo>
                    <a:pt x="23" y="0"/>
                  </a:lnTo>
                  <a:lnTo>
                    <a:pt x="16" y="13"/>
                  </a:lnTo>
                  <a:lnTo>
                    <a:pt x="6" y="44"/>
                  </a:lnTo>
                  <a:lnTo>
                    <a:pt x="18" y="91"/>
                  </a:lnTo>
                  <a:lnTo>
                    <a:pt x="0" y="128"/>
                  </a:lnTo>
                  <a:lnTo>
                    <a:pt x="22" y="132"/>
                  </a:lnTo>
                  <a:lnTo>
                    <a:pt x="54" y="134"/>
                  </a:lnTo>
                  <a:lnTo>
                    <a:pt x="76" y="99"/>
                  </a:lnTo>
                  <a:lnTo>
                    <a:pt x="99" y="64"/>
                  </a:lnTo>
                  <a:lnTo>
                    <a:pt x="91" y="43"/>
                  </a:lnTo>
                  <a:lnTo>
                    <a:pt x="89" y="48"/>
                  </a:lnTo>
                  <a:lnTo>
                    <a:pt x="78" y="35"/>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74" name="Google Shape;1974;g7826bb8c5e_0_4294"/>
            <p:cNvSpPr/>
            <p:nvPr/>
          </p:nvSpPr>
          <p:spPr>
            <a:xfrm>
              <a:off x="2842958" y="3857593"/>
              <a:ext cx="212305" cy="383650"/>
            </a:xfrm>
            <a:custGeom>
              <a:avLst/>
              <a:gdLst/>
              <a:ahLst/>
              <a:cxnLst/>
              <a:rect l="l" t="t" r="r" b="b"/>
              <a:pathLst>
                <a:path w="405" h="630" extrusionOk="0">
                  <a:moveTo>
                    <a:pt x="171" y="42"/>
                  </a:moveTo>
                  <a:lnTo>
                    <a:pt x="159" y="58"/>
                  </a:lnTo>
                  <a:lnTo>
                    <a:pt x="163" y="50"/>
                  </a:lnTo>
                  <a:lnTo>
                    <a:pt x="144" y="52"/>
                  </a:lnTo>
                  <a:lnTo>
                    <a:pt x="120" y="83"/>
                  </a:lnTo>
                  <a:lnTo>
                    <a:pt x="116" y="110"/>
                  </a:lnTo>
                  <a:lnTo>
                    <a:pt x="80" y="145"/>
                  </a:lnTo>
                  <a:lnTo>
                    <a:pt x="76" y="167"/>
                  </a:lnTo>
                  <a:lnTo>
                    <a:pt x="68" y="149"/>
                  </a:lnTo>
                  <a:lnTo>
                    <a:pt x="60" y="139"/>
                  </a:lnTo>
                  <a:lnTo>
                    <a:pt x="62" y="168"/>
                  </a:lnTo>
                  <a:lnTo>
                    <a:pt x="49" y="178"/>
                  </a:lnTo>
                  <a:lnTo>
                    <a:pt x="41" y="194"/>
                  </a:lnTo>
                  <a:lnTo>
                    <a:pt x="51" y="209"/>
                  </a:lnTo>
                  <a:lnTo>
                    <a:pt x="58" y="244"/>
                  </a:lnTo>
                  <a:lnTo>
                    <a:pt x="51" y="260"/>
                  </a:lnTo>
                  <a:lnTo>
                    <a:pt x="53" y="289"/>
                  </a:lnTo>
                  <a:lnTo>
                    <a:pt x="56" y="318"/>
                  </a:lnTo>
                  <a:lnTo>
                    <a:pt x="60" y="322"/>
                  </a:lnTo>
                  <a:lnTo>
                    <a:pt x="39" y="364"/>
                  </a:lnTo>
                  <a:lnTo>
                    <a:pt x="18" y="374"/>
                  </a:lnTo>
                  <a:lnTo>
                    <a:pt x="12" y="395"/>
                  </a:lnTo>
                  <a:lnTo>
                    <a:pt x="0" y="401"/>
                  </a:lnTo>
                  <a:lnTo>
                    <a:pt x="4" y="415"/>
                  </a:lnTo>
                  <a:lnTo>
                    <a:pt x="31" y="434"/>
                  </a:lnTo>
                  <a:lnTo>
                    <a:pt x="53" y="453"/>
                  </a:lnTo>
                  <a:lnTo>
                    <a:pt x="84" y="453"/>
                  </a:lnTo>
                  <a:lnTo>
                    <a:pt x="122" y="473"/>
                  </a:lnTo>
                  <a:lnTo>
                    <a:pt x="124" y="471"/>
                  </a:lnTo>
                  <a:lnTo>
                    <a:pt x="144" y="488"/>
                  </a:lnTo>
                  <a:lnTo>
                    <a:pt x="161" y="508"/>
                  </a:lnTo>
                  <a:lnTo>
                    <a:pt x="188" y="537"/>
                  </a:lnTo>
                  <a:lnTo>
                    <a:pt x="194" y="554"/>
                  </a:lnTo>
                  <a:lnTo>
                    <a:pt x="235" y="556"/>
                  </a:lnTo>
                  <a:lnTo>
                    <a:pt x="262" y="556"/>
                  </a:lnTo>
                  <a:lnTo>
                    <a:pt x="295" y="568"/>
                  </a:lnTo>
                  <a:lnTo>
                    <a:pt x="281" y="614"/>
                  </a:lnTo>
                  <a:lnTo>
                    <a:pt x="303" y="630"/>
                  </a:lnTo>
                  <a:lnTo>
                    <a:pt x="310" y="576"/>
                  </a:lnTo>
                  <a:lnTo>
                    <a:pt x="318" y="523"/>
                  </a:lnTo>
                  <a:lnTo>
                    <a:pt x="305" y="483"/>
                  </a:lnTo>
                  <a:lnTo>
                    <a:pt x="297" y="448"/>
                  </a:lnTo>
                  <a:lnTo>
                    <a:pt x="322" y="446"/>
                  </a:lnTo>
                  <a:lnTo>
                    <a:pt x="328" y="436"/>
                  </a:lnTo>
                  <a:lnTo>
                    <a:pt x="308" y="428"/>
                  </a:lnTo>
                  <a:lnTo>
                    <a:pt x="305" y="403"/>
                  </a:lnTo>
                  <a:lnTo>
                    <a:pt x="334" y="403"/>
                  </a:lnTo>
                  <a:lnTo>
                    <a:pt x="363" y="403"/>
                  </a:lnTo>
                  <a:lnTo>
                    <a:pt x="359" y="397"/>
                  </a:lnTo>
                  <a:lnTo>
                    <a:pt x="367" y="401"/>
                  </a:lnTo>
                  <a:lnTo>
                    <a:pt x="386" y="388"/>
                  </a:lnTo>
                  <a:lnTo>
                    <a:pt x="398" y="421"/>
                  </a:lnTo>
                  <a:lnTo>
                    <a:pt x="405" y="422"/>
                  </a:lnTo>
                  <a:lnTo>
                    <a:pt x="398" y="391"/>
                  </a:lnTo>
                  <a:lnTo>
                    <a:pt x="378" y="362"/>
                  </a:lnTo>
                  <a:lnTo>
                    <a:pt x="390" y="345"/>
                  </a:lnTo>
                  <a:lnTo>
                    <a:pt x="374" y="296"/>
                  </a:lnTo>
                  <a:lnTo>
                    <a:pt x="382" y="265"/>
                  </a:lnTo>
                  <a:lnTo>
                    <a:pt x="390" y="232"/>
                  </a:lnTo>
                  <a:lnTo>
                    <a:pt x="361" y="234"/>
                  </a:lnTo>
                  <a:lnTo>
                    <a:pt x="332" y="236"/>
                  </a:lnTo>
                  <a:lnTo>
                    <a:pt x="301" y="203"/>
                  </a:lnTo>
                  <a:lnTo>
                    <a:pt x="275" y="201"/>
                  </a:lnTo>
                  <a:lnTo>
                    <a:pt x="250" y="201"/>
                  </a:lnTo>
                  <a:lnTo>
                    <a:pt x="225" y="188"/>
                  </a:lnTo>
                  <a:lnTo>
                    <a:pt x="227" y="163"/>
                  </a:lnTo>
                  <a:lnTo>
                    <a:pt x="210" y="120"/>
                  </a:lnTo>
                  <a:lnTo>
                    <a:pt x="196" y="120"/>
                  </a:lnTo>
                  <a:lnTo>
                    <a:pt x="210" y="89"/>
                  </a:lnTo>
                  <a:lnTo>
                    <a:pt x="229" y="56"/>
                  </a:lnTo>
                  <a:lnTo>
                    <a:pt x="248" y="25"/>
                  </a:lnTo>
                  <a:lnTo>
                    <a:pt x="270" y="17"/>
                  </a:lnTo>
                  <a:lnTo>
                    <a:pt x="274" y="0"/>
                  </a:lnTo>
                  <a:lnTo>
                    <a:pt x="252" y="2"/>
                  </a:lnTo>
                  <a:lnTo>
                    <a:pt x="221" y="21"/>
                  </a:lnTo>
                  <a:lnTo>
                    <a:pt x="190" y="41"/>
                  </a:lnTo>
                  <a:lnTo>
                    <a:pt x="171" y="42"/>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75" name="Google Shape;1975;g7826bb8c5e_0_4294"/>
            <p:cNvSpPr/>
            <p:nvPr/>
          </p:nvSpPr>
          <p:spPr>
            <a:xfrm>
              <a:off x="3212903" y="4006410"/>
              <a:ext cx="69921" cy="94206"/>
            </a:xfrm>
            <a:custGeom>
              <a:avLst/>
              <a:gdLst/>
              <a:ahLst/>
              <a:cxnLst/>
              <a:rect l="l" t="t" r="r" b="b"/>
              <a:pathLst>
                <a:path w="132" h="155" extrusionOk="0">
                  <a:moveTo>
                    <a:pt x="17" y="97"/>
                  </a:moveTo>
                  <a:lnTo>
                    <a:pt x="0" y="76"/>
                  </a:lnTo>
                  <a:lnTo>
                    <a:pt x="4" y="43"/>
                  </a:lnTo>
                  <a:lnTo>
                    <a:pt x="19" y="35"/>
                  </a:lnTo>
                  <a:lnTo>
                    <a:pt x="25" y="16"/>
                  </a:lnTo>
                  <a:lnTo>
                    <a:pt x="31" y="2"/>
                  </a:lnTo>
                  <a:lnTo>
                    <a:pt x="70" y="4"/>
                  </a:lnTo>
                  <a:lnTo>
                    <a:pt x="101" y="2"/>
                  </a:lnTo>
                  <a:lnTo>
                    <a:pt x="99" y="0"/>
                  </a:lnTo>
                  <a:lnTo>
                    <a:pt x="132" y="2"/>
                  </a:lnTo>
                  <a:lnTo>
                    <a:pt x="128" y="21"/>
                  </a:lnTo>
                  <a:lnTo>
                    <a:pt x="118" y="52"/>
                  </a:lnTo>
                  <a:lnTo>
                    <a:pt x="130" y="99"/>
                  </a:lnTo>
                  <a:lnTo>
                    <a:pt x="112" y="136"/>
                  </a:lnTo>
                  <a:lnTo>
                    <a:pt x="91" y="130"/>
                  </a:lnTo>
                  <a:lnTo>
                    <a:pt x="62" y="136"/>
                  </a:lnTo>
                  <a:lnTo>
                    <a:pt x="64" y="155"/>
                  </a:lnTo>
                  <a:lnTo>
                    <a:pt x="48" y="151"/>
                  </a:lnTo>
                  <a:lnTo>
                    <a:pt x="33" y="124"/>
                  </a:lnTo>
                  <a:lnTo>
                    <a:pt x="17" y="97"/>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76" name="Google Shape;1976;g7826bb8c5e_0_4294"/>
            <p:cNvSpPr/>
            <p:nvPr/>
          </p:nvSpPr>
          <p:spPr>
            <a:xfrm>
              <a:off x="3107386" y="3886263"/>
              <a:ext cx="7627" cy="2730"/>
            </a:xfrm>
            <a:custGeom>
              <a:avLst/>
              <a:gdLst/>
              <a:ahLst/>
              <a:cxnLst/>
              <a:rect l="l" t="t" r="r" b="b"/>
              <a:pathLst>
                <a:path w="16" h="4" extrusionOk="0">
                  <a:moveTo>
                    <a:pt x="16" y="4"/>
                  </a:moveTo>
                  <a:lnTo>
                    <a:pt x="16" y="2"/>
                  </a:lnTo>
                  <a:lnTo>
                    <a:pt x="0" y="0"/>
                  </a:lnTo>
                  <a:lnTo>
                    <a:pt x="16" y="4"/>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77" name="Google Shape;1977;g7826bb8c5e_0_4294"/>
            <p:cNvSpPr/>
            <p:nvPr/>
          </p:nvSpPr>
          <p:spPr>
            <a:xfrm>
              <a:off x="2823889" y="3693756"/>
              <a:ext cx="6356" cy="4096"/>
            </a:xfrm>
            <a:custGeom>
              <a:avLst/>
              <a:gdLst/>
              <a:ahLst/>
              <a:cxnLst/>
              <a:rect l="l" t="t" r="r" b="b"/>
              <a:pathLst>
                <a:path w="10" h="6" extrusionOk="0">
                  <a:moveTo>
                    <a:pt x="10" y="4"/>
                  </a:moveTo>
                  <a:lnTo>
                    <a:pt x="10" y="2"/>
                  </a:lnTo>
                  <a:lnTo>
                    <a:pt x="8" y="2"/>
                  </a:lnTo>
                  <a:lnTo>
                    <a:pt x="6" y="2"/>
                  </a:lnTo>
                  <a:lnTo>
                    <a:pt x="4" y="2"/>
                  </a:lnTo>
                  <a:lnTo>
                    <a:pt x="4" y="4"/>
                  </a:lnTo>
                  <a:lnTo>
                    <a:pt x="2" y="4"/>
                  </a:lnTo>
                  <a:lnTo>
                    <a:pt x="0" y="4"/>
                  </a:lnTo>
                  <a:lnTo>
                    <a:pt x="0" y="2"/>
                  </a:lnTo>
                  <a:lnTo>
                    <a:pt x="0" y="0"/>
                  </a:lnTo>
                  <a:lnTo>
                    <a:pt x="2" y="0"/>
                  </a:lnTo>
                  <a:lnTo>
                    <a:pt x="0" y="0"/>
                  </a:lnTo>
                  <a:lnTo>
                    <a:pt x="0" y="2"/>
                  </a:lnTo>
                  <a:lnTo>
                    <a:pt x="0" y="4"/>
                  </a:lnTo>
                  <a:lnTo>
                    <a:pt x="0" y="6"/>
                  </a:lnTo>
                  <a:lnTo>
                    <a:pt x="2" y="6"/>
                  </a:lnTo>
                  <a:lnTo>
                    <a:pt x="4" y="6"/>
                  </a:lnTo>
                  <a:lnTo>
                    <a:pt x="6" y="4"/>
                  </a:lnTo>
                  <a:lnTo>
                    <a:pt x="8" y="4"/>
                  </a:lnTo>
                  <a:lnTo>
                    <a:pt x="10" y="4"/>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78" name="Google Shape;1978;g7826bb8c5e_0_4294"/>
            <p:cNvSpPr/>
            <p:nvPr/>
          </p:nvSpPr>
          <p:spPr>
            <a:xfrm>
              <a:off x="2850586" y="3684198"/>
              <a:ext cx="1272" cy="4096"/>
            </a:xfrm>
            <a:custGeom>
              <a:avLst/>
              <a:gdLst/>
              <a:ahLst/>
              <a:cxnLst/>
              <a:rect l="l" t="t" r="r" b="b"/>
              <a:pathLst>
                <a:path w="4" h="4" extrusionOk="0">
                  <a:moveTo>
                    <a:pt x="4" y="0"/>
                  </a:moveTo>
                  <a:lnTo>
                    <a:pt x="2" y="0"/>
                  </a:lnTo>
                  <a:lnTo>
                    <a:pt x="2" y="2"/>
                  </a:lnTo>
                  <a:lnTo>
                    <a:pt x="0" y="2"/>
                  </a:lnTo>
                  <a:lnTo>
                    <a:pt x="0" y="4"/>
                  </a:lnTo>
                  <a:lnTo>
                    <a:pt x="0" y="2"/>
                  </a:lnTo>
                  <a:lnTo>
                    <a:pt x="2" y="2"/>
                  </a:lnTo>
                  <a:lnTo>
                    <a:pt x="4" y="2"/>
                  </a:lnTo>
                  <a:lnTo>
                    <a:pt x="4" y="0"/>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79" name="Google Shape;1979;g7826bb8c5e_0_4294"/>
            <p:cNvSpPr/>
            <p:nvPr/>
          </p:nvSpPr>
          <p:spPr>
            <a:xfrm>
              <a:off x="2848044" y="3685564"/>
              <a:ext cx="2542" cy="2730"/>
            </a:xfrm>
            <a:custGeom>
              <a:avLst/>
              <a:gdLst/>
              <a:ahLst/>
              <a:cxnLst/>
              <a:rect l="l" t="t" r="r" b="b"/>
              <a:pathLst>
                <a:path w="4" h="2" extrusionOk="0">
                  <a:moveTo>
                    <a:pt x="4" y="0"/>
                  </a:moveTo>
                  <a:lnTo>
                    <a:pt x="2" y="0"/>
                  </a:lnTo>
                  <a:lnTo>
                    <a:pt x="0" y="0"/>
                  </a:lnTo>
                  <a:lnTo>
                    <a:pt x="0" y="2"/>
                  </a:lnTo>
                  <a:lnTo>
                    <a:pt x="2" y="2"/>
                  </a:lnTo>
                  <a:lnTo>
                    <a:pt x="2" y="0"/>
                  </a:lnTo>
                  <a:lnTo>
                    <a:pt x="4" y="0"/>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80" name="Google Shape;1980;g7826bb8c5e_0_4294"/>
            <p:cNvSpPr/>
            <p:nvPr/>
          </p:nvSpPr>
          <p:spPr>
            <a:xfrm>
              <a:off x="3109928" y="3716966"/>
              <a:ext cx="3814" cy="1366"/>
            </a:xfrm>
            <a:custGeom>
              <a:avLst/>
              <a:gdLst/>
              <a:ahLst/>
              <a:cxnLst/>
              <a:rect l="l" t="t" r="r" b="b"/>
              <a:pathLst>
                <a:path w="6" h="2" extrusionOk="0">
                  <a:moveTo>
                    <a:pt x="6" y="0"/>
                  </a:moveTo>
                  <a:lnTo>
                    <a:pt x="4" y="0"/>
                  </a:lnTo>
                  <a:lnTo>
                    <a:pt x="2" y="0"/>
                  </a:lnTo>
                  <a:lnTo>
                    <a:pt x="2" y="2"/>
                  </a:lnTo>
                  <a:lnTo>
                    <a:pt x="0" y="2"/>
                  </a:lnTo>
                  <a:lnTo>
                    <a:pt x="2" y="2"/>
                  </a:lnTo>
                  <a:lnTo>
                    <a:pt x="4" y="2"/>
                  </a:lnTo>
                  <a:lnTo>
                    <a:pt x="4" y="0"/>
                  </a:lnTo>
                  <a:lnTo>
                    <a:pt x="4" y="2"/>
                  </a:lnTo>
                  <a:lnTo>
                    <a:pt x="4" y="0"/>
                  </a:lnTo>
                  <a:lnTo>
                    <a:pt x="6" y="0"/>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81" name="Google Shape;1981;g7826bb8c5e_0_4294"/>
            <p:cNvSpPr/>
            <p:nvPr/>
          </p:nvSpPr>
          <p:spPr>
            <a:xfrm>
              <a:off x="3116286" y="3710140"/>
              <a:ext cx="2542" cy="1364"/>
            </a:xfrm>
            <a:custGeom>
              <a:avLst/>
              <a:gdLst/>
              <a:ahLst/>
              <a:cxnLst/>
              <a:rect l="l" t="t" r="r" b="b"/>
              <a:pathLst>
                <a:path w="4" h="2" extrusionOk="0">
                  <a:moveTo>
                    <a:pt x="4" y="2"/>
                  </a:moveTo>
                  <a:lnTo>
                    <a:pt x="4" y="0"/>
                  </a:lnTo>
                  <a:lnTo>
                    <a:pt x="2" y="0"/>
                  </a:lnTo>
                  <a:lnTo>
                    <a:pt x="0" y="0"/>
                  </a:lnTo>
                  <a:lnTo>
                    <a:pt x="2" y="0"/>
                  </a:lnTo>
                  <a:lnTo>
                    <a:pt x="2" y="2"/>
                  </a:lnTo>
                  <a:lnTo>
                    <a:pt x="4" y="2"/>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82" name="Google Shape;1982;g7826bb8c5e_0_4294"/>
            <p:cNvSpPr/>
            <p:nvPr/>
          </p:nvSpPr>
          <p:spPr>
            <a:xfrm>
              <a:off x="3115014" y="3715600"/>
              <a:ext cx="2542" cy="1364"/>
            </a:xfrm>
            <a:custGeom>
              <a:avLst/>
              <a:gdLst/>
              <a:ahLst/>
              <a:cxnLst/>
              <a:rect l="l" t="t" r="r" b="b"/>
              <a:pathLst>
                <a:path w="4" h="2" extrusionOk="0">
                  <a:moveTo>
                    <a:pt x="4" y="0"/>
                  </a:moveTo>
                  <a:lnTo>
                    <a:pt x="2" y="0"/>
                  </a:lnTo>
                  <a:lnTo>
                    <a:pt x="2" y="2"/>
                  </a:lnTo>
                  <a:lnTo>
                    <a:pt x="0" y="2"/>
                  </a:lnTo>
                  <a:lnTo>
                    <a:pt x="0" y="0"/>
                  </a:lnTo>
                  <a:lnTo>
                    <a:pt x="2" y="0"/>
                  </a:lnTo>
                  <a:lnTo>
                    <a:pt x="4" y="0"/>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83" name="Google Shape;1983;g7826bb8c5e_0_4294"/>
            <p:cNvSpPr/>
            <p:nvPr/>
          </p:nvSpPr>
          <p:spPr>
            <a:xfrm>
              <a:off x="3108657" y="3716966"/>
              <a:ext cx="1271" cy="1500"/>
            </a:xfrm>
            <a:custGeom>
              <a:avLst/>
              <a:gdLst/>
              <a:ahLst/>
              <a:cxnLst/>
              <a:rect l="l" t="t" r="r" b="b"/>
              <a:pathLst>
                <a:path w="2" h="120000" extrusionOk="0">
                  <a:moveTo>
                    <a:pt x="2" y="0"/>
                  </a:moveTo>
                  <a:lnTo>
                    <a:pt x="0" y="0"/>
                  </a:lnTo>
                  <a:lnTo>
                    <a:pt x="2" y="0"/>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84" name="Google Shape;1984;g7826bb8c5e_0_4294"/>
            <p:cNvSpPr/>
            <p:nvPr/>
          </p:nvSpPr>
          <p:spPr>
            <a:xfrm>
              <a:off x="3112472" y="3719696"/>
              <a:ext cx="1272" cy="1500"/>
            </a:xfrm>
            <a:custGeom>
              <a:avLst/>
              <a:gdLst/>
              <a:ahLst/>
              <a:cxnLst/>
              <a:rect l="l" t="t" r="r" b="b"/>
              <a:pathLst>
                <a:path w="2" h="120000" extrusionOk="0">
                  <a:moveTo>
                    <a:pt x="2" y="0"/>
                  </a:moveTo>
                  <a:lnTo>
                    <a:pt x="0" y="0"/>
                  </a:lnTo>
                  <a:lnTo>
                    <a:pt x="2" y="0"/>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85" name="Google Shape;1985;g7826bb8c5e_0_4294"/>
            <p:cNvSpPr/>
            <p:nvPr/>
          </p:nvSpPr>
          <p:spPr>
            <a:xfrm>
              <a:off x="3111200" y="3719696"/>
              <a:ext cx="1200" cy="0"/>
            </a:xfrm>
            <a:prstGeom prst="rect">
              <a:avLst/>
            </a:prstGeom>
            <a:solidFill>
              <a:srgbClr val="E1E1E1"/>
            </a:solidFill>
            <a:ln w="9525" cap="flat" cmpd="sng">
              <a:solidFill>
                <a:srgbClr val="E7E6E6"/>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86" name="Google Shape;1986;g7826bb8c5e_0_4294"/>
            <p:cNvSpPr/>
            <p:nvPr/>
          </p:nvSpPr>
          <p:spPr>
            <a:xfrm>
              <a:off x="3164594" y="3817997"/>
              <a:ext cx="6356" cy="8192"/>
            </a:xfrm>
            <a:custGeom>
              <a:avLst/>
              <a:gdLst/>
              <a:ahLst/>
              <a:cxnLst/>
              <a:rect l="l" t="t" r="r" b="b"/>
              <a:pathLst>
                <a:path w="7" h="13" extrusionOk="0">
                  <a:moveTo>
                    <a:pt x="3" y="13"/>
                  </a:moveTo>
                  <a:lnTo>
                    <a:pt x="0" y="8"/>
                  </a:lnTo>
                  <a:lnTo>
                    <a:pt x="7" y="0"/>
                  </a:lnTo>
                  <a:lnTo>
                    <a:pt x="3" y="13"/>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87" name="Google Shape;1987;g7826bb8c5e_0_4294"/>
            <p:cNvSpPr/>
            <p:nvPr/>
          </p:nvSpPr>
          <p:spPr>
            <a:xfrm>
              <a:off x="3008226" y="3850765"/>
              <a:ext cx="3814" cy="4096"/>
            </a:xfrm>
            <a:custGeom>
              <a:avLst/>
              <a:gdLst/>
              <a:ahLst/>
              <a:cxnLst/>
              <a:rect l="l" t="t" r="r" b="b"/>
              <a:pathLst>
                <a:path w="6" h="8" extrusionOk="0">
                  <a:moveTo>
                    <a:pt x="2" y="0"/>
                  </a:moveTo>
                  <a:lnTo>
                    <a:pt x="0" y="2"/>
                  </a:lnTo>
                  <a:lnTo>
                    <a:pt x="6" y="8"/>
                  </a:lnTo>
                  <a:lnTo>
                    <a:pt x="2" y="0"/>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88" name="Google Shape;1988;g7826bb8c5e_0_4294"/>
            <p:cNvSpPr/>
            <p:nvPr/>
          </p:nvSpPr>
          <p:spPr>
            <a:xfrm>
              <a:off x="2661164" y="3809806"/>
              <a:ext cx="39409" cy="28672"/>
            </a:xfrm>
            <a:custGeom>
              <a:avLst/>
              <a:gdLst/>
              <a:ahLst/>
              <a:cxnLst/>
              <a:rect l="l" t="t" r="r" b="b"/>
              <a:pathLst>
                <a:path w="76" h="49" extrusionOk="0">
                  <a:moveTo>
                    <a:pt x="76" y="37"/>
                  </a:moveTo>
                  <a:lnTo>
                    <a:pt x="66" y="49"/>
                  </a:lnTo>
                  <a:lnTo>
                    <a:pt x="49" y="45"/>
                  </a:lnTo>
                  <a:lnTo>
                    <a:pt x="26" y="35"/>
                  </a:lnTo>
                  <a:lnTo>
                    <a:pt x="0" y="26"/>
                  </a:lnTo>
                  <a:lnTo>
                    <a:pt x="27" y="0"/>
                  </a:lnTo>
                  <a:lnTo>
                    <a:pt x="49" y="16"/>
                  </a:lnTo>
                  <a:lnTo>
                    <a:pt x="76" y="20"/>
                  </a:lnTo>
                  <a:lnTo>
                    <a:pt x="76" y="37"/>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89" name="Google Shape;1989;g7826bb8c5e_0_4294"/>
            <p:cNvSpPr/>
            <p:nvPr/>
          </p:nvSpPr>
          <p:spPr>
            <a:xfrm>
              <a:off x="3156966" y="3857593"/>
              <a:ext cx="0" cy="1364"/>
            </a:xfrm>
            <a:custGeom>
              <a:avLst/>
              <a:gdLst/>
              <a:ahLst/>
              <a:cxnLst/>
              <a:rect l="l" t="t" r="r" b="b"/>
              <a:pathLst>
                <a:path w="120000" h="2" extrusionOk="0">
                  <a:moveTo>
                    <a:pt x="0" y="0"/>
                  </a:moveTo>
                  <a:lnTo>
                    <a:pt x="0" y="2"/>
                  </a:lnTo>
                  <a:lnTo>
                    <a:pt x="0" y="0"/>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90" name="Google Shape;1990;g7826bb8c5e_0_4294"/>
            <p:cNvSpPr/>
            <p:nvPr/>
          </p:nvSpPr>
          <p:spPr>
            <a:xfrm>
              <a:off x="3145524" y="3745638"/>
              <a:ext cx="1272" cy="2730"/>
            </a:xfrm>
            <a:custGeom>
              <a:avLst/>
              <a:gdLst/>
              <a:ahLst/>
              <a:cxnLst/>
              <a:rect l="l" t="t" r="r" b="b"/>
              <a:pathLst>
                <a:path w="2" h="2" extrusionOk="0">
                  <a:moveTo>
                    <a:pt x="0" y="2"/>
                  </a:moveTo>
                  <a:lnTo>
                    <a:pt x="0" y="0"/>
                  </a:lnTo>
                  <a:lnTo>
                    <a:pt x="2" y="2"/>
                  </a:lnTo>
                  <a:lnTo>
                    <a:pt x="0" y="2"/>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91" name="Google Shape;1991;g7826bb8c5e_0_4294"/>
            <p:cNvSpPr/>
            <p:nvPr/>
          </p:nvSpPr>
          <p:spPr>
            <a:xfrm>
              <a:off x="3135354" y="3719696"/>
              <a:ext cx="5085" cy="2730"/>
            </a:xfrm>
            <a:custGeom>
              <a:avLst/>
              <a:gdLst/>
              <a:ahLst/>
              <a:cxnLst/>
              <a:rect l="l" t="t" r="r" b="b"/>
              <a:pathLst>
                <a:path w="8" h="4" extrusionOk="0">
                  <a:moveTo>
                    <a:pt x="8" y="0"/>
                  </a:moveTo>
                  <a:lnTo>
                    <a:pt x="6" y="0"/>
                  </a:lnTo>
                  <a:lnTo>
                    <a:pt x="4" y="0"/>
                  </a:lnTo>
                  <a:lnTo>
                    <a:pt x="4" y="2"/>
                  </a:lnTo>
                  <a:lnTo>
                    <a:pt x="2" y="2"/>
                  </a:lnTo>
                  <a:lnTo>
                    <a:pt x="2" y="4"/>
                  </a:lnTo>
                  <a:lnTo>
                    <a:pt x="0" y="4"/>
                  </a:lnTo>
                  <a:lnTo>
                    <a:pt x="2" y="4"/>
                  </a:lnTo>
                  <a:lnTo>
                    <a:pt x="4" y="4"/>
                  </a:lnTo>
                  <a:lnTo>
                    <a:pt x="6" y="2"/>
                  </a:lnTo>
                  <a:lnTo>
                    <a:pt x="8" y="0"/>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92" name="Google Shape;1992;g7826bb8c5e_0_4294"/>
            <p:cNvSpPr/>
            <p:nvPr/>
          </p:nvSpPr>
          <p:spPr>
            <a:xfrm>
              <a:off x="3106115" y="3731985"/>
              <a:ext cx="5085" cy="1364"/>
            </a:xfrm>
            <a:custGeom>
              <a:avLst/>
              <a:gdLst/>
              <a:ahLst/>
              <a:cxnLst/>
              <a:rect l="l" t="t" r="r" b="b"/>
              <a:pathLst>
                <a:path w="10" h="2" extrusionOk="0">
                  <a:moveTo>
                    <a:pt x="10" y="2"/>
                  </a:moveTo>
                  <a:lnTo>
                    <a:pt x="4" y="0"/>
                  </a:lnTo>
                  <a:lnTo>
                    <a:pt x="0" y="2"/>
                  </a:lnTo>
                  <a:lnTo>
                    <a:pt x="10" y="2"/>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93" name="Google Shape;1993;g7826bb8c5e_0_4294"/>
            <p:cNvSpPr/>
            <p:nvPr/>
          </p:nvSpPr>
          <p:spPr>
            <a:xfrm>
              <a:off x="2956103" y="3620029"/>
              <a:ext cx="5085" cy="6826"/>
            </a:xfrm>
            <a:custGeom>
              <a:avLst/>
              <a:gdLst/>
              <a:ahLst/>
              <a:cxnLst/>
              <a:rect l="l" t="t" r="r" b="b"/>
              <a:pathLst>
                <a:path w="12" h="12" extrusionOk="0">
                  <a:moveTo>
                    <a:pt x="12" y="4"/>
                  </a:moveTo>
                  <a:lnTo>
                    <a:pt x="6" y="0"/>
                  </a:lnTo>
                  <a:lnTo>
                    <a:pt x="0" y="12"/>
                  </a:lnTo>
                  <a:lnTo>
                    <a:pt x="12" y="4"/>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94" name="Google Shape;1994;g7826bb8c5e_0_4294"/>
            <p:cNvSpPr/>
            <p:nvPr/>
          </p:nvSpPr>
          <p:spPr>
            <a:xfrm>
              <a:off x="6970831" y="4295855"/>
              <a:ext cx="13984" cy="17749"/>
            </a:xfrm>
            <a:custGeom>
              <a:avLst/>
              <a:gdLst/>
              <a:ahLst/>
              <a:cxnLst/>
              <a:rect l="l" t="t" r="r" b="b"/>
              <a:pathLst>
                <a:path w="29" h="27" extrusionOk="0">
                  <a:moveTo>
                    <a:pt x="0" y="0"/>
                  </a:moveTo>
                  <a:lnTo>
                    <a:pt x="29" y="27"/>
                  </a:lnTo>
                  <a:lnTo>
                    <a:pt x="8" y="19"/>
                  </a:lnTo>
                  <a:lnTo>
                    <a:pt x="0"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95" name="Google Shape;1995;g7826bb8c5e_0_4294"/>
            <p:cNvSpPr/>
            <p:nvPr/>
          </p:nvSpPr>
          <p:spPr>
            <a:xfrm>
              <a:off x="4432068" y="4533417"/>
              <a:ext cx="233917" cy="277157"/>
            </a:xfrm>
            <a:custGeom>
              <a:avLst/>
              <a:gdLst/>
              <a:ahLst/>
              <a:cxnLst/>
              <a:rect l="l" t="t" r="r" b="b"/>
              <a:pathLst>
                <a:path w="447" h="453" extrusionOk="0">
                  <a:moveTo>
                    <a:pt x="265" y="296"/>
                  </a:moveTo>
                  <a:lnTo>
                    <a:pt x="265" y="244"/>
                  </a:lnTo>
                  <a:lnTo>
                    <a:pt x="267" y="192"/>
                  </a:lnTo>
                  <a:lnTo>
                    <a:pt x="300" y="192"/>
                  </a:lnTo>
                  <a:lnTo>
                    <a:pt x="302" y="157"/>
                  </a:lnTo>
                  <a:lnTo>
                    <a:pt x="304" y="122"/>
                  </a:lnTo>
                  <a:lnTo>
                    <a:pt x="304" y="87"/>
                  </a:lnTo>
                  <a:lnTo>
                    <a:pt x="306" y="52"/>
                  </a:lnTo>
                  <a:lnTo>
                    <a:pt x="345" y="46"/>
                  </a:lnTo>
                  <a:lnTo>
                    <a:pt x="383" y="42"/>
                  </a:lnTo>
                  <a:lnTo>
                    <a:pt x="395" y="56"/>
                  </a:lnTo>
                  <a:lnTo>
                    <a:pt x="422" y="40"/>
                  </a:lnTo>
                  <a:lnTo>
                    <a:pt x="447" y="31"/>
                  </a:lnTo>
                  <a:lnTo>
                    <a:pt x="411" y="21"/>
                  </a:lnTo>
                  <a:lnTo>
                    <a:pt x="387" y="25"/>
                  </a:lnTo>
                  <a:lnTo>
                    <a:pt x="339" y="31"/>
                  </a:lnTo>
                  <a:lnTo>
                    <a:pt x="288" y="36"/>
                  </a:lnTo>
                  <a:lnTo>
                    <a:pt x="257" y="31"/>
                  </a:lnTo>
                  <a:lnTo>
                    <a:pt x="224" y="23"/>
                  </a:lnTo>
                  <a:lnTo>
                    <a:pt x="221" y="15"/>
                  </a:lnTo>
                  <a:lnTo>
                    <a:pt x="182" y="15"/>
                  </a:lnTo>
                  <a:lnTo>
                    <a:pt x="143" y="13"/>
                  </a:lnTo>
                  <a:lnTo>
                    <a:pt x="104" y="13"/>
                  </a:lnTo>
                  <a:lnTo>
                    <a:pt x="66" y="11"/>
                  </a:lnTo>
                  <a:lnTo>
                    <a:pt x="40" y="0"/>
                  </a:lnTo>
                  <a:lnTo>
                    <a:pt x="0" y="11"/>
                  </a:lnTo>
                  <a:lnTo>
                    <a:pt x="0" y="33"/>
                  </a:lnTo>
                  <a:lnTo>
                    <a:pt x="21" y="79"/>
                  </a:lnTo>
                  <a:lnTo>
                    <a:pt x="44" y="124"/>
                  </a:lnTo>
                  <a:lnTo>
                    <a:pt x="66" y="170"/>
                  </a:lnTo>
                  <a:lnTo>
                    <a:pt x="87" y="217"/>
                  </a:lnTo>
                  <a:lnTo>
                    <a:pt x="91" y="236"/>
                  </a:lnTo>
                  <a:lnTo>
                    <a:pt x="85" y="234"/>
                  </a:lnTo>
                  <a:lnTo>
                    <a:pt x="91" y="273"/>
                  </a:lnTo>
                  <a:lnTo>
                    <a:pt x="97" y="312"/>
                  </a:lnTo>
                  <a:lnTo>
                    <a:pt x="100" y="351"/>
                  </a:lnTo>
                  <a:lnTo>
                    <a:pt x="106" y="389"/>
                  </a:lnTo>
                  <a:lnTo>
                    <a:pt x="126" y="417"/>
                  </a:lnTo>
                  <a:lnTo>
                    <a:pt x="143" y="442"/>
                  </a:lnTo>
                  <a:lnTo>
                    <a:pt x="162" y="420"/>
                  </a:lnTo>
                  <a:lnTo>
                    <a:pt x="174" y="446"/>
                  </a:lnTo>
                  <a:lnTo>
                    <a:pt x="223" y="453"/>
                  </a:lnTo>
                  <a:lnTo>
                    <a:pt x="252" y="438"/>
                  </a:lnTo>
                  <a:lnTo>
                    <a:pt x="256" y="403"/>
                  </a:lnTo>
                  <a:lnTo>
                    <a:pt x="257" y="368"/>
                  </a:lnTo>
                  <a:lnTo>
                    <a:pt x="261" y="331"/>
                  </a:lnTo>
                  <a:lnTo>
                    <a:pt x="265" y="296"/>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96" name="Google Shape;1996;g7826bb8c5e_0_4294"/>
            <p:cNvSpPr/>
            <p:nvPr/>
          </p:nvSpPr>
          <p:spPr>
            <a:xfrm>
              <a:off x="3013311" y="4369582"/>
              <a:ext cx="219934" cy="301732"/>
            </a:xfrm>
            <a:custGeom>
              <a:avLst/>
              <a:gdLst/>
              <a:ahLst/>
              <a:cxnLst/>
              <a:rect l="l" t="t" r="r" b="b"/>
              <a:pathLst>
                <a:path w="420" h="497" extrusionOk="0">
                  <a:moveTo>
                    <a:pt x="283" y="392"/>
                  </a:moveTo>
                  <a:lnTo>
                    <a:pt x="275" y="433"/>
                  </a:lnTo>
                  <a:lnTo>
                    <a:pt x="267" y="473"/>
                  </a:lnTo>
                  <a:lnTo>
                    <a:pt x="260" y="466"/>
                  </a:lnTo>
                  <a:lnTo>
                    <a:pt x="221" y="471"/>
                  </a:lnTo>
                  <a:lnTo>
                    <a:pt x="211" y="493"/>
                  </a:lnTo>
                  <a:lnTo>
                    <a:pt x="194" y="469"/>
                  </a:lnTo>
                  <a:lnTo>
                    <a:pt x="153" y="462"/>
                  </a:lnTo>
                  <a:lnTo>
                    <a:pt x="147" y="458"/>
                  </a:lnTo>
                  <a:lnTo>
                    <a:pt x="120" y="497"/>
                  </a:lnTo>
                  <a:lnTo>
                    <a:pt x="97" y="493"/>
                  </a:lnTo>
                  <a:lnTo>
                    <a:pt x="81" y="458"/>
                  </a:lnTo>
                  <a:lnTo>
                    <a:pt x="68" y="425"/>
                  </a:lnTo>
                  <a:lnTo>
                    <a:pt x="60" y="392"/>
                  </a:lnTo>
                  <a:lnTo>
                    <a:pt x="60" y="363"/>
                  </a:lnTo>
                  <a:lnTo>
                    <a:pt x="42" y="338"/>
                  </a:lnTo>
                  <a:lnTo>
                    <a:pt x="31" y="312"/>
                  </a:lnTo>
                  <a:lnTo>
                    <a:pt x="23" y="295"/>
                  </a:lnTo>
                  <a:lnTo>
                    <a:pt x="23" y="279"/>
                  </a:lnTo>
                  <a:lnTo>
                    <a:pt x="37" y="247"/>
                  </a:lnTo>
                  <a:lnTo>
                    <a:pt x="27" y="243"/>
                  </a:lnTo>
                  <a:lnTo>
                    <a:pt x="21" y="212"/>
                  </a:lnTo>
                  <a:lnTo>
                    <a:pt x="23" y="181"/>
                  </a:lnTo>
                  <a:lnTo>
                    <a:pt x="29" y="159"/>
                  </a:lnTo>
                  <a:lnTo>
                    <a:pt x="29" y="113"/>
                  </a:lnTo>
                  <a:lnTo>
                    <a:pt x="35" y="103"/>
                  </a:lnTo>
                  <a:lnTo>
                    <a:pt x="17" y="74"/>
                  </a:lnTo>
                  <a:lnTo>
                    <a:pt x="0" y="45"/>
                  </a:lnTo>
                  <a:lnTo>
                    <a:pt x="44" y="47"/>
                  </a:lnTo>
                  <a:lnTo>
                    <a:pt x="60" y="35"/>
                  </a:lnTo>
                  <a:lnTo>
                    <a:pt x="87" y="18"/>
                  </a:lnTo>
                  <a:lnTo>
                    <a:pt x="114" y="0"/>
                  </a:lnTo>
                  <a:lnTo>
                    <a:pt x="141" y="2"/>
                  </a:lnTo>
                  <a:lnTo>
                    <a:pt x="143" y="35"/>
                  </a:lnTo>
                  <a:lnTo>
                    <a:pt x="147" y="66"/>
                  </a:lnTo>
                  <a:lnTo>
                    <a:pt x="172" y="93"/>
                  </a:lnTo>
                  <a:lnTo>
                    <a:pt x="198" y="103"/>
                  </a:lnTo>
                  <a:lnTo>
                    <a:pt x="227" y="117"/>
                  </a:lnTo>
                  <a:lnTo>
                    <a:pt x="263" y="142"/>
                  </a:lnTo>
                  <a:lnTo>
                    <a:pt x="302" y="150"/>
                  </a:lnTo>
                  <a:lnTo>
                    <a:pt x="312" y="165"/>
                  </a:lnTo>
                  <a:lnTo>
                    <a:pt x="316" y="202"/>
                  </a:lnTo>
                  <a:lnTo>
                    <a:pt x="310" y="202"/>
                  </a:lnTo>
                  <a:lnTo>
                    <a:pt x="324" y="217"/>
                  </a:lnTo>
                  <a:lnTo>
                    <a:pt x="327" y="247"/>
                  </a:lnTo>
                  <a:lnTo>
                    <a:pt x="358" y="250"/>
                  </a:lnTo>
                  <a:lnTo>
                    <a:pt x="389" y="254"/>
                  </a:lnTo>
                  <a:lnTo>
                    <a:pt x="393" y="287"/>
                  </a:lnTo>
                  <a:lnTo>
                    <a:pt x="415" y="307"/>
                  </a:lnTo>
                  <a:lnTo>
                    <a:pt x="420" y="322"/>
                  </a:lnTo>
                  <a:lnTo>
                    <a:pt x="413" y="351"/>
                  </a:lnTo>
                  <a:lnTo>
                    <a:pt x="407" y="378"/>
                  </a:lnTo>
                  <a:lnTo>
                    <a:pt x="411" y="392"/>
                  </a:lnTo>
                  <a:lnTo>
                    <a:pt x="407" y="396"/>
                  </a:lnTo>
                  <a:lnTo>
                    <a:pt x="407" y="390"/>
                  </a:lnTo>
                  <a:lnTo>
                    <a:pt x="372" y="365"/>
                  </a:lnTo>
                  <a:lnTo>
                    <a:pt x="329" y="371"/>
                  </a:lnTo>
                  <a:lnTo>
                    <a:pt x="287" y="376"/>
                  </a:lnTo>
                  <a:lnTo>
                    <a:pt x="283" y="392"/>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97" name="Google Shape;1997;g7826bb8c5e_0_4294"/>
            <p:cNvSpPr/>
            <p:nvPr/>
          </p:nvSpPr>
          <p:spPr>
            <a:xfrm>
              <a:off x="4570639" y="4553897"/>
              <a:ext cx="161453" cy="208892"/>
            </a:xfrm>
            <a:custGeom>
              <a:avLst/>
              <a:gdLst/>
              <a:ahLst/>
              <a:cxnLst/>
              <a:rect l="l" t="t" r="r" b="b"/>
              <a:pathLst>
                <a:path w="308" h="343" extrusionOk="0">
                  <a:moveTo>
                    <a:pt x="0" y="265"/>
                  </a:moveTo>
                  <a:lnTo>
                    <a:pt x="0" y="213"/>
                  </a:lnTo>
                  <a:lnTo>
                    <a:pt x="2" y="161"/>
                  </a:lnTo>
                  <a:lnTo>
                    <a:pt x="35" y="161"/>
                  </a:lnTo>
                  <a:lnTo>
                    <a:pt x="37" y="126"/>
                  </a:lnTo>
                  <a:lnTo>
                    <a:pt x="39" y="91"/>
                  </a:lnTo>
                  <a:lnTo>
                    <a:pt x="39" y="56"/>
                  </a:lnTo>
                  <a:lnTo>
                    <a:pt x="41" y="21"/>
                  </a:lnTo>
                  <a:lnTo>
                    <a:pt x="80" y="15"/>
                  </a:lnTo>
                  <a:lnTo>
                    <a:pt x="118" y="11"/>
                  </a:lnTo>
                  <a:lnTo>
                    <a:pt x="130" y="25"/>
                  </a:lnTo>
                  <a:lnTo>
                    <a:pt x="157" y="9"/>
                  </a:lnTo>
                  <a:lnTo>
                    <a:pt x="182" y="0"/>
                  </a:lnTo>
                  <a:lnTo>
                    <a:pt x="202" y="38"/>
                  </a:lnTo>
                  <a:lnTo>
                    <a:pt x="221" y="75"/>
                  </a:lnTo>
                  <a:lnTo>
                    <a:pt x="244" y="93"/>
                  </a:lnTo>
                  <a:lnTo>
                    <a:pt x="250" y="102"/>
                  </a:lnTo>
                  <a:lnTo>
                    <a:pt x="260" y="112"/>
                  </a:lnTo>
                  <a:lnTo>
                    <a:pt x="272" y="145"/>
                  </a:lnTo>
                  <a:lnTo>
                    <a:pt x="301" y="159"/>
                  </a:lnTo>
                  <a:lnTo>
                    <a:pt x="308" y="164"/>
                  </a:lnTo>
                  <a:lnTo>
                    <a:pt x="306" y="166"/>
                  </a:lnTo>
                  <a:lnTo>
                    <a:pt x="262" y="196"/>
                  </a:lnTo>
                  <a:lnTo>
                    <a:pt x="229" y="225"/>
                  </a:lnTo>
                  <a:lnTo>
                    <a:pt x="211" y="259"/>
                  </a:lnTo>
                  <a:lnTo>
                    <a:pt x="192" y="271"/>
                  </a:lnTo>
                  <a:lnTo>
                    <a:pt x="173" y="302"/>
                  </a:lnTo>
                  <a:lnTo>
                    <a:pt x="124" y="296"/>
                  </a:lnTo>
                  <a:lnTo>
                    <a:pt x="97" y="287"/>
                  </a:lnTo>
                  <a:lnTo>
                    <a:pt x="80" y="312"/>
                  </a:lnTo>
                  <a:lnTo>
                    <a:pt x="62" y="337"/>
                  </a:lnTo>
                  <a:lnTo>
                    <a:pt x="27" y="343"/>
                  </a:lnTo>
                  <a:lnTo>
                    <a:pt x="16" y="339"/>
                  </a:lnTo>
                  <a:lnTo>
                    <a:pt x="22" y="302"/>
                  </a:lnTo>
                  <a:lnTo>
                    <a:pt x="0" y="265"/>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98" name="Google Shape;1998;g7826bb8c5e_0_4294"/>
            <p:cNvSpPr/>
            <p:nvPr/>
          </p:nvSpPr>
          <p:spPr>
            <a:xfrm>
              <a:off x="4685054" y="4803749"/>
              <a:ext cx="39409" cy="47787"/>
            </a:xfrm>
            <a:custGeom>
              <a:avLst/>
              <a:gdLst/>
              <a:ahLst/>
              <a:cxnLst/>
              <a:rect l="l" t="t" r="r" b="b"/>
              <a:pathLst>
                <a:path w="76" h="75" extrusionOk="0">
                  <a:moveTo>
                    <a:pt x="33" y="9"/>
                  </a:moveTo>
                  <a:lnTo>
                    <a:pt x="0" y="42"/>
                  </a:lnTo>
                  <a:lnTo>
                    <a:pt x="24" y="75"/>
                  </a:lnTo>
                  <a:lnTo>
                    <a:pt x="37" y="64"/>
                  </a:lnTo>
                  <a:lnTo>
                    <a:pt x="68" y="40"/>
                  </a:lnTo>
                  <a:lnTo>
                    <a:pt x="76" y="17"/>
                  </a:lnTo>
                  <a:lnTo>
                    <a:pt x="47" y="0"/>
                  </a:lnTo>
                  <a:lnTo>
                    <a:pt x="33" y="9"/>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1999" name="Google Shape;1999;g7826bb8c5e_0_4294"/>
            <p:cNvSpPr/>
            <p:nvPr/>
          </p:nvSpPr>
          <p:spPr>
            <a:xfrm>
              <a:off x="4798199" y="4360025"/>
              <a:ext cx="53394" cy="178854"/>
            </a:xfrm>
            <a:custGeom>
              <a:avLst/>
              <a:gdLst/>
              <a:ahLst/>
              <a:cxnLst/>
              <a:rect l="l" t="t" r="r" b="b"/>
              <a:pathLst>
                <a:path w="103" h="292" extrusionOk="0">
                  <a:moveTo>
                    <a:pt x="60" y="205"/>
                  </a:moveTo>
                  <a:lnTo>
                    <a:pt x="49" y="244"/>
                  </a:lnTo>
                  <a:lnTo>
                    <a:pt x="64" y="269"/>
                  </a:lnTo>
                  <a:lnTo>
                    <a:pt x="80" y="292"/>
                  </a:lnTo>
                  <a:lnTo>
                    <a:pt x="76" y="271"/>
                  </a:lnTo>
                  <a:lnTo>
                    <a:pt x="93" y="254"/>
                  </a:lnTo>
                  <a:lnTo>
                    <a:pt x="99" y="227"/>
                  </a:lnTo>
                  <a:lnTo>
                    <a:pt x="103" y="199"/>
                  </a:lnTo>
                  <a:lnTo>
                    <a:pt x="84" y="176"/>
                  </a:lnTo>
                  <a:lnTo>
                    <a:pt x="64" y="155"/>
                  </a:lnTo>
                  <a:lnTo>
                    <a:pt x="59" y="116"/>
                  </a:lnTo>
                  <a:lnTo>
                    <a:pt x="64" y="89"/>
                  </a:lnTo>
                  <a:lnTo>
                    <a:pt x="76" y="81"/>
                  </a:lnTo>
                  <a:lnTo>
                    <a:pt x="78" y="81"/>
                  </a:lnTo>
                  <a:lnTo>
                    <a:pt x="68" y="52"/>
                  </a:lnTo>
                  <a:lnTo>
                    <a:pt x="59" y="11"/>
                  </a:lnTo>
                  <a:lnTo>
                    <a:pt x="45" y="4"/>
                  </a:lnTo>
                  <a:lnTo>
                    <a:pt x="12" y="0"/>
                  </a:lnTo>
                  <a:lnTo>
                    <a:pt x="14" y="7"/>
                  </a:lnTo>
                  <a:lnTo>
                    <a:pt x="33" y="38"/>
                  </a:lnTo>
                  <a:lnTo>
                    <a:pt x="26" y="52"/>
                  </a:lnTo>
                  <a:lnTo>
                    <a:pt x="26" y="81"/>
                  </a:lnTo>
                  <a:lnTo>
                    <a:pt x="24" y="110"/>
                  </a:lnTo>
                  <a:lnTo>
                    <a:pt x="18" y="120"/>
                  </a:lnTo>
                  <a:lnTo>
                    <a:pt x="0" y="157"/>
                  </a:lnTo>
                  <a:lnTo>
                    <a:pt x="16" y="174"/>
                  </a:lnTo>
                  <a:lnTo>
                    <a:pt x="26" y="190"/>
                  </a:lnTo>
                  <a:lnTo>
                    <a:pt x="47" y="192"/>
                  </a:lnTo>
                  <a:lnTo>
                    <a:pt x="60" y="205"/>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00" name="Google Shape;2000;g7826bb8c5e_0_4294"/>
            <p:cNvSpPr/>
            <p:nvPr/>
          </p:nvSpPr>
          <p:spPr>
            <a:xfrm>
              <a:off x="4685054" y="4803749"/>
              <a:ext cx="39409" cy="47787"/>
            </a:xfrm>
            <a:custGeom>
              <a:avLst/>
              <a:gdLst/>
              <a:ahLst/>
              <a:cxnLst/>
              <a:rect l="l" t="t" r="r" b="b"/>
              <a:pathLst>
                <a:path w="76" h="75" extrusionOk="0">
                  <a:moveTo>
                    <a:pt x="33" y="9"/>
                  </a:moveTo>
                  <a:lnTo>
                    <a:pt x="0" y="42"/>
                  </a:lnTo>
                  <a:lnTo>
                    <a:pt x="24" y="75"/>
                  </a:lnTo>
                  <a:lnTo>
                    <a:pt x="37" y="64"/>
                  </a:lnTo>
                  <a:lnTo>
                    <a:pt x="68" y="40"/>
                  </a:lnTo>
                  <a:lnTo>
                    <a:pt x="76" y="17"/>
                  </a:lnTo>
                  <a:lnTo>
                    <a:pt x="47" y="0"/>
                  </a:lnTo>
                  <a:lnTo>
                    <a:pt x="33" y="9"/>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01" name="Google Shape;2001;g7826bb8c5e_0_4294"/>
            <p:cNvSpPr/>
            <p:nvPr/>
          </p:nvSpPr>
          <p:spPr>
            <a:xfrm>
              <a:off x="4475291" y="4667218"/>
              <a:ext cx="5085" cy="12289"/>
            </a:xfrm>
            <a:custGeom>
              <a:avLst/>
              <a:gdLst/>
              <a:ahLst/>
              <a:cxnLst/>
              <a:rect l="l" t="t" r="r" b="b"/>
              <a:pathLst>
                <a:path w="6" h="19" extrusionOk="0">
                  <a:moveTo>
                    <a:pt x="6" y="19"/>
                  </a:moveTo>
                  <a:lnTo>
                    <a:pt x="0" y="17"/>
                  </a:lnTo>
                  <a:lnTo>
                    <a:pt x="2" y="0"/>
                  </a:lnTo>
                  <a:lnTo>
                    <a:pt x="6" y="19"/>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02" name="Google Shape;2002;g7826bb8c5e_0_4294"/>
            <p:cNvSpPr/>
            <p:nvPr/>
          </p:nvSpPr>
          <p:spPr>
            <a:xfrm>
              <a:off x="4432068" y="4278106"/>
              <a:ext cx="214848" cy="279887"/>
            </a:xfrm>
            <a:custGeom>
              <a:avLst/>
              <a:gdLst/>
              <a:ahLst/>
              <a:cxnLst/>
              <a:rect l="l" t="t" r="r" b="b"/>
              <a:pathLst>
                <a:path w="413" h="459" extrusionOk="0">
                  <a:moveTo>
                    <a:pt x="411" y="269"/>
                  </a:moveTo>
                  <a:lnTo>
                    <a:pt x="378" y="271"/>
                  </a:lnTo>
                  <a:lnTo>
                    <a:pt x="343" y="271"/>
                  </a:lnTo>
                  <a:lnTo>
                    <a:pt x="343" y="302"/>
                  </a:lnTo>
                  <a:lnTo>
                    <a:pt x="343" y="332"/>
                  </a:lnTo>
                  <a:lnTo>
                    <a:pt x="341" y="363"/>
                  </a:lnTo>
                  <a:lnTo>
                    <a:pt x="341" y="392"/>
                  </a:lnTo>
                  <a:lnTo>
                    <a:pt x="364" y="421"/>
                  </a:lnTo>
                  <a:lnTo>
                    <a:pt x="387" y="448"/>
                  </a:lnTo>
                  <a:lnTo>
                    <a:pt x="339" y="454"/>
                  </a:lnTo>
                  <a:lnTo>
                    <a:pt x="288" y="459"/>
                  </a:lnTo>
                  <a:lnTo>
                    <a:pt x="257" y="454"/>
                  </a:lnTo>
                  <a:lnTo>
                    <a:pt x="224" y="446"/>
                  </a:lnTo>
                  <a:lnTo>
                    <a:pt x="221" y="438"/>
                  </a:lnTo>
                  <a:lnTo>
                    <a:pt x="182" y="438"/>
                  </a:lnTo>
                  <a:lnTo>
                    <a:pt x="143" y="436"/>
                  </a:lnTo>
                  <a:lnTo>
                    <a:pt x="104" y="436"/>
                  </a:lnTo>
                  <a:lnTo>
                    <a:pt x="66" y="434"/>
                  </a:lnTo>
                  <a:lnTo>
                    <a:pt x="40" y="423"/>
                  </a:lnTo>
                  <a:lnTo>
                    <a:pt x="0" y="434"/>
                  </a:lnTo>
                  <a:lnTo>
                    <a:pt x="4" y="403"/>
                  </a:lnTo>
                  <a:lnTo>
                    <a:pt x="5" y="372"/>
                  </a:lnTo>
                  <a:lnTo>
                    <a:pt x="21" y="326"/>
                  </a:lnTo>
                  <a:lnTo>
                    <a:pt x="36" y="277"/>
                  </a:lnTo>
                  <a:lnTo>
                    <a:pt x="54" y="252"/>
                  </a:lnTo>
                  <a:lnTo>
                    <a:pt x="71" y="227"/>
                  </a:lnTo>
                  <a:lnTo>
                    <a:pt x="66" y="176"/>
                  </a:lnTo>
                  <a:lnTo>
                    <a:pt x="56" y="147"/>
                  </a:lnTo>
                  <a:lnTo>
                    <a:pt x="46" y="118"/>
                  </a:lnTo>
                  <a:lnTo>
                    <a:pt x="58" y="99"/>
                  </a:lnTo>
                  <a:lnTo>
                    <a:pt x="40" y="54"/>
                  </a:lnTo>
                  <a:lnTo>
                    <a:pt x="25" y="8"/>
                  </a:lnTo>
                  <a:lnTo>
                    <a:pt x="52" y="0"/>
                  </a:lnTo>
                  <a:lnTo>
                    <a:pt x="81" y="2"/>
                  </a:lnTo>
                  <a:lnTo>
                    <a:pt x="110" y="2"/>
                  </a:lnTo>
                  <a:lnTo>
                    <a:pt x="137" y="4"/>
                  </a:lnTo>
                  <a:lnTo>
                    <a:pt x="166" y="4"/>
                  </a:lnTo>
                  <a:lnTo>
                    <a:pt x="180" y="41"/>
                  </a:lnTo>
                  <a:lnTo>
                    <a:pt x="193" y="76"/>
                  </a:lnTo>
                  <a:lnTo>
                    <a:pt x="217" y="85"/>
                  </a:lnTo>
                  <a:lnTo>
                    <a:pt x="257" y="78"/>
                  </a:lnTo>
                  <a:lnTo>
                    <a:pt x="265" y="43"/>
                  </a:lnTo>
                  <a:lnTo>
                    <a:pt x="300" y="47"/>
                  </a:lnTo>
                  <a:lnTo>
                    <a:pt x="298" y="54"/>
                  </a:lnTo>
                  <a:lnTo>
                    <a:pt x="343" y="60"/>
                  </a:lnTo>
                  <a:lnTo>
                    <a:pt x="343" y="105"/>
                  </a:lnTo>
                  <a:lnTo>
                    <a:pt x="345" y="147"/>
                  </a:lnTo>
                  <a:lnTo>
                    <a:pt x="356" y="188"/>
                  </a:lnTo>
                  <a:lnTo>
                    <a:pt x="356" y="204"/>
                  </a:lnTo>
                  <a:lnTo>
                    <a:pt x="383" y="196"/>
                  </a:lnTo>
                  <a:lnTo>
                    <a:pt x="413" y="190"/>
                  </a:lnTo>
                  <a:lnTo>
                    <a:pt x="411" y="231"/>
                  </a:lnTo>
                  <a:lnTo>
                    <a:pt x="411" y="269"/>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03" name="Google Shape;2003;g7826bb8c5e_0_4294"/>
            <p:cNvSpPr/>
            <p:nvPr/>
          </p:nvSpPr>
          <p:spPr>
            <a:xfrm>
              <a:off x="4438424" y="4248070"/>
              <a:ext cx="19069" cy="30036"/>
            </a:xfrm>
            <a:custGeom>
              <a:avLst/>
              <a:gdLst/>
              <a:ahLst/>
              <a:cxnLst/>
              <a:rect l="l" t="t" r="r" b="b"/>
              <a:pathLst>
                <a:path w="37" h="50" extrusionOk="0">
                  <a:moveTo>
                    <a:pt x="6" y="50"/>
                  </a:moveTo>
                  <a:lnTo>
                    <a:pt x="0" y="19"/>
                  </a:lnTo>
                  <a:lnTo>
                    <a:pt x="23" y="0"/>
                  </a:lnTo>
                  <a:lnTo>
                    <a:pt x="37" y="5"/>
                  </a:lnTo>
                  <a:lnTo>
                    <a:pt x="20" y="17"/>
                  </a:lnTo>
                  <a:lnTo>
                    <a:pt x="18" y="46"/>
                  </a:lnTo>
                  <a:lnTo>
                    <a:pt x="6" y="50"/>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04" name="Google Shape;2004;g7826bb8c5e_0_4294"/>
            <p:cNvSpPr/>
            <p:nvPr/>
          </p:nvSpPr>
          <p:spPr>
            <a:xfrm>
              <a:off x="3338760" y="4145671"/>
              <a:ext cx="40681" cy="39595"/>
            </a:xfrm>
            <a:custGeom>
              <a:avLst/>
              <a:gdLst/>
              <a:ahLst/>
              <a:cxnLst/>
              <a:rect l="l" t="t" r="r" b="b"/>
              <a:pathLst>
                <a:path w="80" h="66" extrusionOk="0">
                  <a:moveTo>
                    <a:pt x="41" y="60"/>
                  </a:moveTo>
                  <a:lnTo>
                    <a:pt x="35" y="64"/>
                  </a:lnTo>
                  <a:lnTo>
                    <a:pt x="18" y="56"/>
                  </a:lnTo>
                  <a:lnTo>
                    <a:pt x="12" y="66"/>
                  </a:lnTo>
                  <a:lnTo>
                    <a:pt x="0" y="37"/>
                  </a:lnTo>
                  <a:lnTo>
                    <a:pt x="4" y="37"/>
                  </a:lnTo>
                  <a:lnTo>
                    <a:pt x="2" y="21"/>
                  </a:lnTo>
                  <a:lnTo>
                    <a:pt x="14" y="0"/>
                  </a:lnTo>
                  <a:lnTo>
                    <a:pt x="47" y="6"/>
                  </a:lnTo>
                  <a:lnTo>
                    <a:pt x="80" y="10"/>
                  </a:lnTo>
                  <a:lnTo>
                    <a:pt x="64" y="43"/>
                  </a:lnTo>
                  <a:lnTo>
                    <a:pt x="62" y="46"/>
                  </a:lnTo>
                  <a:lnTo>
                    <a:pt x="58" y="54"/>
                  </a:lnTo>
                  <a:lnTo>
                    <a:pt x="52" y="54"/>
                  </a:lnTo>
                  <a:lnTo>
                    <a:pt x="41" y="60"/>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05" name="Google Shape;2005;g7826bb8c5e_0_4294"/>
            <p:cNvSpPr/>
            <p:nvPr/>
          </p:nvSpPr>
          <p:spPr>
            <a:xfrm>
              <a:off x="4395201" y="4088329"/>
              <a:ext cx="33054" cy="30036"/>
            </a:xfrm>
            <a:custGeom>
              <a:avLst/>
              <a:gdLst/>
              <a:ahLst/>
              <a:cxnLst/>
              <a:rect l="l" t="t" r="r" b="b"/>
              <a:pathLst>
                <a:path w="64" h="50" extrusionOk="0">
                  <a:moveTo>
                    <a:pt x="12" y="50"/>
                  </a:moveTo>
                  <a:lnTo>
                    <a:pt x="0" y="46"/>
                  </a:lnTo>
                  <a:lnTo>
                    <a:pt x="4" y="33"/>
                  </a:lnTo>
                  <a:lnTo>
                    <a:pt x="12" y="0"/>
                  </a:lnTo>
                  <a:lnTo>
                    <a:pt x="37" y="4"/>
                  </a:lnTo>
                  <a:lnTo>
                    <a:pt x="62" y="6"/>
                  </a:lnTo>
                  <a:lnTo>
                    <a:pt x="64" y="50"/>
                  </a:lnTo>
                  <a:lnTo>
                    <a:pt x="37" y="50"/>
                  </a:lnTo>
                  <a:lnTo>
                    <a:pt x="12" y="5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06" name="Google Shape;2006;g7826bb8c5e_0_4294"/>
            <p:cNvSpPr/>
            <p:nvPr/>
          </p:nvSpPr>
          <p:spPr>
            <a:xfrm>
              <a:off x="4377403" y="4056927"/>
              <a:ext cx="7627" cy="10923"/>
            </a:xfrm>
            <a:custGeom>
              <a:avLst/>
              <a:gdLst/>
              <a:ahLst/>
              <a:cxnLst/>
              <a:rect l="l" t="t" r="r" b="b"/>
              <a:pathLst>
                <a:path w="15" h="19" extrusionOk="0">
                  <a:moveTo>
                    <a:pt x="15" y="1"/>
                  </a:moveTo>
                  <a:lnTo>
                    <a:pt x="12" y="0"/>
                  </a:lnTo>
                  <a:lnTo>
                    <a:pt x="0" y="19"/>
                  </a:lnTo>
                  <a:lnTo>
                    <a:pt x="15" y="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07" name="Google Shape;2007;g7826bb8c5e_0_4294"/>
            <p:cNvSpPr/>
            <p:nvPr/>
          </p:nvSpPr>
          <p:spPr>
            <a:xfrm>
              <a:off x="4383759" y="4092425"/>
              <a:ext cx="97890" cy="141992"/>
            </a:xfrm>
            <a:custGeom>
              <a:avLst/>
              <a:gdLst/>
              <a:ahLst/>
              <a:cxnLst/>
              <a:rect l="l" t="t" r="r" b="b"/>
              <a:pathLst>
                <a:path w="190" h="234" extrusionOk="0">
                  <a:moveTo>
                    <a:pt x="31" y="44"/>
                  </a:moveTo>
                  <a:lnTo>
                    <a:pt x="27" y="60"/>
                  </a:lnTo>
                  <a:lnTo>
                    <a:pt x="17" y="60"/>
                  </a:lnTo>
                  <a:lnTo>
                    <a:pt x="38" y="77"/>
                  </a:lnTo>
                  <a:lnTo>
                    <a:pt x="19" y="75"/>
                  </a:lnTo>
                  <a:lnTo>
                    <a:pt x="7" y="110"/>
                  </a:lnTo>
                  <a:lnTo>
                    <a:pt x="0" y="110"/>
                  </a:lnTo>
                  <a:lnTo>
                    <a:pt x="11" y="135"/>
                  </a:lnTo>
                  <a:lnTo>
                    <a:pt x="19" y="143"/>
                  </a:lnTo>
                  <a:lnTo>
                    <a:pt x="7" y="135"/>
                  </a:lnTo>
                  <a:lnTo>
                    <a:pt x="23" y="157"/>
                  </a:lnTo>
                  <a:lnTo>
                    <a:pt x="19" y="157"/>
                  </a:lnTo>
                  <a:lnTo>
                    <a:pt x="38" y="180"/>
                  </a:lnTo>
                  <a:lnTo>
                    <a:pt x="34" y="178"/>
                  </a:lnTo>
                  <a:lnTo>
                    <a:pt x="56" y="205"/>
                  </a:lnTo>
                  <a:lnTo>
                    <a:pt x="77" y="234"/>
                  </a:lnTo>
                  <a:lnTo>
                    <a:pt x="89" y="217"/>
                  </a:lnTo>
                  <a:lnTo>
                    <a:pt x="98" y="223"/>
                  </a:lnTo>
                  <a:lnTo>
                    <a:pt x="104" y="215"/>
                  </a:lnTo>
                  <a:lnTo>
                    <a:pt x="98" y="199"/>
                  </a:lnTo>
                  <a:lnTo>
                    <a:pt x="95" y="190"/>
                  </a:lnTo>
                  <a:lnTo>
                    <a:pt x="93" y="178"/>
                  </a:lnTo>
                  <a:lnTo>
                    <a:pt x="124" y="176"/>
                  </a:lnTo>
                  <a:lnTo>
                    <a:pt x="126" y="153"/>
                  </a:lnTo>
                  <a:lnTo>
                    <a:pt x="145" y="174"/>
                  </a:lnTo>
                  <a:lnTo>
                    <a:pt x="164" y="166"/>
                  </a:lnTo>
                  <a:lnTo>
                    <a:pt x="170" y="176"/>
                  </a:lnTo>
                  <a:lnTo>
                    <a:pt x="182" y="166"/>
                  </a:lnTo>
                  <a:lnTo>
                    <a:pt x="190" y="114"/>
                  </a:lnTo>
                  <a:lnTo>
                    <a:pt x="170" y="81"/>
                  </a:lnTo>
                  <a:lnTo>
                    <a:pt x="186" y="60"/>
                  </a:lnTo>
                  <a:lnTo>
                    <a:pt x="184" y="33"/>
                  </a:lnTo>
                  <a:lnTo>
                    <a:pt x="147" y="36"/>
                  </a:lnTo>
                  <a:lnTo>
                    <a:pt x="149" y="0"/>
                  </a:lnTo>
                  <a:lnTo>
                    <a:pt x="116" y="0"/>
                  </a:lnTo>
                  <a:lnTo>
                    <a:pt x="83" y="0"/>
                  </a:lnTo>
                  <a:lnTo>
                    <a:pt x="85" y="44"/>
                  </a:lnTo>
                  <a:lnTo>
                    <a:pt x="58" y="44"/>
                  </a:lnTo>
                  <a:lnTo>
                    <a:pt x="33" y="44"/>
                  </a:lnTo>
                  <a:lnTo>
                    <a:pt x="31" y="44"/>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08" name="Google Shape;2008;g7826bb8c5e_0_4294"/>
            <p:cNvSpPr/>
            <p:nvPr/>
          </p:nvSpPr>
          <p:spPr>
            <a:xfrm>
              <a:off x="3154424" y="4590761"/>
              <a:ext cx="144927" cy="187047"/>
            </a:xfrm>
            <a:custGeom>
              <a:avLst/>
              <a:gdLst/>
              <a:ahLst/>
              <a:cxnLst/>
              <a:rect l="l" t="t" r="r" b="b"/>
              <a:pathLst>
                <a:path w="278" h="308" extrusionOk="0">
                  <a:moveTo>
                    <a:pt x="16" y="27"/>
                  </a:moveTo>
                  <a:lnTo>
                    <a:pt x="8" y="68"/>
                  </a:lnTo>
                  <a:lnTo>
                    <a:pt x="0" y="108"/>
                  </a:lnTo>
                  <a:lnTo>
                    <a:pt x="31" y="139"/>
                  </a:lnTo>
                  <a:lnTo>
                    <a:pt x="64" y="170"/>
                  </a:lnTo>
                  <a:lnTo>
                    <a:pt x="91" y="184"/>
                  </a:lnTo>
                  <a:lnTo>
                    <a:pt x="119" y="196"/>
                  </a:lnTo>
                  <a:lnTo>
                    <a:pt x="150" y="213"/>
                  </a:lnTo>
                  <a:lnTo>
                    <a:pt x="179" y="231"/>
                  </a:lnTo>
                  <a:lnTo>
                    <a:pt x="167" y="267"/>
                  </a:lnTo>
                  <a:lnTo>
                    <a:pt x="153" y="302"/>
                  </a:lnTo>
                  <a:lnTo>
                    <a:pt x="192" y="306"/>
                  </a:lnTo>
                  <a:lnTo>
                    <a:pt x="231" y="308"/>
                  </a:lnTo>
                  <a:lnTo>
                    <a:pt x="252" y="300"/>
                  </a:lnTo>
                  <a:lnTo>
                    <a:pt x="278" y="260"/>
                  </a:lnTo>
                  <a:lnTo>
                    <a:pt x="276" y="236"/>
                  </a:lnTo>
                  <a:lnTo>
                    <a:pt x="276" y="205"/>
                  </a:lnTo>
                  <a:lnTo>
                    <a:pt x="278" y="176"/>
                  </a:lnTo>
                  <a:lnTo>
                    <a:pt x="260" y="172"/>
                  </a:lnTo>
                  <a:lnTo>
                    <a:pt x="243" y="174"/>
                  </a:lnTo>
                  <a:lnTo>
                    <a:pt x="233" y="143"/>
                  </a:lnTo>
                  <a:lnTo>
                    <a:pt x="223" y="110"/>
                  </a:lnTo>
                  <a:lnTo>
                    <a:pt x="198" y="108"/>
                  </a:lnTo>
                  <a:lnTo>
                    <a:pt x="152" y="101"/>
                  </a:lnTo>
                  <a:lnTo>
                    <a:pt x="146" y="48"/>
                  </a:lnTo>
                  <a:lnTo>
                    <a:pt x="140" y="31"/>
                  </a:lnTo>
                  <a:lnTo>
                    <a:pt x="140" y="25"/>
                  </a:lnTo>
                  <a:lnTo>
                    <a:pt x="105" y="0"/>
                  </a:lnTo>
                  <a:lnTo>
                    <a:pt x="62" y="6"/>
                  </a:lnTo>
                  <a:lnTo>
                    <a:pt x="20" y="11"/>
                  </a:lnTo>
                  <a:lnTo>
                    <a:pt x="16" y="27"/>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09" name="Google Shape;2009;g7826bb8c5e_0_4294"/>
            <p:cNvSpPr/>
            <p:nvPr/>
          </p:nvSpPr>
          <p:spPr>
            <a:xfrm>
              <a:off x="4343078" y="4133384"/>
              <a:ext cx="2542" cy="8192"/>
            </a:xfrm>
            <a:custGeom>
              <a:avLst/>
              <a:gdLst/>
              <a:ahLst/>
              <a:cxnLst/>
              <a:rect l="l" t="t" r="r" b="b"/>
              <a:pathLst>
                <a:path w="10" h="14" extrusionOk="0">
                  <a:moveTo>
                    <a:pt x="10" y="4"/>
                  </a:moveTo>
                  <a:lnTo>
                    <a:pt x="4" y="14"/>
                  </a:lnTo>
                  <a:lnTo>
                    <a:pt x="0" y="8"/>
                  </a:lnTo>
                  <a:lnTo>
                    <a:pt x="6" y="0"/>
                  </a:lnTo>
                  <a:lnTo>
                    <a:pt x="10" y="4"/>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10" name="Google Shape;2010;g7826bb8c5e_0_4294"/>
            <p:cNvSpPr/>
            <p:nvPr/>
          </p:nvSpPr>
          <p:spPr>
            <a:xfrm>
              <a:off x="4357063" y="4104712"/>
              <a:ext cx="1271" cy="2730"/>
            </a:xfrm>
            <a:custGeom>
              <a:avLst/>
              <a:gdLst/>
              <a:ahLst/>
              <a:cxnLst/>
              <a:rect l="l" t="t" r="r" b="b"/>
              <a:pathLst>
                <a:path w="2" h="6" extrusionOk="0">
                  <a:moveTo>
                    <a:pt x="0" y="6"/>
                  </a:moveTo>
                  <a:lnTo>
                    <a:pt x="0" y="2"/>
                  </a:lnTo>
                  <a:lnTo>
                    <a:pt x="2" y="0"/>
                  </a:lnTo>
                  <a:lnTo>
                    <a:pt x="0" y="6"/>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11" name="Google Shape;2011;g7826bb8c5e_0_4294"/>
            <p:cNvSpPr/>
            <p:nvPr/>
          </p:nvSpPr>
          <p:spPr>
            <a:xfrm>
              <a:off x="4748619" y="4046004"/>
              <a:ext cx="94075" cy="129703"/>
            </a:xfrm>
            <a:custGeom>
              <a:avLst/>
              <a:gdLst/>
              <a:ahLst/>
              <a:cxnLst/>
              <a:rect l="l" t="t" r="r" b="b"/>
              <a:pathLst>
                <a:path w="183" h="213" extrusionOk="0">
                  <a:moveTo>
                    <a:pt x="161" y="31"/>
                  </a:moveTo>
                  <a:lnTo>
                    <a:pt x="148" y="0"/>
                  </a:lnTo>
                  <a:lnTo>
                    <a:pt x="132" y="18"/>
                  </a:lnTo>
                  <a:lnTo>
                    <a:pt x="93" y="18"/>
                  </a:lnTo>
                  <a:lnTo>
                    <a:pt x="78" y="23"/>
                  </a:lnTo>
                  <a:lnTo>
                    <a:pt x="70" y="19"/>
                  </a:lnTo>
                  <a:lnTo>
                    <a:pt x="45" y="21"/>
                  </a:lnTo>
                  <a:lnTo>
                    <a:pt x="43" y="29"/>
                  </a:lnTo>
                  <a:lnTo>
                    <a:pt x="39" y="62"/>
                  </a:lnTo>
                  <a:lnTo>
                    <a:pt x="57" y="78"/>
                  </a:lnTo>
                  <a:lnTo>
                    <a:pt x="35" y="103"/>
                  </a:lnTo>
                  <a:lnTo>
                    <a:pt x="14" y="128"/>
                  </a:lnTo>
                  <a:lnTo>
                    <a:pt x="8" y="171"/>
                  </a:lnTo>
                  <a:lnTo>
                    <a:pt x="0" y="213"/>
                  </a:lnTo>
                  <a:lnTo>
                    <a:pt x="10" y="213"/>
                  </a:lnTo>
                  <a:lnTo>
                    <a:pt x="30" y="202"/>
                  </a:lnTo>
                  <a:lnTo>
                    <a:pt x="59" y="202"/>
                  </a:lnTo>
                  <a:lnTo>
                    <a:pt x="88" y="200"/>
                  </a:lnTo>
                  <a:lnTo>
                    <a:pt x="117" y="200"/>
                  </a:lnTo>
                  <a:lnTo>
                    <a:pt x="146" y="200"/>
                  </a:lnTo>
                  <a:lnTo>
                    <a:pt x="146" y="157"/>
                  </a:lnTo>
                  <a:lnTo>
                    <a:pt x="169" y="118"/>
                  </a:lnTo>
                  <a:lnTo>
                    <a:pt x="183" y="89"/>
                  </a:lnTo>
                  <a:lnTo>
                    <a:pt x="171" y="60"/>
                  </a:lnTo>
                  <a:lnTo>
                    <a:pt x="161" y="31"/>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12" name="Google Shape;2012;g7826bb8c5e_0_4294"/>
            <p:cNvSpPr/>
            <p:nvPr/>
          </p:nvSpPr>
          <p:spPr>
            <a:xfrm>
              <a:off x="4442239" y="4021429"/>
              <a:ext cx="334349" cy="430071"/>
            </a:xfrm>
            <a:custGeom>
              <a:avLst/>
              <a:gdLst/>
              <a:ahLst/>
              <a:cxnLst/>
              <a:rect l="l" t="t" r="r" b="b"/>
              <a:pathLst>
                <a:path w="642" h="712" extrusionOk="0">
                  <a:moveTo>
                    <a:pt x="585" y="254"/>
                  </a:moveTo>
                  <a:lnTo>
                    <a:pt x="570" y="281"/>
                  </a:lnTo>
                  <a:lnTo>
                    <a:pt x="562" y="305"/>
                  </a:lnTo>
                  <a:lnTo>
                    <a:pt x="564" y="305"/>
                  </a:lnTo>
                  <a:lnTo>
                    <a:pt x="566" y="307"/>
                  </a:lnTo>
                  <a:lnTo>
                    <a:pt x="566" y="309"/>
                  </a:lnTo>
                  <a:lnTo>
                    <a:pt x="572" y="340"/>
                  </a:lnTo>
                  <a:lnTo>
                    <a:pt x="578" y="371"/>
                  </a:lnTo>
                  <a:lnTo>
                    <a:pt x="580" y="371"/>
                  </a:lnTo>
                  <a:lnTo>
                    <a:pt x="580" y="400"/>
                  </a:lnTo>
                  <a:lnTo>
                    <a:pt x="582" y="427"/>
                  </a:lnTo>
                  <a:lnTo>
                    <a:pt x="593" y="458"/>
                  </a:lnTo>
                  <a:lnTo>
                    <a:pt x="607" y="487"/>
                  </a:lnTo>
                  <a:lnTo>
                    <a:pt x="622" y="514"/>
                  </a:lnTo>
                  <a:lnTo>
                    <a:pt x="591" y="520"/>
                  </a:lnTo>
                  <a:lnTo>
                    <a:pt x="560" y="528"/>
                  </a:lnTo>
                  <a:lnTo>
                    <a:pt x="541" y="557"/>
                  </a:lnTo>
                  <a:lnTo>
                    <a:pt x="549" y="588"/>
                  </a:lnTo>
                  <a:lnTo>
                    <a:pt x="545" y="621"/>
                  </a:lnTo>
                  <a:lnTo>
                    <a:pt x="543" y="654"/>
                  </a:lnTo>
                  <a:lnTo>
                    <a:pt x="576" y="677"/>
                  </a:lnTo>
                  <a:lnTo>
                    <a:pt x="585" y="663"/>
                  </a:lnTo>
                  <a:lnTo>
                    <a:pt x="580" y="712"/>
                  </a:lnTo>
                  <a:lnTo>
                    <a:pt x="570" y="710"/>
                  </a:lnTo>
                  <a:lnTo>
                    <a:pt x="556" y="710"/>
                  </a:lnTo>
                  <a:lnTo>
                    <a:pt x="529" y="673"/>
                  </a:lnTo>
                  <a:lnTo>
                    <a:pt x="508" y="658"/>
                  </a:lnTo>
                  <a:lnTo>
                    <a:pt x="494" y="644"/>
                  </a:lnTo>
                  <a:lnTo>
                    <a:pt x="481" y="658"/>
                  </a:lnTo>
                  <a:lnTo>
                    <a:pt x="436" y="642"/>
                  </a:lnTo>
                  <a:lnTo>
                    <a:pt x="432" y="630"/>
                  </a:lnTo>
                  <a:lnTo>
                    <a:pt x="405" y="634"/>
                  </a:lnTo>
                  <a:lnTo>
                    <a:pt x="394" y="615"/>
                  </a:lnTo>
                  <a:lnTo>
                    <a:pt x="364" y="621"/>
                  </a:lnTo>
                  <a:lnTo>
                    <a:pt x="337" y="629"/>
                  </a:lnTo>
                  <a:lnTo>
                    <a:pt x="337" y="613"/>
                  </a:lnTo>
                  <a:lnTo>
                    <a:pt x="326" y="572"/>
                  </a:lnTo>
                  <a:lnTo>
                    <a:pt x="324" y="530"/>
                  </a:lnTo>
                  <a:lnTo>
                    <a:pt x="324" y="485"/>
                  </a:lnTo>
                  <a:lnTo>
                    <a:pt x="279" y="479"/>
                  </a:lnTo>
                  <a:lnTo>
                    <a:pt x="281" y="472"/>
                  </a:lnTo>
                  <a:lnTo>
                    <a:pt x="246" y="468"/>
                  </a:lnTo>
                  <a:lnTo>
                    <a:pt x="238" y="503"/>
                  </a:lnTo>
                  <a:lnTo>
                    <a:pt x="198" y="510"/>
                  </a:lnTo>
                  <a:lnTo>
                    <a:pt x="174" y="501"/>
                  </a:lnTo>
                  <a:lnTo>
                    <a:pt x="161" y="466"/>
                  </a:lnTo>
                  <a:lnTo>
                    <a:pt x="147" y="429"/>
                  </a:lnTo>
                  <a:lnTo>
                    <a:pt x="118" y="429"/>
                  </a:lnTo>
                  <a:lnTo>
                    <a:pt x="91" y="427"/>
                  </a:lnTo>
                  <a:lnTo>
                    <a:pt x="62" y="427"/>
                  </a:lnTo>
                  <a:lnTo>
                    <a:pt x="33" y="425"/>
                  </a:lnTo>
                  <a:lnTo>
                    <a:pt x="6" y="429"/>
                  </a:lnTo>
                  <a:lnTo>
                    <a:pt x="0" y="423"/>
                  </a:lnTo>
                  <a:lnTo>
                    <a:pt x="12" y="419"/>
                  </a:lnTo>
                  <a:lnTo>
                    <a:pt x="14" y="390"/>
                  </a:lnTo>
                  <a:lnTo>
                    <a:pt x="31" y="378"/>
                  </a:lnTo>
                  <a:lnTo>
                    <a:pt x="48" y="384"/>
                  </a:lnTo>
                  <a:lnTo>
                    <a:pt x="56" y="373"/>
                  </a:lnTo>
                  <a:lnTo>
                    <a:pt x="78" y="371"/>
                  </a:lnTo>
                  <a:lnTo>
                    <a:pt x="81" y="388"/>
                  </a:lnTo>
                  <a:lnTo>
                    <a:pt x="107" y="363"/>
                  </a:lnTo>
                  <a:lnTo>
                    <a:pt x="132" y="338"/>
                  </a:lnTo>
                  <a:lnTo>
                    <a:pt x="136" y="309"/>
                  </a:lnTo>
                  <a:lnTo>
                    <a:pt x="142" y="280"/>
                  </a:lnTo>
                  <a:lnTo>
                    <a:pt x="165" y="249"/>
                  </a:lnTo>
                  <a:lnTo>
                    <a:pt x="188" y="218"/>
                  </a:lnTo>
                  <a:lnTo>
                    <a:pt x="192" y="188"/>
                  </a:lnTo>
                  <a:lnTo>
                    <a:pt x="198" y="159"/>
                  </a:lnTo>
                  <a:lnTo>
                    <a:pt x="202" y="130"/>
                  </a:lnTo>
                  <a:lnTo>
                    <a:pt x="207" y="103"/>
                  </a:lnTo>
                  <a:lnTo>
                    <a:pt x="217" y="70"/>
                  </a:lnTo>
                  <a:lnTo>
                    <a:pt x="215" y="41"/>
                  </a:lnTo>
                  <a:lnTo>
                    <a:pt x="242" y="6"/>
                  </a:lnTo>
                  <a:lnTo>
                    <a:pt x="277" y="26"/>
                  </a:lnTo>
                  <a:lnTo>
                    <a:pt x="308" y="35"/>
                  </a:lnTo>
                  <a:lnTo>
                    <a:pt x="341" y="45"/>
                  </a:lnTo>
                  <a:lnTo>
                    <a:pt x="357" y="22"/>
                  </a:lnTo>
                  <a:lnTo>
                    <a:pt x="370" y="24"/>
                  </a:lnTo>
                  <a:lnTo>
                    <a:pt x="405" y="12"/>
                  </a:lnTo>
                  <a:lnTo>
                    <a:pt x="430" y="12"/>
                  </a:lnTo>
                  <a:lnTo>
                    <a:pt x="442" y="0"/>
                  </a:lnTo>
                  <a:lnTo>
                    <a:pt x="469" y="4"/>
                  </a:lnTo>
                  <a:lnTo>
                    <a:pt x="494" y="6"/>
                  </a:lnTo>
                  <a:lnTo>
                    <a:pt x="512" y="12"/>
                  </a:lnTo>
                  <a:lnTo>
                    <a:pt x="521" y="20"/>
                  </a:lnTo>
                  <a:lnTo>
                    <a:pt x="549" y="35"/>
                  </a:lnTo>
                  <a:lnTo>
                    <a:pt x="566" y="33"/>
                  </a:lnTo>
                  <a:lnTo>
                    <a:pt x="580" y="24"/>
                  </a:lnTo>
                  <a:lnTo>
                    <a:pt x="605" y="47"/>
                  </a:lnTo>
                  <a:lnTo>
                    <a:pt x="628" y="70"/>
                  </a:lnTo>
                  <a:lnTo>
                    <a:pt x="624" y="103"/>
                  </a:lnTo>
                  <a:lnTo>
                    <a:pt x="642" y="119"/>
                  </a:lnTo>
                  <a:lnTo>
                    <a:pt x="620" y="144"/>
                  </a:lnTo>
                  <a:lnTo>
                    <a:pt x="599" y="169"/>
                  </a:lnTo>
                  <a:lnTo>
                    <a:pt x="593" y="212"/>
                  </a:lnTo>
                  <a:lnTo>
                    <a:pt x="585" y="254"/>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13" name="Google Shape;2013;g7826bb8c5e_0_4294"/>
            <p:cNvSpPr/>
            <p:nvPr/>
          </p:nvSpPr>
          <p:spPr>
            <a:xfrm>
              <a:off x="4608777" y="4332718"/>
              <a:ext cx="205949" cy="228005"/>
            </a:xfrm>
            <a:custGeom>
              <a:avLst/>
              <a:gdLst/>
              <a:ahLst/>
              <a:cxnLst/>
              <a:rect l="l" t="t" r="r" b="b"/>
              <a:pathLst>
                <a:path w="393" h="376" extrusionOk="0">
                  <a:moveTo>
                    <a:pt x="70" y="180"/>
                  </a:moveTo>
                  <a:lnTo>
                    <a:pt x="37" y="182"/>
                  </a:lnTo>
                  <a:lnTo>
                    <a:pt x="2" y="182"/>
                  </a:lnTo>
                  <a:lnTo>
                    <a:pt x="2" y="213"/>
                  </a:lnTo>
                  <a:lnTo>
                    <a:pt x="2" y="243"/>
                  </a:lnTo>
                  <a:lnTo>
                    <a:pt x="0" y="274"/>
                  </a:lnTo>
                  <a:lnTo>
                    <a:pt x="0" y="303"/>
                  </a:lnTo>
                  <a:lnTo>
                    <a:pt x="23" y="332"/>
                  </a:lnTo>
                  <a:lnTo>
                    <a:pt x="46" y="359"/>
                  </a:lnTo>
                  <a:lnTo>
                    <a:pt x="70" y="355"/>
                  </a:lnTo>
                  <a:lnTo>
                    <a:pt x="106" y="365"/>
                  </a:lnTo>
                  <a:lnTo>
                    <a:pt x="153" y="376"/>
                  </a:lnTo>
                  <a:lnTo>
                    <a:pt x="184" y="347"/>
                  </a:lnTo>
                  <a:lnTo>
                    <a:pt x="221" y="318"/>
                  </a:lnTo>
                  <a:lnTo>
                    <a:pt x="230" y="295"/>
                  </a:lnTo>
                  <a:lnTo>
                    <a:pt x="256" y="289"/>
                  </a:lnTo>
                  <a:lnTo>
                    <a:pt x="281" y="283"/>
                  </a:lnTo>
                  <a:lnTo>
                    <a:pt x="275" y="262"/>
                  </a:lnTo>
                  <a:lnTo>
                    <a:pt x="300" y="252"/>
                  </a:lnTo>
                  <a:lnTo>
                    <a:pt x="325" y="243"/>
                  </a:lnTo>
                  <a:lnTo>
                    <a:pt x="351" y="231"/>
                  </a:lnTo>
                  <a:lnTo>
                    <a:pt x="376" y="221"/>
                  </a:lnTo>
                  <a:lnTo>
                    <a:pt x="360" y="204"/>
                  </a:lnTo>
                  <a:lnTo>
                    <a:pt x="378" y="167"/>
                  </a:lnTo>
                  <a:lnTo>
                    <a:pt x="384" y="157"/>
                  </a:lnTo>
                  <a:lnTo>
                    <a:pt x="386" y="128"/>
                  </a:lnTo>
                  <a:lnTo>
                    <a:pt x="386" y="99"/>
                  </a:lnTo>
                  <a:lnTo>
                    <a:pt x="393" y="85"/>
                  </a:lnTo>
                  <a:lnTo>
                    <a:pt x="374" y="54"/>
                  </a:lnTo>
                  <a:lnTo>
                    <a:pt x="372" y="47"/>
                  </a:lnTo>
                  <a:lnTo>
                    <a:pt x="337" y="25"/>
                  </a:lnTo>
                  <a:lnTo>
                    <a:pt x="302" y="6"/>
                  </a:lnTo>
                  <a:lnTo>
                    <a:pt x="300" y="0"/>
                  </a:lnTo>
                  <a:lnTo>
                    <a:pt x="269" y="6"/>
                  </a:lnTo>
                  <a:lnTo>
                    <a:pt x="238" y="14"/>
                  </a:lnTo>
                  <a:lnTo>
                    <a:pt x="219" y="43"/>
                  </a:lnTo>
                  <a:lnTo>
                    <a:pt x="227" y="74"/>
                  </a:lnTo>
                  <a:lnTo>
                    <a:pt x="223" y="107"/>
                  </a:lnTo>
                  <a:lnTo>
                    <a:pt x="221" y="140"/>
                  </a:lnTo>
                  <a:lnTo>
                    <a:pt x="254" y="163"/>
                  </a:lnTo>
                  <a:lnTo>
                    <a:pt x="263" y="149"/>
                  </a:lnTo>
                  <a:lnTo>
                    <a:pt x="258" y="198"/>
                  </a:lnTo>
                  <a:lnTo>
                    <a:pt x="248" y="196"/>
                  </a:lnTo>
                  <a:lnTo>
                    <a:pt x="234" y="196"/>
                  </a:lnTo>
                  <a:lnTo>
                    <a:pt x="207" y="159"/>
                  </a:lnTo>
                  <a:lnTo>
                    <a:pt x="186" y="144"/>
                  </a:lnTo>
                  <a:lnTo>
                    <a:pt x="172" y="130"/>
                  </a:lnTo>
                  <a:lnTo>
                    <a:pt x="159" y="144"/>
                  </a:lnTo>
                  <a:lnTo>
                    <a:pt x="114" y="128"/>
                  </a:lnTo>
                  <a:lnTo>
                    <a:pt x="110" y="116"/>
                  </a:lnTo>
                  <a:lnTo>
                    <a:pt x="83" y="120"/>
                  </a:lnTo>
                  <a:lnTo>
                    <a:pt x="72" y="101"/>
                  </a:lnTo>
                  <a:lnTo>
                    <a:pt x="70" y="142"/>
                  </a:lnTo>
                  <a:lnTo>
                    <a:pt x="70" y="180"/>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14" name="Google Shape;2014;g7826bb8c5e_0_4294"/>
            <p:cNvSpPr/>
            <p:nvPr/>
          </p:nvSpPr>
          <p:spPr>
            <a:xfrm>
              <a:off x="4665985" y="4504747"/>
              <a:ext cx="132213" cy="157009"/>
            </a:xfrm>
            <a:custGeom>
              <a:avLst/>
              <a:gdLst/>
              <a:ahLst/>
              <a:cxnLst/>
              <a:rect l="l" t="t" r="r" b="b"/>
              <a:pathLst>
                <a:path w="254" h="258" extrusionOk="0">
                  <a:moveTo>
                    <a:pt x="126" y="246"/>
                  </a:moveTo>
                  <a:lnTo>
                    <a:pt x="119" y="241"/>
                  </a:lnTo>
                  <a:lnTo>
                    <a:pt x="90" y="227"/>
                  </a:lnTo>
                  <a:lnTo>
                    <a:pt x="78" y="194"/>
                  </a:lnTo>
                  <a:lnTo>
                    <a:pt x="68" y="184"/>
                  </a:lnTo>
                  <a:lnTo>
                    <a:pt x="62" y="175"/>
                  </a:lnTo>
                  <a:lnTo>
                    <a:pt x="39" y="157"/>
                  </a:lnTo>
                  <a:lnTo>
                    <a:pt x="20" y="120"/>
                  </a:lnTo>
                  <a:lnTo>
                    <a:pt x="0" y="82"/>
                  </a:lnTo>
                  <a:lnTo>
                    <a:pt x="47" y="93"/>
                  </a:lnTo>
                  <a:lnTo>
                    <a:pt x="78" y="64"/>
                  </a:lnTo>
                  <a:lnTo>
                    <a:pt x="115" y="35"/>
                  </a:lnTo>
                  <a:lnTo>
                    <a:pt x="124" y="12"/>
                  </a:lnTo>
                  <a:lnTo>
                    <a:pt x="150" y="6"/>
                  </a:lnTo>
                  <a:lnTo>
                    <a:pt x="175" y="0"/>
                  </a:lnTo>
                  <a:lnTo>
                    <a:pt x="173" y="14"/>
                  </a:lnTo>
                  <a:lnTo>
                    <a:pt x="190" y="14"/>
                  </a:lnTo>
                  <a:lnTo>
                    <a:pt x="223" y="27"/>
                  </a:lnTo>
                  <a:lnTo>
                    <a:pt x="254" y="41"/>
                  </a:lnTo>
                  <a:lnTo>
                    <a:pt x="254" y="87"/>
                  </a:lnTo>
                  <a:lnTo>
                    <a:pt x="249" y="120"/>
                  </a:lnTo>
                  <a:lnTo>
                    <a:pt x="252" y="153"/>
                  </a:lnTo>
                  <a:lnTo>
                    <a:pt x="241" y="186"/>
                  </a:lnTo>
                  <a:lnTo>
                    <a:pt x="233" y="217"/>
                  </a:lnTo>
                  <a:lnTo>
                    <a:pt x="212" y="239"/>
                  </a:lnTo>
                  <a:lnTo>
                    <a:pt x="192" y="258"/>
                  </a:lnTo>
                  <a:lnTo>
                    <a:pt x="159" y="254"/>
                  </a:lnTo>
                  <a:lnTo>
                    <a:pt x="128" y="248"/>
                  </a:lnTo>
                  <a:lnTo>
                    <a:pt x="126" y="246"/>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15" name="Google Shape;2015;g7826bb8c5e_0_4294"/>
            <p:cNvSpPr/>
            <p:nvPr/>
          </p:nvSpPr>
          <p:spPr>
            <a:xfrm>
              <a:off x="3012040" y="4548436"/>
              <a:ext cx="193236" cy="831470"/>
            </a:xfrm>
            <a:custGeom>
              <a:avLst/>
              <a:gdLst/>
              <a:ahLst/>
              <a:cxnLst/>
              <a:rect l="l" t="t" r="r" b="b"/>
              <a:pathLst>
                <a:path w="370" h="1371" extrusionOk="0">
                  <a:moveTo>
                    <a:pt x="23" y="487"/>
                  </a:moveTo>
                  <a:lnTo>
                    <a:pt x="31" y="514"/>
                  </a:lnTo>
                  <a:lnTo>
                    <a:pt x="37" y="543"/>
                  </a:lnTo>
                  <a:lnTo>
                    <a:pt x="41" y="572"/>
                  </a:lnTo>
                  <a:lnTo>
                    <a:pt x="45" y="601"/>
                  </a:lnTo>
                  <a:lnTo>
                    <a:pt x="41" y="634"/>
                  </a:lnTo>
                  <a:lnTo>
                    <a:pt x="37" y="669"/>
                  </a:lnTo>
                  <a:lnTo>
                    <a:pt x="33" y="702"/>
                  </a:lnTo>
                  <a:lnTo>
                    <a:pt x="31" y="737"/>
                  </a:lnTo>
                  <a:lnTo>
                    <a:pt x="23" y="748"/>
                  </a:lnTo>
                  <a:lnTo>
                    <a:pt x="35" y="781"/>
                  </a:lnTo>
                  <a:lnTo>
                    <a:pt x="46" y="812"/>
                  </a:lnTo>
                  <a:lnTo>
                    <a:pt x="54" y="849"/>
                  </a:lnTo>
                  <a:lnTo>
                    <a:pt x="50" y="882"/>
                  </a:lnTo>
                  <a:lnTo>
                    <a:pt x="70" y="915"/>
                  </a:lnTo>
                  <a:lnTo>
                    <a:pt x="72" y="921"/>
                  </a:lnTo>
                  <a:lnTo>
                    <a:pt x="85" y="915"/>
                  </a:lnTo>
                  <a:lnTo>
                    <a:pt x="97" y="915"/>
                  </a:lnTo>
                  <a:lnTo>
                    <a:pt x="107" y="909"/>
                  </a:lnTo>
                  <a:lnTo>
                    <a:pt x="103" y="931"/>
                  </a:lnTo>
                  <a:lnTo>
                    <a:pt x="112" y="940"/>
                  </a:lnTo>
                  <a:lnTo>
                    <a:pt x="109" y="936"/>
                  </a:lnTo>
                  <a:lnTo>
                    <a:pt x="109" y="948"/>
                  </a:lnTo>
                  <a:lnTo>
                    <a:pt x="112" y="969"/>
                  </a:lnTo>
                  <a:lnTo>
                    <a:pt x="114" y="995"/>
                  </a:lnTo>
                  <a:lnTo>
                    <a:pt x="116" y="1008"/>
                  </a:lnTo>
                  <a:lnTo>
                    <a:pt x="134" y="1024"/>
                  </a:lnTo>
                  <a:lnTo>
                    <a:pt x="124" y="1049"/>
                  </a:lnTo>
                  <a:lnTo>
                    <a:pt x="134" y="1057"/>
                  </a:lnTo>
                  <a:lnTo>
                    <a:pt x="126" y="1059"/>
                  </a:lnTo>
                  <a:lnTo>
                    <a:pt x="128" y="1068"/>
                  </a:lnTo>
                  <a:lnTo>
                    <a:pt x="130" y="1088"/>
                  </a:lnTo>
                  <a:lnTo>
                    <a:pt x="132" y="1086"/>
                  </a:lnTo>
                  <a:lnTo>
                    <a:pt x="122" y="1101"/>
                  </a:lnTo>
                  <a:lnTo>
                    <a:pt x="120" y="1090"/>
                  </a:lnTo>
                  <a:lnTo>
                    <a:pt x="109" y="1090"/>
                  </a:lnTo>
                  <a:lnTo>
                    <a:pt x="110" y="1076"/>
                  </a:lnTo>
                  <a:lnTo>
                    <a:pt x="103" y="1078"/>
                  </a:lnTo>
                  <a:lnTo>
                    <a:pt x="93" y="1080"/>
                  </a:lnTo>
                  <a:lnTo>
                    <a:pt x="78" y="1111"/>
                  </a:lnTo>
                  <a:lnTo>
                    <a:pt x="81" y="1107"/>
                  </a:lnTo>
                  <a:lnTo>
                    <a:pt x="93" y="1101"/>
                  </a:lnTo>
                  <a:lnTo>
                    <a:pt x="110" y="1109"/>
                  </a:lnTo>
                  <a:lnTo>
                    <a:pt x="134" y="1126"/>
                  </a:lnTo>
                  <a:lnTo>
                    <a:pt x="124" y="1134"/>
                  </a:lnTo>
                  <a:lnTo>
                    <a:pt x="132" y="1140"/>
                  </a:lnTo>
                  <a:lnTo>
                    <a:pt x="118" y="1146"/>
                  </a:lnTo>
                  <a:lnTo>
                    <a:pt x="145" y="1144"/>
                  </a:lnTo>
                  <a:lnTo>
                    <a:pt x="147" y="1140"/>
                  </a:lnTo>
                  <a:lnTo>
                    <a:pt x="159" y="1154"/>
                  </a:lnTo>
                  <a:lnTo>
                    <a:pt x="159" y="1163"/>
                  </a:lnTo>
                  <a:lnTo>
                    <a:pt x="138" y="1159"/>
                  </a:lnTo>
                  <a:lnTo>
                    <a:pt x="128" y="1157"/>
                  </a:lnTo>
                  <a:lnTo>
                    <a:pt x="143" y="1181"/>
                  </a:lnTo>
                  <a:lnTo>
                    <a:pt x="157" y="1206"/>
                  </a:lnTo>
                  <a:lnTo>
                    <a:pt x="159" y="1220"/>
                  </a:lnTo>
                  <a:lnTo>
                    <a:pt x="165" y="1231"/>
                  </a:lnTo>
                  <a:lnTo>
                    <a:pt x="159" y="1237"/>
                  </a:lnTo>
                  <a:lnTo>
                    <a:pt x="174" y="1247"/>
                  </a:lnTo>
                  <a:lnTo>
                    <a:pt x="188" y="1262"/>
                  </a:lnTo>
                  <a:lnTo>
                    <a:pt x="186" y="1268"/>
                  </a:lnTo>
                  <a:lnTo>
                    <a:pt x="200" y="1278"/>
                  </a:lnTo>
                  <a:lnTo>
                    <a:pt x="207" y="1287"/>
                  </a:lnTo>
                  <a:lnTo>
                    <a:pt x="200" y="1284"/>
                  </a:lnTo>
                  <a:lnTo>
                    <a:pt x="215" y="1297"/>
                  </a:lnTo>
                  <a:lnTo>
                    <a:pt x="217" y="1307"/>
                  </a:lnTo>
                  <a:lnTo>
                    <a:pt x="231" y="1324"/>
                  </a:lnTo>
                  <a:lnTo>
                    <a:pt x="235" y="1332"/>
                  </a:lnTo>
                  <a:lnTo>
                    <a:pt x="250" y="1340"/>
                  </a:lnTo>
                  <a:lnTo>
                    <a:pt x="254" y="1346"/>
                  </a:lnTo>
                  <a:lnTo>
                    <a:pt x="250" y="1348"/>
                  </a:lnTo>
                  <a:lnTo>
                    <a:pt x="267" y="1353"/>
                  </a:lnTo>
                  <a:lnTo>
                    <a:pt x="312" y="1371"/>
                  </a:lnTo>
                  <a:lnTo>
                    <a:pt x="314" y="1324"/>
                  </a:lnTo>
                  <a:lnTo>
                    <a:pt x="337" y="1313"/>
                  </a:lnTo>
                  <a:lnTo>
                    <a:pt x="370" y="1315"/>
                  </a:lnTo>
                  <a:lnTo>
                    <a:pt x="318" y="1301"/>
                  </a:lnTo>
                  <a:lnTo>
                    <a:pt x="260" y="1295"/>
                  </a:lnTo>
                  <a:lnTo>
                    <a:pt x="242" y="1280"/>
                  </a:lnTo>
                  <a:lnTo>
                    <a:pt x="223" y="1251"/>
                  </a:lnTo>
                  <a:lnTo>
                    <a:pt x="205" y="1253"/>
                  </a:lnTo>
                  <a:lnTo>
                    <a:pt x="176" y="1204"/>
                  </a:lnTo>
                  <a:lnTo>
                    <a:pt x="196" y="1181"/>
                  </a:lnTo>
                  <a:lnTo>
                    <a:pt x="190" y="1130"/>
                  </a:lnTo>
                  <a:lnTo>
                    <a:pt x="184" y="1088"/>
                  </a:lnTo>
                  <a:lnTo>
                    <a:pt x="182" y="1059"/>
                  </a:lnTo>
                  <a:lnTo>
                    <a:pt x="174" y="1043"/>
                  </a:lnTo>
                  <a:lnTo>
                    <a:pt x="161" y="1035"/>
                  </a:lnTo>
                  <a:lnTo>
                    <a:pt x="182" y="1028"/>
                  </a:lnTo>
                  <a:lnTo>
                    <a:pt x="157" y="1012"/>
                  </a:lnTo>
                  <a:lnTo>
                    <a:pt x="143" y="973"/>
                  </a:lnTo>
                  <a:lnTo>
                    <a:pt x="128" y="952"/>
                  </a:lnTo>
                  <a:lnTo>
                    <a:pt x="126" y="921"/>
                  </a:lnTo>
                  <a:lnTo>
                    <a:pt x="114" y="871"/>
                  </a:lnTo>
                  <a:lnTo>
                    <a:pt x="110" y="832"/>
                  </a:lnTo>
                  <a:lnTo>
                    <a:pt x="116" y="807"/>
                  </a:lnTo>
                  <a:lnTo>
                    <a:pt x="112" y="785"/>
                  </a:lnTo>
                  <a:lnTo>
                    <a:pt x="103" y="754"/>
                  </a:lnTo>
                  <a:lnTo>
                    <a:pt x="93" y="721"/>
                  </a:lnTo>
                  <a:lnTo>
                    <a:pt x="109" y="696"/>
                  </a:lnTo>
                  <a:lnTo>
                    <a:pt x="101" y="671"/>
                  </a:lnTo>
                  <a:lnTo>
                    <a:pt x="107" y="622"/>
                  </a:lnTo>
                  <a:lnTo>
                    <a:pt x="99" y="601"/>
                  </a:lnTo>
                  <a:lnTo>
                    <a:pt x="83" y="570"/>
                  </a:lnTo>
                  <a:lnTo>
                    <a:pt x="68" y="539"/>
                  </a:lnTo>
                  <a:lnTo>
                    <a:pt x="68" y="514"/>
                  </a:lnTo>
                  <a:lnTo>
                    <a:pt x="74" y="491"/>
                  </a:lnTo>
                  <a:lnTo>
                    <a:pt x="72" y="461"/>
                  </a:lnTo>
                  <a:lnTo>
                    <a:pt x="72" y="434"/>
                  </a:lnTo>
                  <a:lnTo>
                    <a:pt x="85" y="401"/>
                  </a:lnTo>
                  <a:lnTo>
                    <a:pt x="99" y="366"/>
                  </a:lnTo>
                  <a:lnTo>
                    <a:pt x="107" y="357"/>
                  </a:lnTo>
                  <a:lnTo>
                    <a:pt x="95" y="333"/>
                  </a:lnTo>
                  <a:lnTo>
                    <a:pt x="89" y="281"/>
                  </a:lnTo>
                  <a:lnTo>
                    <a:pt x="95" y="262"/>
                  </a:lnTo>
                  <a:lnTo>
                    <a:pt x="124" y="246"/>
                  </a:lnTo>
                  <a:lnTo>
                    <a:pt x="130" y="207"/>
                  </a:lnTo>
                  <a:lnTo>
                    <a:pt x="124" y="202"/>
                  </a:lnTo>
                  <a:lnTo>
                    <a:pt x="101" y="198"/>
                  </a:lnTo>
                  <a:lnTo>
                    <a:pt x="85" y="163"/>
                  </a:lnTo>
                  <a:lnTo>
                    <a:pt x="72" y="130"/>
                  </a:lnTo>
                  <a:lnTo>
                    <a:pt x="64" y="97"/>
                  </a:lnTo>
                  <a:lnTo>
                    <a:pt x="64" y="68"/>
                  </a:lnTo>
                  <a:lnTo>
                    <a:pt x="46" y="43"/>
                  </a:lnTo>
                  <a:lnTo>
                    <a:pt x="35" y="17"/>
                  </a:lnTo>
                  <a:lnTo>
                    <a:pt x="27" y="0"/>
                  </a:lnTo>
                  <a:lnTo>
                    <a:pt x="17" y="14"/>
                  </a:lnTo>
                  <a:lnTo>
                    <a:pt x="6" y="31"/>
                  </a:lnTo>
                  <a:lnTo>
                    <a:pt x="0" y="31"/>
                  </a:lnTo>
                  <a:lnTo>
                    <a:pt x="8" y="79"/>
                  </a:lnTo>
                  <a:lnTo>
                    <a:pt x="17" y="128"/>
                  </a:lnTo>
                  <a:lnTo>
                    <a:pt x="17" y="171"/>
                  </a:lnTo>
                  <a:lnTo>
                    <a:pt x="17" y="211"/>
                  </a:lnTo>
                  <a:lnTo>
                    <a:pt x="15" y="229"/>
                  </a:lnTo>
                  <a:lnTo>
                    <a:pt x="21" y="275"/>
                  </a:lnTo>
                  <a:lnTo>
                    <a:pt x="23" y="316"/>
                  </a:lnTo>
                  <a:lnTo>
                    <a:pt x="21" y="370"/>
                  </a:lnTo>
                  <a:lnTo>
                    <a:pt x="21" y="425"/>
                  </a:lnTo>
                  <a:lnTo>
                    <a:pt x="23" y="448"/>
                  </a:lnTo>
                  <a:lnTo>
                    <a:pt x="23" y="487"/>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16" name="Google Shape;2016;g7826bb8c5e_0_4294"/>
            <p:cNvSpPr/>
            <p:nvPr/>
          </p:nvSpPr>
          <p:spPr>
            <a:xfrm>
              <a:off x="3043822" y="5108212"/>
              <a:ext cx="15256" cy="35498"/>
            </a:xfrm>
            <a:custGeom>
              <a:avLst/>
              <a:gdLst/>
              <a:ahLst/>
              <a:cxnLst/>
              <a:rect l="l" t="t" r="r" b="b"/>
              <a:pathLst>
                <a:path w="27" h="56" extrusionOk="0">
                  <a:moveTo>
                    <a:pt x="10" y="0"/>
                  </a:moveTo>
                  <a:lnTo>
                    <a:pt x="0" y="6"/>
                  </a:lnTo>
                  <a:lnTo>
                    <a:pt x="14" y="56"/>
                  </a:lnTo>
                  <a:lnTo>
                    <a:pt x="25" y="52"/>
                  </a:lnTo>
                  <a:lnTo>
                    <a:pt x="27" y="43"/>
                  </a:lnTo>
                  <a:lnTo>
                    <a:pt x="19" y="19"/>
                  </a:lnTo>
                  <a:lnTo>
                    <a:pt x="25" y="17"/>
                  </a:lnTo>
                  <a:lnTo>
                    <a:pt x="10" y="0"/>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17" name="Google Shape;2017;g7826bb8c5e_0_4294"/>
            <p:cNvSpPr/>
            <p:nvPr/>
          </p:nvSpPr>
          <p:spPr>
            <a:xfrm>
              <a:off x="3075604" y="5266587"/>
              <a:ext cx="15256" cy="30036"/>
            </a:xfrm>
            <a:custGeom>
              <a:avLst/>
              <a:gdLst/>
              <a:ahLst/>
              <a:cxnLst/>
              <a:rect l="l" t="t" r="r" b="b"/>
              <a:pathLst>
                <a:path w="29" h="48" extrusionOk="0">
                  <a:moveTo>
                    <a:pt x="16" y="0"/>
                  </a:moveTo>
                  <a:lnTo>
                    <a:pt x="0" y="19"/>
                  </a:lnTo>
                  <a:lnTo>
                    <a:pt x="18" y="40"/>
                  </a:lnTo>
                  <a:lnTo>
                    <a:pt x="29" y="48"/>
                  </a:lnTo>
                  <a:lnTo>
                    <a:pt x="29" y="33"/>
                  </a:lnTo>
                  <a:lnTo>
                    <a:pt x="16" y="0"/>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18" name="Google Shape;2018;g7826bb8c5e_0_4294"/>
            <p:cNvSpPr/>
            <p:nvPr/>
          </p:nvSpPr>
          <p:spPr>
            <a:xfrm>
              <a:off x="2809904" y="4108808"/>
              <a:ext cx="99161" cy="150184"/>
            </a:xfrm>
            <a:custGeom>
              <a:avLst/>
              <a:gdLst/>
              <a:ahLst/>
              <a:cxnLst/>
              <a:rect l="l" t="t" r="r" b="b"/>
              <a:pathLst>
                <a:path w="190" h="244" extrusionOk="0">
                  <a:moveTo>
                    <a:pt x="0" y="97"/>
                  </a:moveTo>
                  <a:lnTo>
                    <a:pt x="4" y="135"/>
                  </a:lnTo>
                  <a:lnTo>
                    <a:pt x="0" y="141"/>
                  </a:lnTo>
                  <a:lnTo>
                    <a:pt x="24" y="153"/>
                  </a:lnTo>
                  <a:lnTo>
                    <a:pt x="29" y="143"/>
                  </a:lnTo>
                  <a:lnTo>
                    <a:pt x="33" y="151"/>
                  </a:lnTo>
                  <a:lnTo>
                    <a:pt x="33" y="176"/>
                  </a:lnTo>
                  <a:lnTo>
                    <a:pt x="20" y="182"/>
                  </a:lnTo>
                  <a:lnTo>
                    <a:pt x="24" y="205"/>
                  </a:lnTo>
                  <a:lnTo>
                    <a:pt x="16" y="221"/>
                  </a:lnTo>
                  <a:lnTo>
                    <a:pt x="27" y="217"/>
                  </a:lnTo>
                  <a:lnTo>
                    <a:pt x="64" y="244"/>
                  </a:lnTo>
                  <a:lnTo>
                    <a:pt x="74" y="230"/>
                  </a:lnTo>
                  <a:lnTo>
                    <a:pt x="78" y="213"/>
                  </a:lnTo>
                  <a:lnTo>
                    <a:pt x="86" y="199"/>
                  </a:lnTo>
                  <a:lnTo>
                    <a:pt x="91" y="178"/>
                  </a:lnTo>
                  <a:lnTo>
                    <a:pt x="95" y="178"/>
                  </a:lnTo>
                  <a:lnTo>
                    <a:pt x="95" y="184"/>
                  </a:lnTo>
                  <a:lnTo>
                    <a:pt x="101" y="184"/>
                  </a:lnTo>
                  <a:lnTo>
                    <a:pt x="99" y="176"/>
                  </a:lnTo>
                  <a:lnTo>
                    <a:pt x="105" y="168"/>
                  </a:lnTo>
                  <a:lnTo>
                    <a:pt x="126" y="159"/>
                  </a:lnTo>
                  <a:lnTo>
                    <a:pt x="163" y="135"/>
                  </a:lnTo>
                  <a:lnTo>
                    <a:pt x="184" y="91"/>
                  </a:lnTo>
                  <a:lnTo>
                    <a:pt x="190" y="91"/>
                  </a:lnTo>
                  <a:lnTo>
                    <a:pt x="179" y="62"/>
                  </a:lnTo>
                  <a:lnTo>
                    <a:pt x="188" y="58"/>
                  </a:lnTo>
                  <a:lnTo>
                    <a:pt x="150" y="38"/>
                  </a:lnTo>
                  <a:lnTo>
                    <a:pt x="119" y="38"/>
                  </a:lnTo>
                  <a:lnTo>
                    <a:pt x="97" y="19"/>
                  </a:lnTo>
                  <a:lnTo>
                    <a:pt x="70" y="0"/>
                  </a:lnTo>
                  <a:lnTo>
                    <a:pt x="56" y="13"/>
                  </a:lnTo>
                  <a:lnTo>
                    <a:pt x="27" y="29"/>
                  </a:lnTo>
                  <a:lnTo>
                    <a:pt x="20" y="60"/>
                  </a:lnTo>
                  <a:lnTo>
                    <a:pt x="16" y="77"/>
                  </a:lnTo>
                  <a:lnTo>
                    <a:pt x="0" y="97"/>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19" name="Google Shape;2019;g7826bb8c5e_0_4294"/>
            <p:cNvSpPr/>
            <p:nvPr/>
          </p:nvSpPr>
          <p:spPr>
            <a:xfrm>
              <a:off x="2316644" y="4205745"/>
              <a:ext cx="2542" cy="4096"/>
            </a:xfrm>
            <a:custGeom>
              <a:avLst/>
              <a:gdLst/>
              <a:ahLst/>
              <a:cxnLst/>
              <a:rect l="l" t="t" r="r" b="b"/>
              <a:pathLst>
                <a:path w="8" h="8" extrusionOk="0">
                  <a:moveTo>
                    <a:pt x="8" y="2"/>
                  </a:moveTo>
                  <a:lnTo>
                    <a:pt x="2" y="8"/>
                  </a:lnTo>
                  <a:lnTo>
                    <a:pt x="0" y="0"/>
                  </a:lnTo>
                  <a:lnTo>
                    <a:pt x="8" y="2"/>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20" name="Google Shape;2020;g7826bb8c5e_0_4294"/>
            <p:cNvSpPr/>
            <p:nvPr/>
          </p:nvSpPr>
          <p:spPr>
            <a:xfrm>
              <a:off x="2803548" y="4142941"/>
              <a:ext cx="228832" cy="424609"/>
            </a:xfrm>
            <a:custGeom>
              <a:avLst/>
              <a:gdLst/>
              <a:ahLst/>
              <a:cxnLst/>
              <a:rect l="l" t="t" r="r" b="b"/>
              <a:pathLst>
                <a:path w="440" h="696" extrusionOk="0">
                  <a:moveTo>
                    <a:pt x="432" y="529"/>
                  </a:moveTo>
                  <a:lnTo>
                    <a:pt x="426" y="551"/>
                  </a:lnTo>
                  <a:lnTo>
                    <a:pt x="424" y="582"/>
                  </a:lnTo>
                  <a:lnTo>
                    <a:pt x="430" y="613"/>
                  </a:lnTo>
                  <a:lnTo>
                    <a:pt x="440" y="617"/>
                  </a:lnTo>
                  <a:lnTo>
                    <a:pt x="426" y="649"/>
                  </a:lnTo>
                  <a:lnTo>
                    <a:pt x="426" y="665"/>
                  </a:lnTo>
                  <a:lnTo>
                    <a:pt x="416" y="679"/>
                  </a:lnTo>
                  <a:lnTo>
                    <a:pt x="405" y="696"/>
                  </a:lnTo>
                  <a:lnTo>
                    <a:pt x="399" y="696"/>
                  </a:lnTo>
                  <a:lnTo>
                    <a:pt x="376" y="679"/>
                  </a:lnTo>
                  <a:lnTo>
                    <a:pt x="362" y="661"/>
                  </a:lnTo>
                  <a:lnTo>
                    <a:pt x="333" y="644"/>
                  </a:lnTo>
                  <a:lnTo>
                    <a:pt x="304" y="626"/>
                  </a:lnTo>
                  <a:lnTo>
                    <a:pt x="275" y="611"/>
                  </a:lnTo>
                  <a:lnTo>
                    <a:pt x="246" y="593"/>
                  </a:lnTo>
                  <a:lnTo>
                    <a:pt x="217" y="564"/>
                  </a:lnTo>
                  <a:lnTo>
                    <a:pt x="188" y="537"/>
                  </a:lnTo>
                  <a:lnTo>
                    <a:pt x="190" y="518"/>
                  </a:lnTo>
                  <a:lnTo>
                    <a:pt x="166" y="475"/>
                  </a:lnTo>
                  <a:lnTo>
                    <a:pt x="145" y="434"/>
                  </a:lnTo>
                  <a:lnTo>
                    <a:pt x="130" y="407"/>
                  </a:lnTo>
                  <a:lnTo>
                    <a:pt x="114" y="382"/>
                  </a:lnTo>
                  <a:lnTo>
                    <a:pt x="99" y="353"/>
                  </a:lnTo>
                  <a:lnTo>
                    <a:pt x="85" y="326"/>
                  </a:lnTo>
                  <a:lnTo>
                    <a:pt x="71" y="297"/>
                  </a:lnTo>
                  <a:lnTo>
                    <a:pt x="56" y="269"/>
                  </a:lnTo>
                  <a:lnTo>
                    <a:pt x="33" y="250"/>
                  </a:lnTo>
                  <a:lnTo>
                    <a:pt x="9" y="231"/>
                  </a:lnTo>
                  <a:lnTo>
                    <a:pt x="11" y="221"/>
                  </a:lnTo>
                  <a:lnTo>
                    <a:pt x="0" y="171"/>
                  </a:lnTo>
                  <a:lnTo>
                    <a:pt x="15" y="149"/>
                  </a:lnTo>
                  <a:lnTo>
                    <a:pt x="31" y="126"/>
                  </a:lnTo>
                  <a:lnTo>
                    <a:pt x="35" y="149"/>
                  </a:lnTo>
                  <a:lnTo>
                    <a:pt x="27" y="165"/>
                  </a:lnTo>
                  <a:lnTo>
                    <a:pt x="38" y="161"/>
                  </a:lnTo>
                  <a:lnTo>
                    <a:pt x="75" y="188"/>
                  </a:lnTo>
                  <a:lnTo>
                    <a:pt x="85" y="174"/>
                  </a:lnTo>
                  <a:lnTo>
                    <a:pt x="89" y="157"/>
                  </a:lnTo>
                  <a:lnTo>
                    <a:pt x="97" y="143"/>
                  </a:lnTo>
                  <a:lnTo>
                    <a:pt x="102" y="122"/>
                  </a:lnTo>
                  <a:lnTo>
                    <a:pt x="106" y="122"/>
                  </a:lnTo>
                  <a:lnTo>
                    <a:pt x="106" y="128"/>
                  </a:lnTo>
                  <a:lnTo>
                    <a:pt x="112" y="128"/>
                  </a:lnTo>
                  <a:lnTo>
                    <a:pt x="110" y="120"/>
                  </a:lnTo>
                  <a:lnTo>
                    <a:pt x="116" y="112"/>
                  </a:lnTo>
                  <a:lnTo>
                    <a:pt x="137" y="103"/>
                  </a:lnTo>
                  <a:lnTo>
                    <a:pt x="174" y="79"/>
                  </a:lnTo>
                  <a:lnTo>
                    <a:pt x="195" y="35"/>
                  </a:lnTo>
                  <a:lnTo>
                    <a:pt x="201" y="35"/>
                  </a:lnTo>
                  <a:lnTo>
                    <a:pt x="190" y="6"/>
                  </a:lnTo>
                  <a:lnTo>
                    <a:pt x="199" y="2"/>
                  </a:lnTo>
                  <a:lnTo>
                    <a:pt x="201" y="0"/>
                  </a:lnTo>
                  <a:lnTo>
                    <a:pt x="221" y="17"/>
                  </a:lnTo>
                  <a:lnTo>
                    <a:pt x="238" y="37"/>
                  </a:lnTo>
                  <a:lnTo>
                    <a:pt x="265" y="66"/>
                  </a:lnTo>
                  <a:lnTo>
                    <a:pt x="271" y="83"/>
                  </a:lnTo>
                  <a:lnTo>
                    <a:pt x="312" y="85"/>
                  </a:lnTo>
                  <a:lnTo>
                    <a:pt x="339" y="85"/>
                  </a:lnTo>
                  <a:lnTo>
                    <a:pt x="372" y="97"/>
                  </a:lnTo>
                  <a:lnTo>
                    <a:pt x="358" y="143"/>
                  </a:lnTo>
                  <a:lnTo>
                    <a:pt x="380" y="159"/>
                  </a:lnTo>
                  <a:lnTo>
                    <a:pt x="368" y="157"/>
                  </a:lnTo>
                  <a:lnTo>
                    <a:pt x="341" y="165"/>
                  </a:lnTo>
                  <a:lnTo>
                    <a:pt x="314" y="178"/>
                  </a:lnTo>
                  <a:lnTo>
                    <a:pt x="287" y="190"/>
                  </a:lnTo>
                  <a:lnTo>
                    <a:pt x="279" y="219"/>
                  </a:lnTo>
                  <a:lnTo>
                    <a:pt x="269" y="248"/>
                  </a:lnTo>
                  <a:lnTo>
                    <a:pt x="252" y="279"/>
                  </a:lnTo>
                  <a:lnTo>
                    <a:pt x="267" y="308"/>
                  </a:lnTo>
                  <a:lnTo>
                    <a:pt x="283" y="337"/>
                  </a:lnTo>
                  <a:lnTo>
                    <a:pt x="281" y="353"/>
                  </a:lnTo>
                  <a:lnTo>
                    <a:pt x="294" y="357"/>
                  </a:lnTo>
                  <a:lnTo>
                    <a:pt x="314" y="372"/>
                  </a:lnTo>
                  <a:lnTo>
                    <a:pt x="341" y="378"/>
                  </a:lnTo>
                  <a:lnTo>
                    <a:pt x="364" y="361"/>
                  </a:lnTo>
                  <a:lnTo>
                    <a:pt x="366" y="390"/>
                  </a:lnTo>
                  <a:lnTo>
                    <a:pt x="368" y="417"/>
                  </a:lnTo>
                  <a:lnTo>
                    <a:pt x="403" y="415"/>
                  </a:lnTo>
                  <a:lnTo>
                    <a:pt x="420" y="444"/>
                  </a:lnTo>
                  <a:lnTo>
                    <a:pt x="438" y="473"/>
                  </a:lnTo>
                  <a:lnTo>
                    <a:pt x="432" y="483"/>
                  </a:lnTo>
                  <a:lnTo>
                    <a:pt x="432" y="529"/>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21" name="Google Shape;2021;g7826bb8c5e_0_4294"/>
            <p:cNvSpPr/>
            <p:nvPr/>
          </p:nvSpPr>
          <p:spPr>
            <a:xfrm>
              <a:off x="6485198" y="3258223"/>
              <a:ext cx="5085" cy="6827"/>
            </a:xfrm>
            <a:custGeom>
              <a:avLst/>
              <a:gdLst/>
              <a:ahLst/>
              <a:cxnLst/>
              <a:rect l="l" t="t" r="r" b="b"/>
              <a:pathLst>
                <a:path w="9" h="12" extrusionOk="0">
                  <a:moveTo>
                    <a:pt x="9" y="10"/>
                  </a:moveTo>
                  <a:lnTo>
                    <a:pt x="2" y="0"/>
                  </a:lnTo>
                  <a:lnTo>
                    <a:pt x="0" y="12"/>
                  </a:lnTo>
                  <a:lnTo>
                    <a:pt x="9" y="1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22" name="Google Shape;2022;g7826bb8c5e_0_4294"/>
            <p:cNvSpPr/>
            <p:nvPr/>
          </p:nvSpPr>
          <p:spPr>
            <a:xfrm>
              <a:off x="6400022" y="3392024"/>
              <a:ext cx="3814" cy="2730"/>
            </a:xfrm>
            <a:custGeom>
              <a:avLst/>
              <a:gdLst/>
              <a:ahLst/>
              <a:cxnLst/>
              <a:rect l="l" t="t" r="r" b="b"/>
              <a:pathLst>
                <a:path w="8" h="6" extrusionOk="0">
                  <a:moveTo>
                    <a:pt x="6" y="0"/>
                  </a:moveTo>
                  <a:lnTo>
                    <a:pt x="8" y="6"/>
                  </a:lnTo>
                  <a:lnTo>
                    <a:pt x="0" y="6"/>
                  </a:lnTo>
                  <a:lnTo>
                    <a:pt x="6"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23" name="Google Shape;2023;g7826bb8c5e_0_4294"/>
            <p:cNvSpPr/>
            <p:nvPr/>
          </p:nvSpPr>
          <p:spPr>
            <a:xfrm>
              <a:off x="5574957" y="2946934"/>
              <a:ext cx="516144" cy="234832"/>
            </a:xfrm>
            <a:custGeom>
              <a:avLst/>
              <a:gdLst/>
              <a:ahLst/>
              <a:cxnLst/>
              <a:rect l="l" t="t" r="r" b="b"/>
              <a:pathLst>
                <a:path w="993" h="390" extrusionOk="0">
                  <a:moveTo>
                    <a:pt x="622" y="380"/>
                  </a:moveTo>
                  <a:lnTo>
                    <a:pt x="586" y="372"/>
                  </a:lnTo>
                  <a:lnTo>
                    <a:pt x="547" y="365"/>
                  </a:lnTo>
                  <a:lnTo>
                    <a:pt x="535" y="355"/>
                  </a:lnTo>
                  <a:lnTo>
                    <a:pt x="493" y="353"/>
                  </a:lnTo>
                  <a:lnTo>
                    <a:pt x="450" y="351"/>
                  </a:lnTo>
                  <a:lnTo>
                    <a:pt x="407" y="347"/>
                  </a:lnTo>
                  <a:lnTo>
                    <a:pt x="365" y="345"/>
                  </a:lnTo>
                  <a:lnTo>
                    <a:pt x="338" y="316"/>
                  </a:lnTo>
                  <a:lnTo>
                    <a:pt x="310" y="287"/>
                  </a:lnTo>
                  <a:lnTo>
                    <a:pt x="266" y="273"/>
                  </a:lnTo>
                  <a:lnTo>
                    <a:pt x="223" y="260"/>
                  </a:lnTo>
                  <a:lnTo>
                    <a:pt x="186" y="254"/>
                  </a:lnTo>
                  <a:lnTo>
                    <a:pt x="151" y="248"/>
                  </a:lnTo>
                  <a:lnTo>
                    <a:pt x="140" y="217"/>
                  </a:lnTo>
                  <a:lnTo>
                    <a:pt x="128" y="188"/>
                  </a:lnTo>
                  <a:lnTo>
                    <a:pt x="84" y="155"/>
                  </a:lnTo>
                  <a:lnTo>
                    <a:pt x="60" y="151"/>
                  </a:lnTo>
                  <a:lnTo>
                    <a:pt x="16" y="124"/>
                  </a:lnTo>
                  <a:lnTo>
                    <a:pt x="4" y="111"/>
                  </a:lnTo>
                  <a:lnTo>
                    <a:pt x="0" y="105"/>
                  </a:lnTo>
                  <a:lnTo>
                    <a:pt x="16" y="93"/>
                  </a:lnTo>
                  <a:lnTo>
                    <a:pt x="43" y="82"/>
                  </a:lnTo>
                  <a:lnTo>
                    <a:pt x="72" y="64"/>
                  </a:lnTo>
                  <a:lnTo>
                    <a:pt x="101" y="47"/>
                  </a:lnTo>
                  <a:lnTo>
                    <a:pt x="163" y="54"/>
                  </a:lnTo>
                  <a:lnTo>
                    <a:pt x="173" y="66"/>
                  </a:lnTo>
                  <a:lnTo>
                    <a:pt x="217" y="74"/>
                  </a:lnTo>
                  <a:lnTo>
                    <a:pt x="262" y="82"/>
                  </a:lnTo>
                  <a:lnTo>
                    <a:pt x="285" y="64"/>
                  </a:lnTo>
                  <a:lnTo>
                    <a:pt x="256" y="39"/>
                  </a:lnTo>
                  <a:lnTo>
                    <a:pt x="264" y="0"/>
                  </a:lnTo>
                  <a:lnTo>
                    <a:pt x="314" y="12"/>
                  </a:lnTo>
                  <a:lnTo>
                    <a:pt x="367" y="23"/>
                  </a:lnTo>
                  <a:lnTo>
                    <a:pt x="388" y="45"/>
                  </a:lnTo>
                  <a:lnTo>
                    <a:pt x="434" y="68"/>
                  </a:lnTo>
                  <a:lnTo>
                    <a:pt x="485" y="58"/>
                  </a:lnTo>
                  <a:lnTo>
                    <a:pt x="526" y="66"/>
                  </a:lnTo>
                  <a:lnTo>
                    <a:pt x="568" y="76"/>
                  </a:lnTo>
                  <a:lnTo>
                    <a:pt x="584" y="89"/>
                  </a:lnTo>
                  <a:lnTo>
                    <a:pt x="646" y="105"/>
                  </a:lnTo>
                  <a:lnTo>
                    <a:pt x="681" y="99"/>
                  </a:lnTo>
                  <a:lnTo>
                    <a:pt x="716" y="91"/>
                  </a:lnTo>
                  <a:lnTo>
                    <a:pt x="748" y="66"/>
                  </a:lnTo>
                  <a:lnTo>
                    <a:pt x="805" y="78"/>
                  </a:lnTo>
                  <a:lnTo>
                    <a:pt x="834" y="82"/>
                  </a:lnTo>
                  <a:lnTo>
                    <a:pt x="838" y="111"/>
                  </a:lnTo>
                  <a:lnTo>
                    <a:pt x="842" y="140"/>
                  </a:lnTo>
                  <a:lnTo>
                    <a:pt x="834" y="142"/>
                  </a:lnTo>
                  <a:lnTo>
                    <a:pt x="859" y="157"/>
                  </a:lnTo>
                  <a:lnTo>
                    <a:pt x="890" y="155"/>
                  </a:lnTo>
                  <a:lnTo>
                    <a:pt x="902" y="163"/>
                  </a:lnTo>
                  <a:lnTo>
                    <a:pt x="917" y="147"/>
                  </a:lnTo>
                  <a:lnTo>
                    <a:pt x="983" y="182"/>
                  </a:lnTo>
                  <a:lnTo>
                    <a:pt x="993" y="202"/>
                  </a:lnTo>
                  <a:lnTo>
                    <a:pt x="940" y="200"/>
                  </a:lnTo>
                  <a:lnTo>
                    <a:pt x="905" y="217"/>
                  </a:lnTo>
                  <a:lnTo>
                    <a:pt x="900" y="242"/>
                  </a:lnTo>
                  <a:lnTo>
                    <a:pt x="869" y="252"/>
                  </a:lnTo>
                  <a:lnTo>
                    <a:pt x="840" y="268"/>
                  </a:lnTo>
                  <a:lnTo>
                    <a:pt x="795" y="256"/>
                  </a:lnTo>
                  <a:lnTo>
                    <a:pt x="801" y="291"/>
                  </a:lnTo>
                  <a:lnTo>
                    <a:pt x="820" y="310"/>
                  </a:lnTo>
                  <a:lnTo>
                    <a:pt x="793" y="334"/>
                  </a:lnTo>
                  <a:lnTo>
                    <a:pt x="766" y="357"/>
                  </a:lnTo>
                  <a:lnTo>
                    <a:pt x="729" y="359"/>
                  </a:lnTo>
                  <a:lnTo>
                    <a:pt x="692" y="363"/>
                  </a:lnTo>
                  <a:lnTo>
                    <a:pt x="669" y="376"/>
                  </a:lnTo>
                  <a:lnTo>
                    <a:pt x="648" y="390"/>
                  </a:lnTo>
                  <a:lnTo>
                    <a:pt x="622" y="38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24" name="Google Shape;2024;g7826bb8c5e_0_4294"/>
            <p:cNvSpPr/>
            <p:nvPr/>
          </p:nvSpPr>
          <p:spPr>
            <a:xfrm>
              <a:off x="4851593" y="3128520"/>
              <a:ext cx="130944" cy="55976"/>
            </a:xfrm>
            <a:custGeom>
              <a:avLst/>
              <a:gdLst/>
              <a:ahLst/>
              <a:cxnLst/>
              <a:rect l="l" t="t" r="r" b="b"/>
              <a:pathLst>
                <a:path w="254" h="95" extrusionOk="0">
                  <a:moveTo>
                    <a:pt x="51" y="33"/>
                  </a:moveTo>
                  <a:lnTo>
                    <a:pt x="0" y="2"/>
                  </a:lnTo>
                  <a:lnTo>
                    <a:pt x="2" y="0"/>
                  </a:lnTo>
                  <a:lnTo>
                    <a:pt x="37" y="2"/>
                  </a:lnTo>
                  <a:lnTo>
                    <a:pt x="70" y="4"/>
                  </a:lnTo>
                  <a:lnTo>
                    <a:pt x="116" y="23"/>
                  </a:lnTo>
                  <a:lnTo>
                    <a:pt x="163" y="40"/>
                  </a:lnTo>
                  <a:lnTo>
                    <a:pt x="208" y="58"/>
                  </a:lnTo>
                  <a:lnTo>
                    <a:pt x="254" y="77"/>
                  </a:lnTo>
                  <a:lnTo>
                    <a:pt x="244" y="95"/>
                  </a:lnTo>
                  <a:lnTo>
                    <a:pt x="213" y="91"/>
                  </a:lnTo>
                  <a:lnTo>
                    <a:pt x="169" y="91"/>
                  </a:lnTo>
                  <a:lnTo>
                    <a:pt x="124" y="89"/>
                  </a:lnTo>
                  <a:lnTo>
                    <a:pt x="84" y="93"/>
                  </a:lnTo>
                  <a:lnTo>
                    <a:pt x="82" y="64"/>
                  </a:lnTo>
                  <a:lnTo>
                    <a:pt x="51" y="33"/>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25" name="Google Shape;2025;g7826bb8c5e_0_4294"/>
            <p:cNvSpPr/>
            <p:nvPr/>
          </p:nvSpPr>
          <p:spPr>
            <a:xfrm>
              <a:off x="5355023" y="3140807"/>
              <a:ext cx="156369" cy="92840"/>
            </a:xfrm>
            <a:custGeom>
              <a:avLst/>
              <a:gdLst/>
              <a:ahLst/>
              <a:cxnLst/>
              <a:rect l="l" t="t" r="r" b="b"/>
              <a:pathLst>
                <a:path w="300" h="153" extrusionOk="0">
                  <a:moveTo>
                    <a:pt x="98" y="89"/>
                  </a:moveTo>
                  <a:lnTo>
                    <a:pt x="65" y="68"/>
                  </a:lnTo>
                  <a:lnTo>
                    <a:pt x="23" y="64"/>
                  </a:lnTo>
                  <a:lnTo>
                    <a:pt x="0" y="37"/>
                  </a:lnTo>
                  <a:lnTo>
                    <a:pt x="19" y="19"/>
                  </a:lnTo>
                  <a:lnTo>
                    <a:pt x="52" y="23"/>
                  </a:lnTo>
                  <a:lnTo>
                    <a:pt x="85" y="29"/>
                  </a:lnTo>
                  <a:lnTo>
                    <a:pt x="100" y="8"/>
                  </a:lnTo>
                  <a:lnTo>
                    <a:pt x="129" y="10"/>
                  </a:lnTo>
                  <a:lnTo>
                    <a:pt x="172" y="10"/>
                  </a:lnTo>
                  <a:lnTo>
                    <a:pt x="213" y="6"/>
                  </a:lnTo>
                  <a:lnTo>
                    <a:pt x="254" y="0"/>
                  </a:lnTo>
                  <a:lnTo>
                    <a:pt x="292" y="25"/>
                  </a:lnTo>
                  <a:lnTo>
                    <a:pt x="300" y="43"/>
                  </a:lnTo>
                  <a:lnTo>
                    <a:pt x="277" y="62"/>
                  </a:lnTo>
                  <a:lnTo>
                    <a:pt x="254" y="81"/>
                  </a:lnTo>
                  <a:lnTo>
                    <a:pt x="221" y="89"/>
                  </a:lnTo>
                  <a:lnTo>
                    <a:pt x="199" y="114"/>
                  </a:lnTo>
                  <a:lnTo>
                    <a:pt x="182" y="111"/>
                  </a:lnTo>
                  <a:lnTo>
                    <a:pt x="166" y="111"/>
                  </a:lnTo>
                  <a:lnTo>
                    <a:pt x="145" y="124"/>
                  </a:lnTo>
                  <a:lnTo>
                    <a:pt x="133" y="153"/>
                  </a:lnTo>
                  <a:lnTo>
                    <a:pt x="79" y="145"/>
                  </a:lnTo>
                  <a:lnTo>
                    <a:pt x="25" y="140"/>
                  </a:lnTo>
                  <a:lnTo>
                    <a:pt x="23" y="114"/>
                  </a:lnTo>
                  <a:lnTo>
                    <a:pt x="62" y="103"/>
                  </a:lnTo>
                  <a:lnTo>
                    <a:pt x="98" y="89"/>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26" name="Google Shape;2026;g7826bb8c5e_0_4294"/>
            <p:cNvSpPr/>
            <p:nvPr/>
          </p:nvSpPr>
          <p:spPr>
            <a:xfrm>
              <a:off x="5063899" y="3153096"/>
              <a:ext cx="239003" cy="174758"/>
            </a:xfrm>
            <a:custGeom>
              <a:avLst/>
              <a:gdLst/>
              <a:ahLst/>
              <a:cxnLst/>
              <a:rect l="l" t="t" r="r" b="b"/>
              <a:pathLst>
                <a:path w="460" h="287" extrusionOk="0">
                  <a:moveTo>
                    <a:pt x="436" y="223"/>
                  </a:moveTo>
                  <a:lnTo>
                    <a:pt x="425" y="252"/>
                  </a:lnTo>
                  <a:lnTo>
                    <a:pt x="396" y="268"/>
                  </a:lnTo>
                  <a:lnTo>
                    <a:pt x="386" y="287"/>
                  </a:lnTo>
                  <a:lnTo>
                    <a:pt x="367" y="283"/>
                  </a:lnTo>
                  <a:lnTo>
                    <a:pt x="338" y="274"/>
                  </a:lnTo>
                  <a:lnTo>
                    <a:pt x="324" y="235"/>
                  </a:lnTo>
                  <a:lnTo>
                    <a:pt x="297" y="231"/>
                  </a:lnTo>
                  <a:lnTo>
                    <a:pt x="270" y="214"/>
                  </a:lnTo>
                  <a:lnTo>
                    <a:pt x="243" y="196"/>
                  </a:lnTo>
                  <a:lnTo>
                    <a:pt x="190" y="177"/>
                  </a:lnTo>
                  <a:lnTo>
                    <a:pt x="161" y="181"/>
                  </a:lnTo>
                  <a:lnTo>
                    <a:pt x="124" y="185"/>
                  </a:lnTo>
                  <a:lnTo>
                    <a:pt x="101" y="208"/>
                  </a:lnTo>
                  <a:lnTo>
                    <a:pt x="91" y="208"/>
                  </a:lnTo>
                  <a:lnTo>
                    <a:pt x="82" y="177"/>
                  </a:lnTo>
                  <a:lnTo>
                    <a:pt x="74" y="144"/>
                  </a:lnTo>
                  <a:lnTo>
                    <a:pt x="55" y="132"/>
                  </a:lnTo>
                  <a:lnTo>
                    <a:pt x="53" y="134"/>
                  </a:lnTo>
                  <a:lnTo>
                    <a:pt x="58" y="124"/>
                  </a:lnTo>
                  <a:lnTo>
                    <a:pt x="64" y="122"/>
                  </a:lnTo>
                  <a:lnTo>
                    <a:pt x="55" y="107"/>
                  </a:lnTo>
                  <a:lnTo>
                    <a:pt x="41" y="111"/>
                  </a:lnTo>
                  <a:lnTo>
                    <a:pt x="41" y="113"/>
                  </a:lnTo>
                  <a:lnTo>
                    <a:pt x="31" y="74"/>
                  </a:lnTo>
                  <a:lnTo>
                    <a:pt x="35" y="72"/>
                  </a:lnTo>
                  <a:lnTo>
                    <a:pt x="53" y="74"/>
                  </a:lnTo>
                  <a:lnTo>
                    <a:pt x="68" y="84"/>
                  </a:lnTo>
                  <a:lnTo>
                    <a:pt x="78" y="80"/>
                  </a:lnTo>
                  <a:lnTo>
                    <a:pt x="80" y="76"/>
                  </a:lnTo>
                  <a:lnTo>
                    <a:pt x="84" y="64"/>
                  </a:lnTo>
                  <a:lnTo>
                    <a:pt x="53" y="33"/>
                  </a:lnTo>
                  <a:lnTo>
                    <a:pt x="27" y="31"/>
                  </a:lnTo>
                  <a:lnTo>
                    <a:pt x="27" y="60"/>
                  </a:lnTo>
                  <a:lnTo>
                    <a:pt x="27" y="64"/>
                  </a:lnTo>
                  <a:lnTo>
                    <a:pt x="8" y="26"/>
                  </a:lnTo>
                  <a:lnTo>
                    <a:pt x="8" y="8"/>
                  </a:lnTo>
                  <a:lnTo>
                    <a:pt x="0" y="0"/>
                  </a:lnTo>
                  <a:lnTo>
                    <a:pt x="55" y="0"/>
                  </a:lnTo>
                  <a:lnTo>
                    <a:pt x="51" y="27"/>
                  </a:lnTo>
                  <a:lnTo>
                    <a:pt x="86" y="37"/>
                  </a:lnTo>
                  <a:lnTo>
                    <a:pt x="122" y="49"/>
                  </a:lnTo>
                  <a:lnTo>
                    <a:pt x="165" y="59"/>
                  </a:lnTo>
                  <a:lnTo>
                    <a:pt x="159" y="37"/>
                  </a:lnTo>
                  <a:lnTo>
                    <a:pt x="175" y="29"/>
                  </a:lnTo>
                  <a:lnTo>
                    <a:pt x="200" y="0"/>
                  </a:lnTo>
                  <a:lnTo>
                    <a:pt x="239" y="29"/>
                  </a:lnTo>
                  <a:lnTo>
                    <a:pt x="264" y="68"/>
                  </a:lnTo>
                  <a:lnTo>
                    <a:pt x="307" y="84"/>
                  </a:lnTo>
                  <a:lnTo>
                    <a:pt x="332" y="97"/>
                  </a:lnTo>
                  <a:lnTo>
                    <a:pt x="386" y="130"/>
                  </a:lnTo>
                  <a:lnTo>
                    <a:pt x="438" y="165"/>
                  </a:lnTo>
                  <a:lnTo>
                    <a:pt x="460" y="202"/>
                  </a:lnTo>
                  <a:lnTo>
                    <a:pt x="448" y="212"/>
                  </a:lnTo>
                  <a:lnTo>
                    <a:pt x="436" y="223"/>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27" name="Google Shape;2027;g7826bb8c5e_0_4294"/>
            <p:cNvSpPr/>
            <p:nvPr/>
          </p:nvSpPr>
          <p:spPr>
            <a:xfrm>
              <a:off x="5235523" y="3255493"/>
              <a:ext cx="221205" cy="207526"/>
            </a:xfrm>
            <a:custGeom>
              <a:avLst/>
              <a:gdLst/>
              <a:ahLst/>
              <a:cxnLst/>
              <a:rect l="l" t="t" r="r" b="b"/>
              <a:pathLst>
                <a:path w="422" h="343" extrusionOk="0">
                  <a:moveTo>
                    <a:pt x="4" y="149"/>
                  </a:moveTo>
                  <a:lnTo>
                    <a:pt x="0" y="155"/>
                  </a:lnTo>
                  <a:lnTo>
                    <a:pt x="0" y="175"/>
                  </a:lnTo>
                  <a:lnTo>
                    <a:pt x="13" y="184"/>
                  </a:lnTo>
                  <a:lnTo>
                    <a:pt x="10" y="192"/>
                  </a:lnTo>
                  <a:lnTo>
                    <a:pt x="17" y="225"/>
                  </a:lnTo>
                  <a:lnTo>
                    <a:pt x="23" y="256"/>
                  </a:lnTo>
                  <a:lnTo>
                    <a:pt x="54" y="268"/>
                  </a:lnTo>
                  <a:lnTo>
                    <a:pt x="62" y="281"/>
                  </a:lnTo>
                  <a:lnTo>
                    <a:pt x="39" y="326"/>
                  </a:lnTo>
                  <a:lnTo>
                    <a:pt x="66" y="334"/>
                  </a:lnTo>
                  <a:lnTo>
                    <a:pt x="93" y="343"/>
                  </a:lnTo>
                  <a:lnTo>
                    <a:pt x="141" y="341"/>
                  </a:lnTo>
                  <a:lnTo>
                    <a:pt x="176" y="334"/>
                  </a:lnTo>
                  <a:lnTo>
                    <a:pt x="211" y="326"/>
                  </a:lnTo>
                  <a:lnTo>
                    <a:pt x="211" y="308"/>
                  </a:lnTo>
                  <a:lnTo>
                    <a:pt x="217" y="279"/>
                  </a:lnTo>
                  <a:lnTo>
                    <a:pt x="248" y="266"/>
                  </a:lnTo>
                  <a:lnTo>
                    <a:pt x="256" y="256"/>
                  </a:lnTo>
                  <a:lnTo>
                    <a:pt x="287" y="258"/>
                  </a:lnTo>
                  <a:lnTo>
                    <a:pt x="291" y="215"/>
                  </a:lnTo>
                  <a:lnTo>
                    <a:pt x="316" y="194"/>
                  </a:lnTo>
                  <a:lnTo>
                    <a:pt x="296" y="173"/>
                  </a:lnTo>
                  <a:lnTo>
                    <a:pt x="325" y="171"/>
                  </a:lnTo>
                  <a:lnTo>
                    <a:pt x="331" y="153"/>
                  </a:lnTo>
                  <a:lnTo>
                    <a:pt x="339" y="126"/>
                  </a:lnTo>
                  <a:lnTo>
                    <a:pt x="322" y="93"/>
                  </a:lnTo>
                  <a:lnTo>
                    <a:pt x="339" y="70"/>
                  </a:lnTo>
                  <a:lnTo>
                    <a:pt x="376" y="62"/>
                  </a:lnTo>
                  <a:lnTo>
                    <a:pt x="415" y="52"/>
                  </a:lnTo>
                  <a:lnTo>
                    <a:pt x="413" y="45"/>
                  </a:lnTo>
                  <a:lnTo>
                    <a:pt x="422" y="45"/>
                  </a:lnTo>
                  <a:lnTo>
                    <a:pt x="395" y="43"/>
                  </a:lnTo>
                  <a:lnTo>
                    <a:pt x="386" y="41"/>
                  </a:lnTo>
                  <a:lnTo>
                    <a:pt x="362" y="43"/>
                  </a:lnTo>
                  <a:lnTo>
                    <a:pt x="322" y="62"/>
                  </a:lnTo>
                  <a:lnTo>
                    <a:pt x="310" y="18"/>
                  </a:lnTo>
                  <a:lnTo>
                    <a:pt x="300" y="18"/>
                  </a:lnTo>
                  <a:lnTo>
                    <a:pt x="293" y="0"/>
                  </a:lnTo>
                  <a:lnTo>
                    <a:pt x="277" y="6"/>
                  </a:lnTo>
                  <a:lnTo>
                    <a:pt x="273" y="29"/>
                  </a:lnTo>
                  <a:lnTo>
                    <a:pt x="248" y="41"/>
                  </a:lnTo>
                  <a:lnTo>
                    <a:pt x="242" y="49"/>
                  </a:lnTo>
                  <a:lnTo>
                    <a:pt x="221" y="49"/>
                  </a:lnTo>
                  <a:lnTo>
                    <a:pt x="203" y="52"/>
                  </a:lnTo>
                  <a:lnTo>
                    <a:pt x="194" y="45"/>
                  </a:lnTo>
                  <a:lnTo>
                    <a:pt x="163" y="39"/>
                  </a:lnTo>
                  <a:lnTo>
                    <a:pt x="132" y="35"/>
                  </a:lnTo>
                  <a:lnTo>
                    <a:pt x="120" y="45"/>
                  </a:lnTo>
                  <a:lnTo>
                    <a:pt x="108" y="56"/>
                  </a:lnTo>
                  <a:lnTo>
                    <a:pt x="97" y="85"/>
                  </a:lnTo>
                  <a:lnTo>
                    <a:pt x="68" y="101"/>
                  </a:lnTo>
                  <a:lnTo>
                    <a:pt x="58" y="120"/>
                  </a:lnTo>
                  <a:lnTo>
                    <a:pt x="39" y="116"/>
                  </a:lnTo>
                  <a:lnTo>
                    <a:pt x="10" y="107"/>
                  </a:lnTo>
                  <a:lnTo>
                    <a:pt x="4" y="149"/>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cxnSp>
          <p:nvCxnSpPr>
            <p:cNvPr id="2028" name="Google Shape;2028;g7826bb8c5e_0_4294"/>
            <p:cNvCxnSpPr/>
            <p:nvPr/>
          </p:nvCxnSpPr>
          <p:spPr>
            <a:xfrm>
              <a:off x="5442742" y="3290991"/>
              <a:ext cx="6300" cy="1500"/>
            </a:xfrm>
            <a:prstGeom prst="straightConnector1">
              <a:avLst/>
            </a:prstGeom>
            <a:noFill/>
            <a:ln w="9525" cap="flat" cmpd="sng">
              <a:solidFill>
                <a:srgbClr val="E7E6E6"/>
              </a:solidFill>
              <a:prstDash val="solid"/>
              <a:round/>
              <a:headEnd type="none" w="sm" len="sm"/>
              <a:tailEnd type="none" w="sm" len="sm"/>
            </a:ln>
          </p:spPr>
        </p:cxnSp>
        <p:cxnSp>
          <p:nvCxnSpPr>
            <p:cNvPr id="2029" name="Google Shape;2029;g7826bb8c5e_0_4294"/>
            <p:cNvCxnSpPr/>
            <p:nvPr/>
          </p:nvCxnSpPr>
          <p:spPr>
            <a:xfrm>
              <a:off x="5446555" y="3290991"/>
              <a:ext cx="2400" cy="4200"/>
            </a:xfrm>
            <a:prstGeom prst="straightConnector1">
              <a:avLst/>
            </a:prstGeom>
            <a:noFill/>
            <a:ln w="9525" cap="flat" cmpd="sng">
              <a:solidFill>
                <a:srgbClr val="E7E6E6"/>
              </a:solidFill>
              <a:prstDash val="solid"/>
              <a:round/>
              <a:headEnd type="none" w="sm" len="sm"/>
              <a:tailEnd type="none" w="sm" len="sm"/>
            </a:ln>
          </p:spPr>
        </p:cxnSp>
        <p:cxnSp>
          <p:nvCxnSpPr>
            <p:cNvPr id="2030" name="Google Shape;2030;g7826bb8c5e_0_4294"/>
            <p:cNvCxnSpPr/>
            <p:nvPr/>
          </p:nvCxnSpPr>
          <p:spPr>
            <a:xfrm flipH="1">
              <a:off x="5442655" y="3295087"/>
              <a:ext cx="3900" cy="4200"/>
            </a:xfrm>
            <a:prstGeom prst="straightConnector1">
              <a:avLst/>
            </a:prstGeom>
            <a:noFill/>
            <a:ln w="9525" cap="flat" cmpd="sng">
              <a:solidFill>
                <a:srgbClr val="E7E6E6"/>
              </a:solidFill>
              <a:prstDash val="solid"/>
              <a:round/>
              <a:headEnd type="none" w="sm" len="sm"/>
              <a:tailEnd type="none" w="sm" len="sm"/>
            </a:ln>
          </p:spPr>
        </p:cxnSp>
        <p:cxnSp>
          <p:nvCxnSpPr>
            <p:cNvPr id="2031" name="Google Shape;2031;g7826bb8c5e_0_4294"/>
            <p:cNvCxnSpPr/>
            <p:nvPr/>
          </p:nvCxnSpPr>
          <p:spPr>
            <a:xfrm flipH="1">
              <a:off x="5437642" y="3296452"/>
              <a:ext cx="5100" cy="5400"/>
            </a:xfrm>
            <a:prstGeom prst="straightConnector1">
              <a:avLst/>
            </a:prstGeom>
            <a:noFill/>
            <a:ln w="9525" cap="flat" cmpd="sng">
              <a:solidFill>
                <a:srgbClr val="E7E6E6"/>
              </a:solidFill>
              <a:prstDash val="solid"/>
              <a:round/>
              <a:headEnd type="none" w="sm" len="sm"/>
              <a:tailEnd type="none" w="sm" len="sm"/>
            </a:ln>
          </p:spPr>
        </p:cxnSp>
        <p:cxnSp>
          <p:nvCxnSpPr>
            <p:cNvPr id="2032" name="Google Shape;2032;g7826bb8c5e_0_4294"/>
            <p:cNvCxnSpPr/>
            <p:nvPr/>
          </p:nvCxnSpPr>
          <p:spPr>
            <a:xfrm flipH="1">
              <a:off x="5433828" y="3300548"/>
              <a:ext cx="5100" cy="4200"/>
            </a:xfrm>
            <a:prstGeom prst="straightConnector1">
              <a:avLst/>
            </a:prstGeom>
            <a:noFill/>
            <a:ln w="9525" cap="flat" cmpd="sng">
              <a:solidFill>
                <a:srgbClr val="E7E6E6"/>
              </a:solidFill>
              <a:prstDash val="solid"/>
              <a:round/>
              <a:headEnd type="none" w="sm" len="sm"/>
              <a:tailEnd type="none" w="sm" len="sm"/>
            </a:ln>
          </p:spPr>
        </p:cxnSp>
        <p:cxnSp>
          <p:nvCxnSpPr>
            <p:cNvPr id="2033" name="Google Shape;2033;g7826bb8c5e_0_4294"/>
            <p:cNvCxnSpPr/>
            <p:nvPr/>
          </p:nvCxnSpPr>
          <p:spPr>
            <a:xfrm flipH="1">
              <a:off x="5431215" y="3303278"/>
              <a:ext cx="3900" cy="6900"/>
            </a:xfrm>
            <a:prstGeom prst="straightConnector1">
              <a:avLst/>
            </a:prstGeom>
            <a:noFill/>
            <a:ln w="9525" cap="flat" cmpd="sng">
              <a:solidFill>
                <a:srgbClr val="E7E6E6"/>
              </a:solidFill>
              <a:prstDash val="solid"/>
              <a:round/>
              <a:headEnd type="none" w="sm" len="sm"/>
              <a:tailEnd type="none" w="sm" len="sm"/>
            </a:ln>
          </p:spPr>
        </p:cxnSp>
        <p:cxnSp>
          <p:nvCxnSpPr>
            <p:cNvPr id="2034" name="Google Shape;2034;g7826bb8c5e_0_4294"/>
            <p:cNvCxnSpPr/>
            <p:nvPr/>
          </p:nvCxnSpPr>
          <p:spPr>
            <a:xfrm flipH="1">
              <a:off x="5431373" y="3308740"/>
              <a:ext cx="1200" cy="9600"/>
            </a:xfrm>
            <a:prstGeom prst="straightConnector1">
              <a:avLst/>
            </a:prstGeom>
            <a:noFill/>
            <a:ln w="9525" cap="flat" cmpd="sng">
              <a:solidFill>
                <a:srgbClr val="E7E6E6"/>
              </a:solidFill>
              <a:prstDash val="solid"/>
              <a:round/>
              <a:headEnd type="none" w="sm" len="sm"/>
              <a:tailEnd type="none" w="sm" len="sm"/>
            </a:ln>
          </p:spPr>
        </p:cxnSp>
        <p:cxnSp>
          <p:nvCxnSpPr>
            <p:cNvPr id="2035" name="Google Shape;2035;g7826bb8c5e_0_4294"/>
            <p:cNvCxnSpPr/>
            <p:nvPr/>
          </p:nvCxnSpPr>
          <p:spPr>
            <a:xfrm>
              <a:off x="5431301" y="3316931"/>
              <a:ext cx="1200" cy="6900"/>
            </a:xfrm>
            <a:prstGeom prst="straightConnector1">
              <a:avLst/>
            </a:prstGeom>
            <a:noFill/>
            <a:ln w="9525" cap="flat" cmpd="sng">
              <a:solidFill>
                <a:srgbClr val="E7E6E6"/>
              </a:solidFill>
              <a:prstDash val="solid"/>
              <a:round/>
              <a:headEnd type="none" w="sm" len="sm"/>
              <a:tailEnd type="none" w="sm" len="sm"/>
            </a:ln>
          </p:spPr>
        </p:cxnSp>
        <p:cxnSp>
          <p:nvCxnSpPr>
            <p:cNvPr id="2036" name="Google Shape;2036;g7826bb8c5e_0_4294"/>
            <p:cNvCxnSpPr/>
            <p:nvPr/>
          </p:nvCxnSpPr>
          <p:spPr>
            <a:xfrm>
              <a:off x="5441471" y="3342872"/>
              <a:ext cx="1200" cy="1500"/>
            </a:xfrm>
            <a:prstGeom prst="straightConnector1">
              <a:avLst/>
            </a:prstGeom>
            <a:noFill/>
            <a:ln w="9525" cap="flat" cmpd="sng">
              <a:solidFill>
                <a:srgbClr val="E7E6E6"/>
              </a:solidFill>
              <a:prstDash val="solid"/>
              <a:round/>
              <a:headEnd type="none" w="sm" len="sm"/>
              <a:tailEnd type="none" w="sm" len="sm"/>
            </a:ln>
          </p:spPr>
        </p:cxnSp>
        <p:cxnSp>
          <p:nvCxnSpPr>
            <p:cNvPr id="2037" name="Google Shape;2037;g7826bb8c5e_0_4294"/>
            <p:cNvCxnSpPr/>
            <p:nvPr/>
          </p:nvCxnSpPr>
          <p:spPr>
            <a:xfrm>
              <a:off x="5441471" y="3341507"/>
              <a:ext cx="1200" cy="10800"/>
            </a:xfrm>
            <a:prstGeom prst="straightConnector1">
              <a:avLst/>
            </a:prstGeom>
            <a:noFill/>
            <a:ln w="9525" cap="flat" cmpd="sng">
              <a:solidFill>
                <a:srgbClr val="E7E6E6"/>
              </a:solidFill>
              <a:prstDash val="solid"/>
              <a:round/>
              <a:headEnd type="none" w="sm" len="sm"/>
              <a:tailEnd type="none" w="sm" len="sm"/>
            </a:ln>
          </p:spPr>
        </p:cxnSp>
        <p:cxnSp>
          <p:nvCxnSpPr>
            <p:cNvPr id="2038" name="Google Shape;2038;g7826bb8c5e_0_4294"/>
            <p:cNvCxnSpPr/>
            <p:nvPr/>
          </p:nvCxnSpPr>
          <p:spPr>
            <a:xfrm>
              <a:off x="5442742" y="3351065"/>
              <a:ext cx="6300" cy="9600"/>
            </a:xfrm>
            <a:prstGeom prst="straightConnector1">
              <a:avLst/>
            </a:prstGeom>
            <a:noFill/>
            <a:ln w="9525" cap="flat" cmpd="sng">
              <a:solidFill>
                <a:srgbClr val="E7E6E6"/>
              </a:solidFill>
              <a:prstDash val="solid"/>
              <a:round/>
              <a:headEnd type="none" w="sm" len="sm"/>
              <a:tailEnd type="none" w="sm" len="sm"/>
            </a:ln>
          </p:spPr>
        </p:cxnSp>
        <p:cxnSp>
          <p:nvCxnSpPr>
            <p:cNvPr id="2039" name="Google Shape;2039;g7826bb8c5e_0_4294"/>
            <p:cNvCxnSpPr/>
            <p:nvPr/>
          </p:nvCxnSpPr>
          <p:spPr>
            <a:xfrm>
              <a:off x="5449099" y="3359256"/>
              <a:ext cx="9000" cy="2700"/>
            </a:xfrm>
            <a:prstGeom prst="straightConnector1">
              <a:avLst/>
            </a:prstGeom>
            <a:noFill/>
            <a:ln w="9525" cap="flat" cmpd="sng">
              <a:solidFill>
                <a:srgbClr val="E7E6E6"/>
              </a:solidFill>
              <a:prstDash val="solid"/>
              <a:round/>
              <a:headEnd type="none" w="sm" len="sm"/>
              <a:tailEnd type="none" w="sm" len="sm"/>
            </a:ln>
          </p:spPr>
        </p:cxnSp>
        <p:cxnSp>
          <p:nvCxnSpPr>
            <p:cNvPr id="2040" name="Google Shape;2040;g7826bb8c5e_0_4294"/>
            <p:cNvCxnSpPr/>
            <p:nvPr/>
          </p:nvCxnSpPr>
          <p:spPr>
            <a:xfrm>
              <a:off x="5456726" y="3361986"/>
              <a:ext cx="1200" cy="9600"/>
            </a:xfrm>
            <a:prstGeom prst="straightConnector1">
              <a:avLst/>
            </a:prstGeom>
            <a:noFill/>
            <a:ln w="9525" cap="flat" cmpd="sng">
              <a:solidFill>
                <a:srgbClr val="E7E6E6"/>
              </a:solidFill>
              <a:prstDash val="solid"/>
              <a:round/>
              <a:headEnd type="none" w="sm" len="sm"/>
              <a:tailEnd type="none" w="sm" len="sm"/>
            </a:ln>
          </p:spPr>
        </p:cxnSp>
        <p:cxnSp>
          <p:nvCxnSpPr>
            <p:cNvPr id="2041" name="Google Shape;2041;g7826bb8c5e_0_4294"/>
            <p:cNvCxnSpPr/>
            <p:nvPr/>
          </p:nvCxnSpPr>
          <p:spPr>
            <a:xfrm>
              <a:off x="5456726" y="3370178"/>
              <a:ext cx="1200" cy="5400"/>
            </a:xfrm>
            <a:prstGeom prst="straightConnector1">
              <a:avLst/>
            </a:prstGeom>
            <a:noFill/>
            <a:ln w="9525" cap="flat" cmpd="sng">
              <a:solidFill>
                <a:srgbClr val="E7E6E6"/>
              </a:solidFill>
              <a:prstDash val="solid"/>
              <a:round/>
              <a:headEnd type="none" w="sm" len="sm"/>
              <a:tailEnd type="none" w="sm" len="sm"/>
            </a:ln>
          </p:spPr>
        </p:cxnSp>
        <p:cxnSp>
          <p:nvCxnSpPr>
            <p:cNvPr id="2042" name="Google Shape;2042;g7826bb8c5e_0_4294"/>
            <p:cNvCxnSpPr/>
            <p:nvPr/>
          </p:nvCxnSpPr>
          <p:spPr>
            <a:xfrm>
              <a:off x="5457998" y="3374275"/>
              <a:ext cx="1200" cy="2700"/>
            </a:xfrm>
            <a:prstGeom prst="straightConnector1">
              <a:avLst/>
            </a:prstGeom>
            <a:noFill/>
            <a:ln w="9525" cap="flat" cmpd="sng">
              <a:solidFill>
                <a:srgbClr val="E7E6E6"/>
              </a:solidFill>
              <a:prstDash val="solid"/>
              <a:round/>
              <a:headEnd type="none" w="sm" len="sm"/>
              <a:tailEnd type="none" w="sm" len="sm"/>
            </a:ln>
          </p:spPr>
        </p:cxnSp>
        <p:cxnSp>
          <p:nvCxnSpPr>
            <p:cNvPr id="2043" name="Google Shape;2043;g7826bb8c5e_0_4294"/>
            <p:cNvCxnSpPr/>
            <p:nvPr/>
          </p:nvCxnSpPr>
          <p:spPr>
            <a:xfrm rot="10800000" flipH="1">
              <a:off x="5541903" y="3350992"/>
              <a:ext cx="9000" cy="6900"/>
            </a:xfrm>
            <a:prstGeom prst="straightConnector1">
              <a:avLst/>
            </a:prstGeom>
            <a:noFill/>
            <a:ln w="9525" cap="flat" cmpd="sng">
              <a:solidFill>
                <a:srgbClr val="E7E6E6"/>
              </a:solidFill>
              <a:prstDash val="solid"/>
              <a:round/>
              <a:headEnd type="none" w="sm" len="sm"/>
              <a:tailEnd type="none" w="sm" len="sm"/>
            </a:ln>
          </p:spPr>
        </p:cxnSp>
        <p:cxnSp>
          <p:nvCxnSpPr>
            <p:cNvPr id="2044" name="Google Shape;2044;g7826bb8c5e_0_4294"/>
            <p:cNvCxnSpPr/>
            <p:nvPr/>
          </p:nvCxnSpPr>
          <p:spPr>
            <a:xfrm rot="10800000" flipH="1">
              <a:off x="5549530" y="3341630"/>
              <a:ext cx="2400" cy="10800"/>
            </a:xfrm>
            <a:prstGeom prst="straightConnector1">
              <a:avLst/>
            </a:prstGeom>
            <a:noFill/>
            <a:ln w="9525" cap="flat" cmpd="sng">
              <a:solidFill>
                <a:srgbClr val="E7E6E6"/>
              </a:solidFill>
              <a:prstDash val="solid"/>
              <a:round/>
              <a:headEnd type="none" w="sm" len="sm"/>
              <a:tailEnd type="none" w="sm" len="sm"/>
            </a:ln>
          </p:spPr>
        </p:cxnSp>
        <p:cxnSp>
          <p:nvCxnSpPr>
            <p:cNvPr id="2045" name="Google Shape;2045;g7826bb8c5e_0_4294"/>
            <p:cNvCxnSpPr/>
            <p:nvPr/>
          </p:nvCxnSpPr>
          <p:spPr>
            <a:xfrm rot="10800000" flipH="1">
              <a:off x="5552074" y="3319608"/>
              <a:ext cx="2400" cy="21900"/>
            </a:xfrm>
            <a:prstGeom prst="straightConnector1">
              <a:avLst/>
            </a:prstGeom>
            <a:noFill/>
            <a:ln w="9525" cap="flat" cmpd="sng">
              <a:solidFill>
                <a:srgbClr val="E7E6E6"/>
              </a:solidFill>
              <a:prstDash val="solid"/>
              <a:round/>
              <a:headEnd type="none" w="sm" len="sm"/>
              <a:tailEnd type="none" w="sm" len="sm"/>
            </a:ln>
          </p:spPr>
        </p:cxnSp>
        <p:cxnSp>
          <p:nvCxnSpPr>
            <p:cNvPr id="2046" name="Google Shape;2046;g7826bb8c5e_0_4294"/>
            <p:cNvCxnSpPr/>
            <p:nvPr/>
          </p:nvCxnSpPr>
          <p:spPr>
            <a:xfrm rot="10800000">
              <a:off x="5550715" y="3319527"/>
              <a:ext cx="3900" cy="1500"/>
            </a:xfrm>
            <a:prstGeom prst="straightConnector1">
              <a:avLst/>
            </a:prstGeom>
            <a:noFill/>
            <a:ln w="9525" cap="flat" cmpd="sng">
              <a:solidFill>
                <a:srgbClr val="E7E6E6"/>
              </a:solidFill>
              <a:prstDash val="solid"/>
              <a:round/>
              <a:headEnd type="none" w="sm" len="sm"/>
              <a:tailEnd type="none" w="sm" len="sm"/>
            </a:ln>
          </p:spPr>
        </p:cxnSp>
        <p:cxnSp>
          <p:nvCxnSpPr>
            <p:cNvPr id="2047" name="Google Shape;2047;g7826bb8c5e_0_4294"/>
            <p:cNvCxnSpPr/>
            <p:nvPr/>
          </p:nvCxnSpPr>
          <p:spPr>
            <a:xfrm rot="10800000">
              <a:off x="5525361" y="3311335"/>
              <a:ext cx="5100" cy="1500"/>
            </a:xfrm>
            <a:prstGeom prst="straightConnector1">
              <a:avLst/>
            </a:prstGeom>
            <a:noFill/>
            <a:ln w="9525" cap="flat" cmpd="sng">
              <a:solidFill>
                <a:srgbClr val="E7E6E6"/>
              </a:solidFill>
              <a:prstDash val="solid"/>
              <a:round/>
              <a:headEnd type="none" w="sm" len="sm"/>
              <a:tailEnd type="none" w="sm" len="sm"/>
            </a:ln>
          </p:spPr>
        </p:cxnSp>
        <p:cxnSp>
          <p:nvCxnSpPr>
            <p:cNvPr id="2048" name="Google Shape;2048;g7826bb8c5e_0_4294"/>
            <p:cNvCxnSpPr/>
            <p:nvPr/>
          </p:nvCxnSpPr>
          <p:spPr>
            <a:xfrm flipH="1">
              <a:off x="5511348" y="3311471"/>
              <a:ext cx="15300" cy="12300"/>
            </a:xfrm>
            <a:prstGeom prst="straightConnector1">
              <a:avLst/>
            </a:prstGeom>
            <a:noFill/>
            <a:ln w="9525" cap="flat" cmpd="sng">
              <a:solidFill>
                <a:srgbClr val="E7E6E6"/>
              </a:solidFill>
              <a:prstDash val="solid"/>
              <a:round/>
              <a:headEnd type="none" w="sm" len="sm"/>
              <a:tailEnd type="none" w="sm" len="sm"/>
            </a:ln>
          </p:spPr>
        </p:cxnSp>
        <p:sp>
          <p:nvSpPr>
            <p:cNvPr id="2049" name="Google Shape;2049;g7826bb8c5e_0_4294"/>
            <p:cNvSpPr/>
            <p:nvPr/>
          </p:nvSpPr>
          <p:spPr>
            <a:xfrm>
              <a:off x="4813455" y="3341507"/>
              <a:ext cx="21612" cy="35498"/>
            </a:xfrm>
            <a:custGeom>
              <a:avLst/>
              <a:gdLst/>
              <a:ahLst/>
              <a:cxnLst/>
              <a:rect l="l" t="t" r="r" b="b"/>
              <a:pathLst>
                <a:path w="41" h="58" extrusionOk="0">
                  <a:moveTo>
                    <a:pt x="35" y="31"/>
                  </a:moveTo>
                  <a:lnTo>
                    <a:pt x="16" y="52"/>
                  </a:lnTo>
                  <a:lnTo>
                    <a:pt x="0" y="58"/>
                  </a:lnTo>
                  <a:lnTo>
                    <a:pt x="10" y="29"/>
                  </a:lnTo>
                  <a:lnTo>
                    <a:pt x="22" y="0"/>
                  </a:lnTo>
                  <a:lnTo>
                    <a:pt x="41" y="7"/>
                  </a:lnTo>
                  <a:lnTo>
                    <a:pt x="35" y="3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50" name="Google Shape;2050;g7826bb8c5e_0_4294"/>
            <p:cNvSpPr/>
            <p:nvPr/>
          </p:nvSpPr>
          <p:spPr>
            <a:xfrm>
              <a:off x="4821082" y="3282799"/>
              <a:ext cx="101703" cy="113320"/>
            </a:xfrm>
            <a:custGeom>
              <a:avLst/>
              <a:gdLst/>
              <a:ahLst/>
              <a:cxnLst/>
              <a:rect l="l" t="t" r="r" b="b"/>
              <a:pathLst>
                <a:path w="196" h="186" extrusionOk="0">
                  <a:moveTo>
                    <a:pt x="124" y="13"/>
                  </a:moveTo>
                  <a:lnTo>
                    <a:pt x="76" y="13"/>
                  </a:lnTo>
                  <a:lnTo>
                    <a:pt x="29" y="17"/>
                  </a:lnTo>
                  <a:lnTo>
                    <a:pt x="17" y="21"/>
                  </a:lnTo>
                  <a:lnTo>
                    <a:pt x="16" y="36"/>
                  </a:lnTo>
                  <a:lnTo>
                    <a:pt x="2" y="50"/>
                  </a:lnTo>
                  <a:lnTo>
                    <a:pt x="0" y="48"/>
                  </a:lnTo>
                  <a:lnTo>
                    <a:pt x="8" y="97"/>
                  </a:lnTo>
                  <a:lnTo>
                    <a:pt x="27" y="104"/>
                  </a:lnTo>
                  <a:lnTo>
                    <a:pt x="21" y="128"/>
                  </a:lnTo>
                  <a:lnTo>
                    <a:pt x="2" y="149"/>
                  </a:lnTo>
                  <a:lnTo>
                    <a:pt x="4" y="168"/>
                  </a:lnTo>
                  <a:lnTo>
                    <a:pt x="45" y="186"/>
                  </a:lnTo>
                  <a:lnTo>
                    <a:pt x="74" y="164"/>
                  </a:lnTo>
                  <a:lnTo>
                    <a:pt x="103" y="145"/>
                  </a:lnTo>
                  <a:lnTo>
                    <a:pt x="136" y="126"/>
                  </a:lnTo>
                  <a:lnTo>
                    <a:pt x="169" y="104"/>
                  </a:lnTo>
                  <a:lnTo>
                    <a:pt x="167" y="67"/>
                  </a:lnTo>
                  <a:lnTo>
                    <a:pt x="167" y="33"/>
                  </a:lnTo>
                  <a:lnTo>
                    <a:pt x="196" y="3"/>
                  </a:lnTo>
                  <a:lnTo>
                    <a:pt x="186" y="0"/>
                  </a:lnTo>
                  <a:lnTo>
                    <a:pt x="155" y="7"/>
                  </a:lnTo>
                  <a:lnTo>
                    <a:pt x="124" y="13"/>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51" name="Google Shape;2051;g7826bb8c5e_0_4294"/>
            <p:cNvSpPr/>
            <p:nvPr/>
          </p:nvSpPr>
          <p:spPr>
            <a:xfrm>
              <a:off x="5320698" y="3180402"/>
              <a:ext cx="137299" cy="111955"/>
            </a:xfrm>
            <a:custGeom>
              <a:avLst/>
              <a:gdLst/>
              <a:ahLst/>
              <a:cxnLst/>
              <a:rect l="l" t="t" r="r" b="b"/>
              <a:pathLst>
                <a:path w="263" h="186" extrusionOk="0">
                  <a:moveTo>
                    <a:pt x="221" y="165"/>
                  </a:moveTo>
                  <a:lnTo>
                    <a:pt x="197" y="167"/>
                  </a:lnTo>
                  <a:lnTo>
                    <a:pt x="157" y="186"/>
                  </a:lnTo>
                  <a:lnTo>
                    <a:pt x="145" y="142"/>
                  </a:lnTo>
                  <a:lnTo>
                    <a:pt x="135" y="142"/>
                  </a:lnTo>
                  <a:lnTo>
                    <a:pt x="128" y="124"/>
                  </a:lnTo>
                  <a:lnTo>
                    <a:pt x="112" y="130"/>
                  </a:lnTo>
                  <a:lnTo>
                    <a:pt x="108" y="153"/>
                  </a:lnTo>
                  <a:lnTo>
                    <a:pt x="83" y="165"/>
                  </a:lnTo>
                  <a:lnTo>
                    <a:pt x="77" y="173"/>
                  </a:lnTo>
                  <a:lnTo>
                    <a:pt x="56" y="173"/>
                  </a:lnTo>
                  <a:lnTo>
                    <a:pt x="38" y="176"/>
                  </a:lnTo>
                  <a:lnTo>
                    <a:pt x="29" y="169"/>
                  </a:lnTo>
                  <a:lnTo>
                    <a:pt x="36" y="143"/>
                  </a:lnTo>
                  <a:lnTo>
                    <a:pt x="44" y="120"/>
                  </a:lnTo>
                  <a:lnTo>
                    <a:pt x="34" y="105"/>
                  </a:lnTo>
                  <a:lnTo>
                    <a:pt x="13" y="93"/>
                  </a:lnTo>
                  <a:lnTo>
                    <a:pt x="0" y="78"/>
                  </a:lnTo>
                  <a:lnTo>
                    <a:pt x="33" y="48"/>
                  </a:lnTo>
                  <a:lnTo>
                    <a:pt x="64" y="19"/>
                  </a:lnTo>
                  <a:lnTo>
                    <a:pt x="87" y="0"/>
                  </a:lnTo>
                  <a:lnTo>
                    <a:pt x="129" y="4"/>
                  </a:lnTo>
                  <a:lnTo>
                    <a:pt x="162" y="25"/>
                  </a:lnTo>
                  <a:lnTo>
                    <a:pt x="126" y="39"/>
                  </a:lnTo>
                  <a:lnTo>
                    <a:pt x="87" y="50"/>
                  </a:lnTo>
                  <a:lnTo>
                    <a:pt x="89" y="76"/>
                  </a:lnTo>
                  <a:lnTo>
                    <a:pt x="143" y="81"/>
                  </a:lnTo>
                  <a:lnTo>
                    <a:pt x="197" y="89"/>
                  </a:lnTo>
                  <a:lnTo>
                    <a:pt x="215" y="120"/>
                  </a:lnTo>
                  <a:lnTo>
                    <a:pt x="244" y="122"/>
                  </a:lnTo>
                  <a:lnTo>
                    <a:pt x="263" y="167"/>
                  </a:lnTo>
                  <a:lnTo>
                    <a:pt x="259" y="169"/>
                  </a:lnTo>
                  <a:lnTo>
                    <a:pt x="257" y="169"/>
                  </a:lnTo>
                  <a:lnTo>
                    <a:pt x="230" y="167"/>
                  </a:lnTo>
                  <a:lnTo>
                    <a:pt x="221" y="165"/>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52" name="Google Shape;2052;g7826bb8c5e_0_4294"/>
            <p:cNvSpPr/>
            <p:nvPr/>
          </p:nvSpPr>
          <p:spPr>
            <a:xfrm>
              <a:off x="5109664" y="3083465"/>
              <a:ext cx="255528" cy="197969"/>
            </a:xfrm>
            <a:custGeom>
              <a:avLst/>
              <a:gdLst/>
              <a:ahLst/>
              <a:cxnLst/>
              <a:rect l="l" t="t" r="r" b="b"/>
              <a:pathLst>
                <a:path w="493" h="326" extrusionOk="0">
                  <a:moveTo>
                    <a:pt x="351" y="279"/>
                  </a:moveTo>
                  <a:lnTo>
                    <a:pt x="299" y="244"/>
                  </a:lnTo>
                  <a:lnTo>
                    <a:pt x="245" y="211"/>
                  </a:lnTo>
                  <a:lnTo>
                    <a:pt x="220" y="198"/>
                  </a:lnTo>
                  <a:lnTo>
                    <a:pt x="177" y="182"/>
                  </a:lnTo>
                  <a:lnTo>
                    <a:pt x="152" y="143"/>
                  </a:lnTo>
                  <a:lnTo>
                    <a:pt x="113" y="114"/>
                  </a:lnTo>
                  <a:lnTo>
                    <a:pt x="88" y="143"/>
                  </a:lnTo>
                  <a:lnTo>
                    <a:pt x="72" y="151"/>
                  </a:lnTo>
                  <a:lnTo>
                    <a:pt x="78" y="173"/>
                  </a:lnTo>
                  <a:lnTo>
                    <a:pt x="35" y="163"/>
                  </a:lnTo>
                  <a:lnTo>
                    <a:pt x="26" y="130"/>
                  </a:lnTo>
                  <a:lnTo>
                    <a:pt x="18" y="95"/>
                  </a:lnTo>
                  <a:lnTo>
                    <a:pt x="10" y="62"/>
                  </a:lnTo>
                  <a:lnTo>
                    <a:pt x="0" y="27"/>
                  </a:lnTo>
                  <a:lnTo>
                    <a:pt x="39" y="14"/>
                  </a:lnTo>
                  <a:lnTo>
                    <a:pt x="76" y="0"/>
                  </a:lnTo>
                  <a:lnTo>
                    <a:pt x="117" y="19"/>
                  </a:lnTo>
                  <a:lnTo>
                    <a:pt x="156" y="41"/>
                  </a:lnTo>
                  <a:lnTo>
                    <a:pt x="188" y="79"/>
                  </a:lnTo>
                  <a:lnTo>
                    <a:pt x="220" y="81"/>
                  </a:lnTo>
                  <a:lnTo>
                    <a:pt x="252" y="83"/>
                  </a:lnTo>
                  <a:lnTo>
                    <a:pt x="283" y="85"/>
                  </a:lnTo>
                  <a:lnTo>
                    <a:pt x="316" y="87"/>
                  </a:lnTo>
                  <a:lnTo>
                    <a:pt x="349" y="110"/>
                  </a:lnTo>
                  <a:lnTo>
                    <a:pt x="353" y="141"/>
                  </a:lnTo>
                  <a:lnTo>
                    <a:pt x="382" y="157"/>
                  </a:lnTo>
                  <a:lnTo>
                    <a:pt x="411" y="173"/>
                  </a:lnTo>
                  <a:lnTo>
                    <a:pt x="440" y="151"/>
                  </a:lnTo>
                  <a:lnTo>
                    <a:pt x="470" y="130"/>
                  </a:lnTo>
                  <a:lnTo>
                    <a:pt x="493" y="157"/>
                  </a:lnTo>
                  <a:lnTo>
                    <a:pt x="470" y="176"/>
                  </a:lnTo>
                  <a:lnTo>
                    <a:pt x="439" y="205"/>
                  </a:lnTo>
                  <a:lnTo>
                    <a:pt x="406" y="235"/>
                  </a:lnTo>
                  <a:lnTo>
                    <a:pt x="419" y="250"/>
                  </a:lnTo>
                  <a:lnTo>
                    <a:pt x="440" y="262"/>
                  </a:lnTo>
                  <a:lnTo>
                    <a:pt x="450" y="277"/>
                  </a:lnTo>
                  <a:lnTo>
                    <a:pt x="442" y="300"/>
                  </a:lnTo>
                  <a:lnTo>
                    <a:pt x="435" y="326"/>
                  </a:lnTo>
                  <a:lnTo>
                    <a:pt x="404" y="320"/>
                  </a:lnTo>
                  <a:lnTo>
                    <a:pt x="373" y="316"/>
                  </a:lnTo>
                  <a:lnTo>
                    <a:pt x="351" y="279"/>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53" name="Google Shape;2053;g7826bb8c5e_0_4294"/>
            <p:cNvSpPr/>
            <p:nvPr/>
          </p:nvSpPr>
          <p:spPr>
            <a:xfrm>
              <a:off x="4555383" y="3165383"/>
              <a:ext cx="41952" cy="34134"/>
            </a:xfrm>
            <a:custGeom>
              <a:avLst/>
              <a:gdLst/>
              <a:ahLst/>
              <a:cxnLst/>
              <a:rect l="l" t="t" r="r" b="b"/>
              <a:pathLst>
                <a:path w="78" h="56" extrusionOk="0">
                  <a:moveTo>
                    <a:pt x="21" y="56"/>
                  </a:moveTo>
                  <a:lnTo>
                    <a:pt x="0" y="15"/>
                  </a:lnTo>
                  <a:lnTo>
                    <a:pt x="8" y="15"/>
                  </a:lnTo>
                  <a:lnTo>
                    <a:pt x="8" y="9"/>
                  </a:lnTo>
                  <a:lnTo>
                    <a:pt x="18" y="6"/>
                  </a:lnTo>
                  <a:lnTo>
                    <a:pt x="25" y="7"/>
                  </a:lnTo>
                  <a:lnTo>
                    <a:pt x="29" y="2"/>
                  </a:lnTo>
                  <a:lnTo>
                    <a:pt x="33" y="4"/>
                  </a:lnTo>
                  <a:lnTo>
                    <a:pt x="41" y="4"/>
                  </a:lnTo>
                  <a:lnTo>
                    <a:pt x="45" y="2"/>
                  </a:lnTo>
                  <a:lnTo>
                    <a:pt x="54" y="0"/>
                  </a:lnTo>
                  <a:lnTo>
                    <a:pt x="62" y="7"/>
                  </a:lnTo>
                  <a:lnTo>
                    <a:pt x="68" y="4"/>
                  </a:lnTo>
                  <a:lnTo>
                    <a:pt x="74" y="11"/>
                  </a:lnTo>
                  <a:lnTo>
                    <a:pt x="78" y="39"/>
                  </a:lnTo>
                  <a:lnTo>
                    <a:pt x="21" y="56"/>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54" name="Google Shape;2054;g7826bb8c5e_0_4294"/>
            <p:cNvSpPr/>
            <p:nvPr/>
          </p:nvSpPr>
          <p:spPr>
            <a:xfrm>
              <a:off x="4538856" y="3159922"/>
              <a:ext cx="27969" cy="65535"/>
            </a:xfrm>
            <a:custGeom>
              <a:avLst/>
              <a:gdLst/>
              <a:ahLst/>
              <a:cxnLst/>
              <a:rect l="l" t="t" r="r" b="b"/>
              <a:pathLst>
                <a:path w="54" h="107" extrusionOk="0">
                  <a:moveTo>
                    <a:pt x="0" y="25"/>
                  </a:moveTo>
                  <a:lnTo>
                    <a:pt x="8" y="76"/>
                  </a:lnTo>
                  <a:lnTo>
                    <a:pt x="29" y="107"/>
                  </a:lnTo>
                  <a:lnTo>
                    <a:pt x="37" y="97"/>
                  </a:lnTo>
                  <a:lnTo>
                    <a:pt x="54" y="66"/>
                  </a:lnTo>
                  <a:lnTo>
                    <a:pt x="54" y="64"/>
                  </a:lnTo>
                  <a:lnTo>
                    <a:pt x="33" y="23"/>
                  </a:lnTo>
                  <a:lnTo>
                    <a:pt x="25" y="4"/>
                  </a:lnTo>
                  <a:lnTo>
                    <a:pt x="6" y="0"/>
                  </a:lnTo>
                  <a:lnTo>
                    <a:pt x="0" y="25"/>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55" name="Google Shape;2055;g7826bb8c5e_0_4294"/>
            <p:cNvSpPr/>
            <p:nvPr/>
          </p:nvSpPr>
          <p:spPr>
            <a:xfrm>
              <a:off x="4915157" y="3181766"/>
              <a:ext cx="76277" cy="58708"/>
            </a:xfrm>
            <a:custGeom>
              <a:avLst/>
              <a:gdLst/>
              <a:ahLst/>
              <a:cxnLst/>
              <a:rect l="l" t="t" r="r" b="b"/>
              <a:pathLst>
                <a:path w="142" h="97" extrusionOk="0">
                  <a:moveTo>
                    <a:pt x="18" y="15"/>
                  </a:moveTo>
                  <a:lnTo>
                    <a:pt x="0" y="0"/>
                  </a:lnTo>
                  <a:lnTo>
                    <a:pt x="45" y="2"/>
                  </a:lnTo>
                  <a:lnTo>
                    <a:pt x="89" y="2"/>
                  </a:lnTo>
                  <a:lnTo>
                    <a:pt x="120" y="6"/>
                  </a:lnTo>
                  <a:lnTo>
                    <a:pt x="118" y="41"/>
                  </a:lnTo>
                  <a:lnTo>
                    <a:pt x="132" y="46"/>
                  </a:lnTo>
                  <a:lnTo>
                    <a:pt x="120" y="60"/>
                  </a:lnTo>
                  <a:lnTo>
                    <a:pt x="142" y="91"/>
                  </a:lnTo>
                  <a:lnTo>
                    <a:pt x="130" y="97"/>
                  </a:lnTo>
                  <a:lnTo>
                    <a:pt x="120" y="91"/>
                  </a:lnTo>
                  <a:lnTo>
                    <a:pt x="117" y="85"/>
                  </a:lnTo>
                  <a:lnTo>
                    <a:pt x="111" y="79"/>
                  </a:lnTo>
                  <a:lnTo>
                    <a:pt x="103" y="79"/>
                  </a:lnTo>
                  <a:lnTo>
                    <a:pt x="93" y="77"/>
                  </a:lnTo>
                  <a:lnTo>
                    <a:pt x="84" y="74"/>
                  </a:lnTo>
                  <a:lnTo>
                    <a:pt x="72" y="72"/>
                  </a:lnTo>
                  <a:lnTo>
                    <a:pt x="45" y="60"/>
                  </a:lnTo>
                  <a:lnTo>
                    <a:pt x="31" y="39"/>
                  </a:lnTo>
                  <a:lnTo>
                    <a:pt x="18" y="15"/>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56" name="Google Shape;2056;g7826bb8c5e_0_4294"/>
            <p:cNvSpPr/>
            <p:nvPr/>
          </p:nvSpPr>
          <p:spPr>
            <a:xfrm>
              <a:off x="4954568" y="3225455"/>
              <a:ext cx="27969" cy="19115"/>
            </a:xfrm>
            <a:custGeom>
              <a:avLst/>
              <a:gdLst/>
              <a:ahLst/>
              <a:cxnLst/>
              <a:rect l="l" t="t" r="r" b="b"/>
              <a:pathLst>
                <a:path w="58" h="31" extrusionOk="0">
                  <a:moveTo>
                    <a:pt x="58" y="25"/>
                  </a:moveTo>
                  <a:lnTo>
                    <a:pt x="46" y="31"/>
                  </a:lnTo>
                  <a:lnTo>
                    <a:pt x="8" y="9"/>
                  </a:lnTo>
                  <a:lnTo>
                    <a:pt x="4" y="2"/>
                  </a:lnTo>
                  <a:lnTo>
                    <a:pt x="0" y="0"/>
                  </a:lnTo>
                  <a:lnTo>
                    <a:pt x="12" y="2"/>
                  </a:lnTo>
                  <a:lnTo>
                    <a:pt x="21" y="5"/>
                  </a:lnTo>
                  <a:lnTo>
                    <a:pt x="29" y="7"/>
                  </a:lnTo>
                  <a:lnTo>
                    <a:pt x="39" y="7"/>
                  </a:lnTo>
                  <a:lnTo>
                    <a:pt x="45" y="13"/>
                  </a:lnTo>
                  <a:lnTo>
                    <a:pt x="48" y="19"/>
                  </a:lnTo>
                  <a:lnTo>
                    <a:pt x="58" y="25"/>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57" name="Google Shape;2057;g7826bb8c5e_0_4294"/>
            <p:cNvSpPr/>
            <p:nvPr/>
          </p:nvSpPr>
          <p:spPr>
            <a:xfrm>
              <a:off x="4649458" y="3235014"/>
              <a:ext cx="10171" cy="5462"/>
            </a:xfrm>
            <a:custGeom>
              <a:avLst/>
              <a:gdLst/>
              <a:ahLst/>
              <a:cxnLst/>
              <a:rect l="l" t="t" r="r" b="b"/>
              <a:pathLst>
                <a:path w="20" h="8" extrusionOk="0">
                  <a:moveTo>
                    <a:pt x="20" y="8"/>
                  </a:moveTo>
                  <a:lnTo>
                    <a:pt x="8" y="4"/>
                  </a:lnTo>
                  <a:lnTo>
                    <a:pt x="0" y="0"/>
                  </a:lnTo>
                  <a:lnTo>
                    <a:pt x="18" y="4"/>
                  </a:lnTo>
                  <a:lnTo>
                    <a:pt x="20" y="8"/>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58" name="Google Shape;2058;g7826bb8c5e_0_4294"/>
            <p:cNvSpPr/>
            <p:nvPr/>
          </p:nvSpPr>
          <p:spPr>
            <a:xfrm>
              <a:off x="4561739" y="3256859"/>
              <a:ext cx="6356" cy="4096"/>
            </a:xfrm>
            <a:custGeom>
              <a:avLst/>
              <a:gdLst/>
              <a:ahLst/>
              <a:cxnLst/>
              <a:rect l="l" t="t" r="r" b="b"/>
              <a:pathLst>
                <a:path w="9" h="10" extrusionOk="0">
                  <a:moveTo>
                    <a:pt x="0" y="0"/>
                  </a:moveTo>
                  <a:lnTo>
                    <a:pt x="9" y="8"/>
                  </a:lnTo>
                  <a:lnTo>
                    <a:pt x="2" y="10"/>
                  </a:lnTo>
                  <a:lnTo>
                    <a:pt x="0"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59" name="Google Shape;2059;g7826bb8c5e_0_4294"/>
            <p:cNvSpPr/>
            <p:nvPr/>
          </p:nvSpPr>
          <p:spPr>
            <a:xfrm>
              <a:off x="4650729" y="3251397"/>
              <a:ext cx="3814" cy="5462"/>
            </a:xfrm>
            <a:custGeom>
              <a:avLst/>
              <a:gdLst/>
              <a:ahLst/>
              <a:cxnLst/>
              <a:rect l="l" t="t" r="r" b="b"/>
              <a:pathLst>
                <a:path w="8" h="10" extrusionOk="0">
                  <a:moveTo>
                    <a:pt x="8" y="0"/>
                  </a:moveTo>
                  <a:lnTo>
                    <a:pt x="6" y="10"/>
                  </a:lnTo>
                  <a:lnTo>
                    <a:pt x="0" y="4"/>
                  </a:lnTo>
                  <a:lnTo>
                    <a:pt x="8"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60" name="Google Shape;2060;g7826bb8c5e_0_4294"/>
            <p:cNvSpPr/>
            <p:nvPr/>
          </p:nvSpPr>
          <p:spPr>
            <a:xfrm>
              <a:off x="4425712" y="3128520"/>
              <a:ext cx="1271" cy="0"/>
            </a:xfrm>
            <a:custGeom>
              <a:avLst/>
              <a:gdLst/>
              <a:ahLst/>
              <a:cxnLst/>
              <a:rect l="l" t="t" r="r" b="b"/>
              <a:pathLst>
                <a:path w="4" h="2" extrusionOk="0">
                  <a:moveTo>
                    <a:pt x="4" y="0"/>
                  </a:moveTo>
                  <a:lnTo>
                    <a:pt x="2" y="0"/>
                  </a:lnTo>
                  <a:lnTo>
                    <a:pt x="0" y="0"/>
                  </a:lnTo>
                  <a:lnTo>
                    <a:pt x="0" y="0"/>
                  </a:lnTo>
                  <a:lnTo>
                    <a:pt x="2" y="0"/>
                  </a:lnTo>
                  <a:lnTo>
                    <a:pt x="4"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61" name="Google Shape;2061;g7826bb8c5e_0_4294"/>
            <p:cNvSpPr/>
            <p:nvPr/>
          </p:nvSpPr>
          <p:spPr>
            <a:xfrm>
              <a:off x="4429526" y="3180402"/>
              <a:ext cx="1272" cy="0"/>
            </a:xfrm>
            <a:custGeom>
              <a:avLst/>
              <a:gdLst/>
              <a:ahLst/>
              <a:cxnLst/>
              <a:rect l="l" t="t" r="r" b="b"/>
              <a:pathLst>
                <a:path w="2" h="120000" extrusionOk="0">
                  <a:moveTo>
                    <a:pt x="0" y="0"/>
                  </a:moveTo>
                  <a:lnTo>
                    <a:pt x="2" y="0"/>
                  </a:lnTo>
                  <a:lnTo>
                    <a:pt x="0"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62" name="Google Shape;2062;g7826bb8c5e_0_4294"/>
            <p:cNvSpPr/>
            <p:nvPr/>
          </p:nvSpPr>
          <p:spPr>
            <a:xfrm>
              <a:off x="4345620" y="3132616"/>
              <a:ext cx="0" cy="1366"/>
            </a:xfrm>
            <a:custGeom>
              <a:avLst/>
              <a:gdLst/>
              <a:ahLst/>
              <a:cxnLst/>
              <a:rect l="l" t="t" r="r" b="b"/>
              <a:pathLst>
                <a:path w="120000" h="2" extrusionOk="0">
                  <a:moveTo>
                    <a:pt x="0" y="0"/>
                  </a:moveTo>
                  <a:lnTo>
                    <a:pt x="0" y="2"/>
                  </a:lnTo>
                  <a:lnTo>
                    <a:pt x="0" y="0"/>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63" name="Google Shape;2063;g7826bb8c5e_0_4294"/>
            <p:cNvSpPr/>
            <p:nvPr/>
          </p:nvSpPr>
          <p:spPr>
            <a:xfrm>
              <a:off x="4648187" y="3173575"/>
              <a:ext cx="47038" cy="42325"/>
            </a:xfrm>
            <a:custGeom>
              <a:avLst/>
              <a:gdLst/>
              <a:ahLst/>
              <a:cxnLst/>
              <a:rect l="l" t="t" r="r" b="b"/>
              <a:pathLst>
                <a:path w="90" h="68" extrusionOk="0">
                  <a:moveTo>
                    <a:pt x="10" y="2"/>
                  </a:moveTo>
                  <a:lnTo>
                    <a:pt x="4" y="10"/>
                  </a:lnTo>
                  <a:lnTo>
                    <a:pt x="12" y="24"/>
                  </a:lnTo>
                  <a:lnTo>
                    <a:pt x="0" y="47"/>
                  </a:lnTo>
                  <a:lnTo>
                    <a:pt x="20" y="51"/>
                  </a:lnTo>
                  <a:lnTo>
                    <a:pt x="8" y="68"/>
                  </a:lnTo>
                  <a:lnTo>
                    <a:pt x="43" y="43"/>
                  </a:lnTo>
                  <a:lnTo>
                    <a:pt x="90" y="35"/>
                  </a:lnTo>
                  <a:lnTo>
                    <a:pt x="76" y="24"/>
                  </a:lnTo>
                  <a:lnTo>
                    <a:pt x="55" y="0"/>
                  </a:lnTo>
                  <a:lnTo>
                    <a:pt x="10" y="2"/>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64" name="Google Shape;2064;g7826bb8c5e_0_4294"/>
            <p:cNvSpPr/>
            <p:nvPr/>
          </p:nvSpPr>
          <p:spPr>
            <a:xfrm>
              <a:off x="4574452" y="2859554"/>
              <a:ext cx="134757" cy="98301"/>
            </a:xfrm>
            <a:custGeom>
              <a:avLst/>
              <a:gdLst/>
              <a:ahLst/>
              <a:cxnLst/>
              <a:rect l="l" t="t" r="r" b="b"/>
              <a:pathLst>
                <a:path w="260" h="164" extrusionOk="0">
                  <a:moveTo>
                    <a:pt x="260" y="89"/>
                  </a:moveTo>
                  <a:lnTo>
                    <a:pt x="248" y="100"/>
                  </a:lnTo>
                  <a:lnTo>
                    <a:pt x="256" y="133"/>
                  </a:lnTo>
                  <a:lnTo>
                    <a:pt x="221" y="151"/>
                  </a:lnTo>
                  <a:lnTo>
                    <a:pt x="223" y="164"/>
                  </a:lnTo>
                  <a:lnTo>
                    <a:pt x="173" y="155"/>
                  </a:lnTo>
                  <a:lnTo>
                    <a:pt x="122" y="147"/>
                  </a:lnTo>
                  <a:lnTo>
                    <a:pt x="72" y="145"/>
                  </a:lnTo>
                  <a:lnTo>
                    <a:pt x="21" y="145"/>
                  </a:lnTo>
                  <a:lnTo>
                    <a:pt x="6" y="133"/>
                  </a:lnTo>
                  <a:lnTo>
                    <a:pt x="23" y="110"/>
                  </a:lnTo>
                  <a:lnTo>
                    <a:pt x="0" y="64"/>
                  </a:lnTo>
                  <a:lnTo>
                    <a:pt x="43" y="33"/>
                  </a:lnTo>
                  <a:lnTo>
                    <a:pt x="87" y="5"/>
                  </a:lnTo>
                  <a:lnTo>
                    <a:pt x="126" y="0"/>
                  </a:lnTo>
                  <a:lnTo>
                    <a:pt x="171" y="7"/>
                  </a:lnTo>
                  <a:lnTo>
                    <a:pt x="215" y="15"/>
                  </a:lnTo>
                  <a:lnTo>
                    <a:pt x="221" y="58"/>
                  </a:lnTo>
                  <a:lnTo>
                    <a:pt x="260" y="89"/>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65" name="Google Shape;2065;g7826bb8c5e_0_4294"/>
            <p:cNvSpPr/>
            <p:nvPr/>
          </p:nvSpPr>
          <p:spPr>
            <a:xfrm>
              <a:off x="4371047" y="2870477"/>
              <a:ext cx="15256" cy="9557"/>
            </a:xfrm>
            <a:custGeom>
              <a:avLst/>
              <a:gdLst/>
              <a:ahLst/>
              <a:cxnLst/>
              <a:rect l="l" t="t" r="r" b="b"/>
              <a:pathLst>
                <a:path w="29" h="16" extrusionOk="0">
                  <a:moveTo>
                    <a:pt x="29" y="6"/>
                  </a:moveTo>
                  <a:lnTo>
                    <a:pt x="20" y="0"/>
                  </a:lnTo>
                  <a:lnTo>
                    <a:pt x="0" y="2"/>
                  </a:lnTo>
                  <a:lnTo>
                    <a:pt x="22" y="16"/>
                  </a:lnTo>
                  <a:lnTo>
                    <a:pt x="29" y="6"/>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66" name="Google Shape;2066;g7826bb8c5e_0_4294"/>
            <p:cNvSpPr/>
            <p:nvPr/>
          </p:nvSpPr>
          <p:spPr>
            <a:xfrm>
              <a:off x="4402828" y="2882765"/>
              <a:ext cx="5085" cy="4096"/>
            </a:xfrm>
            <a:custGeom>
              <a:avLst/>
              <a:gdLst/>
              <a:ahLst/>
              <a:cxnLst/>
              <a:rect l="l" t="t" r="r" b="b"/>
              <a:pathLst>
                <a:path w="8" h="8" extrusionOk="0">
                  <a:moveTo>
                    <a:pt x="8" y="4"/>
                  </a:moveTo>
                  <a:lnTo>
                    <a:pt x="2" y="0"/>
                  </a:lnTo>
                  <a:lnTo>
                    <a:pt x="0" y="8"/>
                  </a:lnTo>
                  <a:lnTo>
                    <a:pt x="8" y="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67" name="Google Shape;2067;g7826bb8c5e_0_4294"/>
            <p:cNvSpPr/>
            <p:nvPr/>
          </p:nvSpPr>
          <p:spPr>
            <a:xfrm>
              <a:off x="4560468" y="2784463"/>
              <a:ext cx="64836" cy="34132"/>
            </a:xfrm>
            <a:custGeom>
              <a:avLst/>
              <a:gdLst/>
              <a:ahLst/>
              <a:cxnLst/>
              <a:rect l="l" t="t" r="r" b="b"/>
              <a:pathLst>
                <a:path w="126" h="58" extrusionOk="0">
                  <a:moveTo>
                    <a:pt x="126" y="36"/>
                  </a:moveTo>
                  <a:lnTo>
                    <a:pt x="116" y="3"/>
                  </a:lnTo>
                  <a:lnTo>
                    <a:pt x="48" y="0"/>
                  </a:lnTo>
                  <a:lnTo>
                    <a:pt x="0" y="13"/>
                  </a:lnTo>
                  <a:lnTo>
                    <a:pt x="4" y="25"/>
                  </a:lnTo>
                  <a:lnTo>
                    <a:pt x="21" y="44"/>
                  </a:lnTo>
                  <a:lnTo>
                    <a:pt x="31" y="44"/>
                  </a:lnTo>
                  <a:lnTo>
                    <a:pt x="72" y="52"/>
                  </a:lnTo>
                  <a:lnTo>
                    <a:pt x="112" y="58"/>
                  </a:lnTo>
                  <a:lnTo>
                    <a:pt x="126" y="36"/>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68" name="Google Shape;2068;g7826bb8c5e_0_4294"/>
            <p:cNvSpPr/>
            <p:nvPr/>
          </p:nvSpPr>
          <p:spPr>
            <a:xfrm>
              <a:off x="4533771" y="2810403"/>
              <a:ext cx="105517" cy="51882"/>
            </a:xfrm>
            <a:custGeom>
              <a:avLst/>
              <a:gdLst/>
              <a:ahLst/>
              <a:cxnLst/>
              <a:rect l="l" t="t" r="r" b="b"/>
              <a:pathLst>
                <a:path w="202" h="85" extrusionOk="0">
                  <a:moveTo>
                    <a:pt x="103" y="58"/>
                  </a:moveTo>
                  <a:lnTo>
                    <a:pt x="55" y="64"/>
                  </a:lnTo>
                  <a:lnTo>
                    <a:pt x="8" y="70"/>
                  </a:lnTo>
                  <a:lnTo>
                    <a:pt x="0" y="72"/>
                  </a:lnTo>
                  <a:lnTo>
                    <a:pt x="12" y="25"/>
                  </a:lnTo>
                  <a:lnTo>
                    <a:pt x="37" y="23"/>
                  </a:lnTo>
                  <a:lnTo>
                    <a:pt x="72" y="47"/>
                  </a:lnTo>
                  <a:lnTo>
                    <a:pt x="88" y="33"/>
                  </a:lnTo>
                  <a:lnTo>
                    <a:pt x="84" y="0"/>
                  </a:lnTo>
                  <a:lnTo>
                    <a:pt x="125" y="8"/>
                  </a:lnTo>
                  <a:lnTo>
                    <a:pt x="165" y="14"/>
                  </a:lnTo>
                  <a:lnTo>
                    <a:pt x="183" y="39"/>
                  </a:lnTo>
                  <a:lnTo>
                    <a:pt x="202" y="80"/>
                  </a:lnTo>
                  <a:lnTo>
                    <a:pt x="163" y="85"/>
                  </a:lnTo>
                  <a:lnTo>
                    <a:pt x="103" y="58"/>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69" name="Google Shape;2069;g7826bb8c5e_0_4294"/>
            <p:cNvSpPr/>
            <p:nvPr/>
          </p:nvSpPr>
          <p:spPr>
            <a:xfrm>
              <a:off x="4533771" y="2845901"/>
              <a:ext cx="83905" cy="51882"/>
            </a:xfrm>
            <a:custGeom>
              <a:avLst/>
              <a:gdLst/>
              <a:ahLst/>
              <a:cxnLst/>
              <a:rect l="l" t="t" r="r" b="b"/>
              <a:pathLst>
                <a:path w="163" h="86" extrusionOk="0">
                  <a:moveTo>
                    <a:pt x="6" y="60"/>
                  </a:moveTo>
                  <a:lnTo>
                    <a:pt x="0" y="14"/>
                  </a:lnTo>
                  <a:lnTo>
                    <a:pt x="8" y="12"/>
                  </a:lnTo>
                  <a:lnTo>
                    <a:pt x="55" y="6"/>
                  </a:lnTo>
                  <a:lnTo>
                    <a:pt x="103" y="0"/>
                  </a:lnTo>
                  <a:lnTo>
                    <a:pt x="163" y="27"/>
                  </a:lnTo>
                  <a:lnTo>
                    <a:pt x="119" y="55"/>
                  </a:lnTo>
                  <a:lnTo>
                    <a:pt x="76" y="86"/>
                  </a:lnTo>
                  <a:lnTo>
                    <a:pt x="51" y="84"/>
                  </a:lnTo>
                  <a:lnTo>
                    <a:pt x="49" y="68"/>
                  </a:lnTo>
                  <a:lnTo>
                    <a:pt x="24" y="64"/>
                  </a:lnTo>
                  <a:lnTo>
                    <a:pt x="6" y="6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70" name="Google Shape;2070;g7826bb8c5e_0_4294"/>
            <p:cNvSpPr/>
            <p:nvPr/>
          </p:nvSpPr>
          <p:spPr>
            <a:xfrm>
              <a:off x="4278242" y="2916898"/>
              <a:ext cx="58479" cy="57342"/>
            </a:xfrm>
            <a:custGeom>
              <a:avLst/>
              <a:gdLst/>
              <a:ahLst/>
              <a:cxnLst/>
              <a:rect l="l" t="t" r="r" b="b"/>
              <a:pathLst>
                <a:path w="108" h="95" extrusionOk="0">
                  <a:moveTo>
                    <a:pt x="81" y="54"/>
                  </a:moveTo>
                  <a:lnTo>
                    <a:pt x="105" y="40"/>
                  </a:lnTo>
                  <a:lnTo>
                    <a:pt x="97" y="27"/>
                  </a:lnTo>
                  <a:lnTo>
                    <a:pt x="108" y="3"/>
                  </a:lnTo>
                  <a:lnTo>
                    <a:pt x="74" y="0"/>
                  </a:lnTo>
                  <a:lnTo>
                    <a:pt x="37" y="23"/>
                  </a:lnTo>
                  <a:lnTo>
                    <a:pt x="10" y="60"/>
                  </a:lnTo>
                  <a:lnTo>
                    <a:pt x="0" y="73"/>
                  </a:lnTo>
                  <a:lnTo>
                    <a:pt x="25" y="73"/>
                  </a:lnTo>
                  <a:lnTo>
                    <a:pt x="62" y="75"/>
                  </a:lnTo>
                  <a:lnTo>
                    <a:pt x="68" y="87"/>
                  </a:lnTo>
                  <a:lnTo>
                    <a:pt x="77" y="95"/>
                  </a:lnTo>
                  <a:lnTo>
                    <a:pt x="81" y="5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71" name="Google Shape;2071;g7826bb8c5e_0_4294"/>
            <p:cNvSpPr/>
            <p:nvPr/>
          </p:nvSpPr>
          <p:spPr>
            <a:xfrm>
              <a:off x="4438424" y="2886860"/>
              <a:ext cx="153826" cy="125608"/>
            </a:xfrm>
            <a:custGeom>
              <a:avLst/>
              <a:gdLst/>
              <a:ahLst/>
              <a:cxnLst/>
              <a:rect l="l" t="t" r="r" b="b"/>
              <a:pathLst>
                <a:path w="293" h="206" extrusionOk="0">
                  <a:moveTo>
                    <a:pt x="120" y="10"/>
                  </a:moveTo>
                  <a:lnTo>
                    <a:pt x="115" y="0"/>
                  </a:lnTo>
                  <a:lnTo>
                    <a:pt x="78" y="2"/>
                  </a:lnTo>
                  <a:lnTo>
                    <a:pt x="39" y="16"/>
                  </a:lnTo>
                  <a:lnTo>
                    <a:pt x="0" y="23"/>
                  </a:lnTo>
                  <a:lnTo>
                    <a:pt x="12" y="35"/>
                  </a:lnTo>
                  <a:lnTo>
                    <a:pt x="2" y="37"/>
                  </a:lnTo>
                  <a:lnTo>
                    <a:pt x="6" y="70"/>
                  </a:lnTo>
                  <a:lnTo>
                    <a:pt x="22" y="111"/>
                  </a:lnTo>
                  <a:lnTo>
                    <a:pt x="27" y="140"/>
                  </a:lnTo>
                  <a:lnTo>
                    <a:pt x="31" y="138"/>
                  </a:lnTo>
                  <a:lnTo>
                    <a:pt x="70" y="153"/>
                  </a:lnTo>
                  <a:lnTo>
                    <a:pt x="78" y="163"/>
                  </a:lnTo>
                  <a:lnTo>
                    <a:pt x="93" y="161"/>
                  </a:lnTo>
                  <a:lnTo>
                    <a:pt x="113" y="161"/>
                  </a:lnTo>
                  <a:lnTo>
                    <a:pt x="149" y="188"/>
                  </a:lnTo>
                  <a:lnTo>
                    <a:pt x="180" y="190"/>
                  </a:lnTo>
                  <a:lnTo>
                    <a:pt x="188" y="196"/>
                  </a:lnTo>
                  <a:lnTo>
                    <a:pt x="213" y="194"/>
                  </a:lnTo>
                  <a:lnTo>
                    <a:pt x="258" y="206"/>
                  </a:lnTo>
                  <a:lnTo>
                    <a:pt x="264" y="194"/>
                  </a:lnTo>
                  <a:lnTo>
                    <a:pt x="289" y="157"/>
                  </a:lnTo>
                  <a:lnTo>
                    <a:pt x="293" y="138"/>
                  </a:lnTo>
                  <a:lnTo>
                    <a:pt x="277" y="99"/>
                  </a:lnTo>
                  <a:lnTo>
                    <a:pt x="262" y="87"/>
                  </a:lnTo>
                  <a:lnTo>
                    <a:pt x="279" y="64"/>
                  </a:lnTo>
                  <a:lnTo>
                    <a:pt x="256" y="18"/>
                  </a:lnTo>
                  <a:lnTo>
                    <a:pt x="204" y="14"/>
                  </a:lnTo>
                  <a:lnTo>
                    <a:pt x="149" y="8"/>
                  </a:lnTo>
                  <a:lnTo>
                    <a:pt x="120" y="1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72" name="Google Shape;2072;g7826bb8c5e_0_4294"/>
            <p:cNvSpPr/>
            <p:nvPr/>
          </p:nvSpPr>
          <p:spPr>
            <a:xfrm>
              <a:off x="4412999" y="2970145"/>
              <a:ext cx="104246" cy="54612"/>
            </a:xfrm>
            <a:custGeom>
              <a:avLst/>
              <a:gdLst/>
              <a:ahLst/>
              <a:cxnLst/>
              <a:rect l="l" t="t" r="r" b="b"/>
              <a:pathLst>
                <a:path w="195" h="89" extrusionOk="0">
                  <a:moveTo>
                    <a:pt x="159" y="25"/>
                  </a:moveTo>
                  <a:lnTo>
                    <a:pt x="195" y="52"/>
                  </a:lnTo>
                  <a:lnTo>
                    <a:pt x="194" y="56"/>
                  </a:lnTo>
                  <a:lnTo>
                    <a:pt x="184" y="62"/>
                  </a:lnTo>
                  <a:lnTo>
                    <a:pt x="176" y="66"/>
                  </a:lnTo>
                  <a:lnTo>
                    <a:pt x="176" y="70"/>
                  </a:lnTo>
                  <a:lnTo>
                    <a:pt x="166" y="79"/>
                  </a:lnTo>
                  <a:lnTo>
                    <a:pt x="151" y="83"/>
                  </a:lnTo>
                  <a:lnTo>
                    <a:pt x="141" y="83"/>
                  </a:lnTo>
                  <a:lnTo>
                    <a:pt x="131" y="81"/>
                  </a:lnTo>
                  <a:lnTo>
                    <a:pt x="83" y="75"/>
                  </a:lnTo>
                  <a:lnTo>
                    <a:pt x="66" y="89"/>
                  </a:lnTo>
                  <a:lnTo>
                    <a:pt x="50" y="81"/>
                  </a:lnTo>
                  <a:lnTo>
                    <a:pt x="7" y="43"/>
                  </a:lnTo>
                  <a:lnTo>
                    <a:pt x="0" y="29"/>
                  </a:lnTo>
                  <a:lnTo>
                    <a:pt x="66" y="0"/>
                  </a:lnTo>
                  <a:lnTo>
                    <a:pt x="73" y="4"/>
                  </a:lnTo>
                  <a:lnTo>
                    <a:pt x="77" y="2"/>
                  </a:lnTo>
                  <a:lnTo>
                    <a:pt x="116" y="17"/>
                  </a:lnTo>
                  <a:lnTo>
                    <a:pt x="124" y="27"/>
                  </a:lnTo>
                  <a:lnTo>
                    <a:pt x="139" y="25"/>
                  </a:lnTo>
                  <a:lnTo>
                    <a:pt x="159" y="25"/>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73" name="Google Shape;2073;g7826bb8c5e_0_4294"/>
            <p:cNvSpPr/>
            <p:nvPr/>
          </p:nvSpPr>
          <p:spPr>
            <a:xfrm>
              <a:off x="4268072" y="2961953"/>
              <a:ext cx="54665" cy="39593"/>
            </a:xfrm>
            <a:custGeom>
              <a:avLst/>
              <a:gdLst/>
              <a:ahLst/>
              <a:cxnLst/>
              <a:rect l="l" t="t" r="r" b="b"/>
              <a:pathLst>
                <a:path w="106" h="66" extrusionOk="0">
                  <a:moveTo>
                    <a:pt x="23" y="0"/>
                  </a:moveTo>
                  <a:lnTo>
                    <a:pt x="0" y="10"/>
                  </a:lnTo>
                  <a:lnTo>
                    <a:pt x="11" y="24"/>
                  </a:lnTo>
                  <a:lnTo>
                    <a:pt x="50" y="47"/>
                  </a:lnTo>
                  <a:lnTo>
                    <a:pt x="64" y="47"/>
                  </a:lnTo>
                  <a:lnTo>
                    <a:pt x="66" y="51"/>
                  </a:lnTo>
                  <a:lnTo>
                    <a:pt x="95" y="66"/>
                  </a:lnTo>
                  <a:lnTo>
                    <a:pt x="97" y="66"/>
                  </a:lnTo>
                  <a:lnTo>
                    <a:pt x="97" y="60"/>
                  </a:lnTo>
                  <a:lnTo>
                    <a:pt x="104" y="45"/>
                  </a:lnTo>
                  <a:lnTo>
                    <a:pt x="106" y="26"/>
                  </a:lnTo>
                  <a:lnTo>
                    <a:pt x="100" y="22"/>
                  </a:lnTo>
                  <a:lnTo>
                    <a:pt x="91" y="14"/>
                  </a:lnTo>
                  <a:lnTo>
                    <a:pt x="85" y="2"/>
                  </a:lnTo>
                  <a:lnTo>
                    <a:pt x="48" y="0"/>
                  </a:lnTo>
                  <a:lnTo>
                    <a:pt x="23"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74" name="Google Shape;2074;g7826bb8c5e_0_4294"/>
            <p:cNvSpPr/>
            <p:nvPr/>
          </p:nvSpPr>
          <p:spPr>
            <a:xfrm>
              <a:off x="4318924" y="2882765"/>
              <a:ext cx="133484" cy="166567"/>
            </a:xfrm>
            <a:custGeom>
              <a:avLst/>
              <a:gdLst/>
              <a:ahLst/>
              <a:cxnLst/>
              <a:rect l="l" t="t" r="r" b="b"/>
              <a:pathLst>
                <a:path w="256" h="276" extrusionOk="0">
                  <a:moveTo>
                    <a:pt x="62" y="51"/>
                  </a:moveTo>
                  <a:lnTo>
                    <a:pt x="66" y="53"/>
                  </a:lnTo>
                  <a:lnTo>
                    <a:pt x="66" y="47"/>
                  </a:lnTo>
                  <a:lnTo>
                    <a:pt x="78" y="39"/>
                  </a:lnTo>
                  <a:lnTo>
                    <a:pt x="97" y="49"/>
                  </a:lnTo>
                  <a:lnTo>
                    <a:pt x="88" y="37"/>
                  </a:lnTo>
                  <a:lnTo>
                    <a:pt x="78" y="24"/>
                  </a:lnTo>
                  <a:lnTo>
                    <a:pt x="76" y="20"/>
                  </a:lnTo>
                  <a:lnTo>
                    <a:pt x="70" y="0"/>
                  </a:lnTo>
                  <a:lnTo>
                    <a:pt x="92" y="4"/>
                  </a:lnTo>
                  <a:lnTo>
                    <a:pt x="99" y="4"/>
                  </a:lnTo>
                  <a:lnTo>
                    <a:pt x="103" y="16"/>
                  </a:lnTo>
                  <a:lnTo>
                    <a:pt x="134" y="20"/>
                  </a:lnTo>
                  <a:lnTo>
                    <a:pt x="134" y="29"/>
                  </a:lnTo>
                  <a:lnTo>
                    <a:pt x="142" y="35"/>
                  </a:lnTo>
                  <a:lnTo>
                    <a:pt x="183" y="18"/>
                  </a:lnTo>
                  <a:lnTo>
                    <a:pt x="181" y="20"/>
                  </a:lnTo>
                  <a:lnTo>
                    <a:pt x="216" y="31"/>
                  </a:lnTo>
                  <a:lnTo>
                    <a:pt x="229" y="31"/>
                  </a:lnTo>
                  <a:lnTo>
                    <a:pt x="241" y="43"/>
                  </a:lnTo>
                  <a:lnTo>
                    <a:pt x="231" y="45"/>
                  </a:lnTo>
                  <a:lnTo>
                    <a:pt x="235" y="78"/>
                  </a:lnTo>
                  <a:lnTo>
                    <a:pt x="251" y="119"/>
                  </a:lnTo>
                  <a:lnTo>
                    <a:pt x="256" y="148"/>
                  </a:lnTo>
                  <a:lnTo>
                    <a:pt x="249" y="144"/>
                  </a:lnTo>
                  <a:lnTo>
                    <a:pt x="183" y="173"/>
                  </a:lnTo>
                  <a:lnTo>
                    <a:pt x="190" y="187"/>
                  </a:lnTo>
                  <a:lnTo>
                    <a:pt x="233" y="225"/>
                  </a:lnTo>
                  <a:lnTo>
                    <a:pt x="208" y="247"/>
                  </a:lnTo>
                  <a:lnTo>
                    <a:pt x="214" y="266"/>
                  </a:lnTo>
                  <a:lnTo>
                    <a:pt x="204" y="270"/>
                  </a:lnTo>
                  <a:lnTo>
                    <a:pt x="169" y="270"/>
                  </a:lnTo>
                  <a:lnTo>
                    <a:pt x="144" y="270"/>
                  </a:lnTo>
                  <a:lnTo>
                    <a:pt x="136" y="276"/>
                  </a:lnTo>
                  <a:lnTo>
                    <a:pt x="109" y="272"/>
                  </a:lnTo>
                  <a:lnTo>
                    <a:pt x="80" y="266"/>
                  </a:lnTo>
                  <a:lnTo>
                    <a:pt x="51" y="270"/>
                  </a:lnTo>
                  <a:lnTo>
                    <a:pt x="62" y="218"/>
                  </a:lnTo>
                  <a:lnTo>
                    <a:pt x="18" y="202"/>
                  </a:lnTo>
                  <a:lnTo>
                    <a:pt x="12" y="200"/>
                  </a:lnTo>
                  <a:lnTo>
                    <a:pt x="12" y="196"/>
                  </a:lnTo>
                  <a:lnTo>
                    <a:pt x="4" y="175"/>
                  </a:lnTo>
                  <a:lnTo>
                    <a:pt x="6" y="156"/>
                  </a:lnTo>
                  <a:lnTo>
                    <a:pt x="0" y="152"/>
                  </a:lnTo>
                  <a:lnTo>
                    <a:pt x="4" y="111"/>
                  </a:lnTo>
                  <a:lnTo>
                    <a:pt x="28" y="97"/>
                  </a:lnTo>
                  <a:lnTo>
                    <a:pt x="20" y="84"/>
                  </a:lnTo>
                  <a:lnTo>
                    <a:pt x="31" y="60"/>
                  </a:lnTo>
                  <a:lnTo>
                    <a:pt x="26" y="59"/>
                  </a:lnTo>
                  <a:lnTo>
                    <a:pt x="31" y="45"/>
                  </a:lnTo>
                  <a:lnTo>
                    <a:pt x="62" y="5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75" name="Google Shape;2075;g7826bb8c5e_0_4294"/>
            <p:cNvSpPr/>
            <p:nvPr/>
          </p:nvSpPr>
          <p:spPr>
            <a:xfrm>
              <a:off x="4421897" y="2890958"/>
              <a:ext cx="8900" cy="5462"/>
            </a:xfrm>
            <a:custGeom>
              <a:avLst/>
              <a:gdLst/>
              <a:ahLst/>
              <a:cxnLst/>
              <a:rect l="l" t="t" r="r" b="b"/>
              <a:pathLst>
                <a:path w="18" h="8" extrusionOk="0">
                  <a:moveTo>
                    <a:pt x="0" y="8"/>
                  </a:moveTo>
                  <a:lnTo>
                    <a:pt x="18" y="8"/>
                  </a:lnTo>
                  <a:lnTo>
                    <a:pt x="10" y="0"/>
                  </a:lnTo>
                  <a:lnTo>
                    <a:pt x="0" y="8"/>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76" name="Google Shape;2076;g7826bb8c5e_0_4294"/>
            <p:cNvSpPr/>
            <p:nvPr/>
          </p:nvSpPr>
          <p:spPr>
            <a:xfrm>
              <a:off x="4316382" y="2987893"/>
              <a:ext cx="8898" cy="16383"/>
            </a:xfrm>
            <a:custGeom>
              <a:avLst/>
              <a:gdLst/>
              <a:ahLst/>
              <a:cxnLst/>
              <a:rect l="l" t="t" r="r" b="b"/>
              <a:pathLst>
                <a:path w="15" h="25" extrusionOk="0">
                  <a:moveTo>
                    <a:pt x="7" y="0"/>
                  </a:moveTo>
                  <a:lnTo>
                    <a:pt x="0" y="15"/>
                  </a:lnTo>
                  <a:lnTo>
                    <a:pt x="0" y="21"/>
                  </a:lnTo>
                  <a:lnTo>
                    <a:pt x="15" y="25"/>
                  </a:lnTo>
                  <a:lnTo>
                    <a:pt x="15" y="21"/>
                  </a:lnTo>
                  <a:lnTo>
                    <a:pt x="7"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77" name="Google Shape;2077;g7826bb8c5e_0_4294"/>
            <p:cNvSpPr/>
            <p:nvPr/>
          </p:nvSpPr>
          <p:spPr>
            <a:xfrm>
              <a:off x="4423170" y="2591954"/>
              <a:ext cx="15256" cy="9557"/>
            </a:xfrm>
            <a:custGeom>
              <a:avLst/>
              <a:gdLst/>
              <a:ahLst/>
              <a:cxnLst/>
              <a:rect l="l" t="t" r="r" b="b"/>
              <a:pathLst>
                <a:path w="31" h="18" extrusionOk="0">
                  <a:moveTo>
                    <a:pt x="18" y="0"/>
                  </a:moveTo>
                  <a:lnTo>
                    <a:pt x="6" y="16"/>
                  </a:lnTo>
                  <a:lnTo>
                    <a:pt x="0" y="18"/>
                  </a:lnTo>
                  <a:lnTo>
                    <a:pt x="12" y="16"/>
                  </a:lnTo>
                  <a:lnTo>
                    <a:pt x="18" y="18"/>
                  </a:lnTo>
                  <a:lnTo>
                    <a:pt x="31" y="4"/>
                  </a:lnTo>
                  <a:lnTo>
                    <a:pt x="20" y="8"/>
                  </a:lnTo>
                  <a:lnTo>
                    <a:pt x="18"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78" name="Google Shape;2078;g7826bb8c5e_0_4294"/>
            <p:cNvSpPr/>
            <p:nvPr/>
          </p:nvSpPr>
          <p:spPr>
            <a:xfrm>
              <a:off x="4376131" y="3053427"/>
              <a:ext cx="1272" cy="4096"/>
            </a:xfrm>
            <a:custGeom>
              <a:avLst/>
              <a:gdLst/>
              <a:ahLst/>
              <a:cxnLst/>
              <a:rect l="l" t="t" r="r" b="b"/>
              <a:pathLst>
                <a:path w="4" h="7" extrusionOk="0">
                  <a:moveTo>
                    <a:pt x="2" y="0"/>
                  </a:moveTo>
                  <a:lnTo>
                    <a:pt x="0" y="7"/>
                  </a:lnTo>
                  <a:lnTo>
                    <a:pt x="4" y="7"/>
                  </a:lnTo>
                  <a:lnTo>
                    <a:pt x="2"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79" name="Google Shape;2079;g7826bb8c5e_0_4294"/>
            <p:cNvSpPr/>
            <p:nvPr/>
          </p:nvSpPr>
          <p:spPr>
            <a:xfrm>
              <a:off x="4377403" y="3016565"/>
              <a:ext cx="116959" cy="54612"/>
            </a:xfrm>
            <a:custGeom>
              <a:avLst/>
              <a:gdLst/>
              <a:ahLst/>
              <a:cxnLst/>
              <a:rect l="l" t="t" r="r" b="b"/>
              <a:pathLst>
                <a:path w="225" h="92" extrusionOk="0">
                  <a:moveTo>
                    <a:pt x="79" y="74"/>
                  </a:moveTo>
                  <a:lnTo>
                    <a:pt x="47" y="78"/>
                  </a:lnTo>
                  <a:lnTo>
                    <a:pt x="29" y="76"/>
                  </a:lnTo>
                  <a:lnTo>
                    <a:pt x="6" y="70"/>
                  </a:lnTo>
                  <a:lnTo>
                    <a:pt x="2" y="70"/>
                  </a:lnTo>
                  <a:lnTo>
                    <a:pt x="2" y="66"/>
                  </a:lnTo>
                  <a:lnTo>
                    <a:pt x="0" y="63"/>
                  </a:lnTo>
                  <a:lnTo>
                    <a:pt x="0" y="53"/>
                  </a:lnTo>
                  <a:lnTo>
                    <a:pt x="21" y="57"/>
                  </a:lnTo>
                  <a:lnTo>
                    <a:pt x="27" y="57"/>
                  </a:lnTo>
                  <a:lnTo>
                    <a:pt x="35" y="51"/>
                  </a:lnTo>
                  <a:lnTo>
                    <a:pt x="60" y="51"/>
                  </a:lnTo>
                  <a:lnTo>
                    <a:pt x="95" y="51"/>
                  </a:lnTo>
                  <a:lnTo>
                    <a:pt x="105" y="47"/>
                  </a:lnTo>
                  <a:lnTo>
                    <a:pt x="99" y="28"/>
                  </a:lnTo>
                  <a:lnTo>
                    <a:pt x="124" y="6"/>
                  </a:lnTo>
                  <a:lnTo>
                    <a:pt x="140" y="14"/>
                  </a:lnTo>
                  <a:lnTo>
                    <a:pt x="157" y="0"/>
                  </a:lnTo>
                  <a:lnTo>
                    <a:pt x="205" y="6"/>
                  </a:lnTo>
                  <a:lnTo>
                    <a:pt x="225" y="33"/>
                  </a:lnTo>
                  <a:lnTo>
                    <a:pt x="213" y="47"/>
                  </a:lnTo>
                  <a:lnTo>
                    <a:pt x="211" y="49"/>
                  </a:lnTo>
                  <a:lnTo>
                    <a:pt x="200" y="74"/>
                  </a:lnTo>
                  <a:lnTo>
                    <a:pt x="198" y="76"/>
                  </a:lnTo>
                  <a:lnTo>
                    <a:pt x="138" y="92"/>
                  </a:lnTo>
                  <a:lnTo>
                    <a:pt x="126" y="90"/>
                  </a:lnTo>
                  <a:lnTo>
                    <a:pt x="79" y="7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80" name="Google Shape;2080;g7826bb8c5e_0_4294"/>
            <p:cNvSpPr/>
            <p:nvPr/>
          </p:nvSpPr>
          <p:spPr>
            <a:xfrm>
              <a:off x="4475291" y="3099848"/>
              <a:ext cx="64836" cy="58708"/>
            </a:xfrm>
            <a:custGeom>
              <a:avLst/>
              <a:gdLst/>
              <a:ahLst/>
              <a:cxnLst/>
              <a:rect l="l" t="t" r="r" b="b"/>
              <a:pathLst>
                <a:path w="120" h="101" extrusionOk="0">
                  <a:moveTo>
                    <a:pt x="108" y="14"/>
                  </a:moveTo>
                  <a:lnTo>
                    <a:pt x="108" y="20"/>
                  </a:lnTo>
                  <a:lnTo>
                    <a:pt x="107" y="25"/>
                  </a:lnTo>
                  <a:lnTo>
                    <a:pt x="101" y="31"/>
                  </a:lnTo>
                  <a:lnTo>
                    <a:pt x="103" y="33"/>
                  </a:lnTo>
                  <a:lnTo>
                    <a:pt x="107" y="39"/>
                  </a:lnTo>
                  <a:lnTo>
                    <a:pt x="120" y="47"/>
                  </a:lnTo>
                  <a:lnTo>
                    <a:pt x="110" y="51"/>
                  </a:lnTo>
                  <a:lnTo>
                    <a:pt x="118" y="56"/>
                  </a:lnTo>
                  <a:lnTo>
                    <a:pt x="118" y="64"/>
                  </a:lnTo>
                  <a:lnTo>
                    <a:pt x="101" y="68"/>
                  </a:lnTo>
                  <a:lnTo>
                    <a:pt x="108" y="74"/>
                  </a:lnTo>
                  <a:lnTo>
                    <a:pt x="105" y="78"/>
                  </a:lnTo>
                  <a:lnTo>
                    <a:pt x="99" y="74"/>
                  </a:lnTo>
                  <a:lnTo>
                    <a:pt x="91" y="86"/>
                  </a:lnTo>
                  <a:lnTo>
                    <a:pt x="87" y="87"/>
                  </a:lnTo>
                  <a:lnTo>
                    <a:pt x="95" y="99"/>
                  </a:lnTo>
                  <a:lnTo>
                    <a:pt x="87" y="101"/>
                  </a:lnTo>
                  <a:lnTo>
                    <a:pt x="81" y="99"/>
                  </a:lnTo>
                  <a:lnTo>
                    <a:pt x="72" y="91"/>
                  </a:lnTo>
                  <a:lnTo>
                    <a:pt x="64" y="87"/>
                  </a:lnTo>
                  <a:lnTo>
                    <a:pt x="64" y="86"/>
                  </a:lnTo>
                  <a:lnTo>
                    <a:pt x="50" y="74"/>
                  </a:lnTo>
                  <a:lnTo>
                    <a:pt x="48" y="68"/>
                  </a:lnTo>
                  <a:lnTo>
                    <a:pt x="41" y="64"/>
                  </a:lnTo>
                  <a:lnTo>
                    <a:pt x="17" y="43"/>
                  </a:lnTo>
                  <a:lnTo>
                    <a:pt x="17" y="41"/>
                  </a:lnTo>
                  <a:lnTo>
                    <a:pt x="13" y="39"/>
                  </a:lnTo>
                  <a:lnTo>
                    <a:pt x="8" y="23"/>
                  </a:lnTo>
                  <a:lnTo>
                    <a:pt x="0" y="18"/>
                  </a:lnTo>
                  <a:lnTo>
                    <a:pt x="0" y="2"/>
                  </a:lnTo>
                  <a:lnTo>
                    <a:pt x="8" y="2"/>
                  </a:lnTo>
                  <a:lnTo>
                    <a:pt x="15" y="10"/>
                  </a:lnTo>
                  <a:lnTo>
                    <a:pt x="23" y="0"/>
                  </a:lnTo>
                  <a:lnTo>
                    <a:pt x="33" y="0"/>
                  </a:lnTo>
                  <a:lnTo>
                    <a:pt x="41" y="4"/>
                  </a:lnTo>
                  <a:lnTo>
                    <a:pt x="62" y="8"/>
                  </a:lnTo>
                  <a:lnTo>
                    <a:pt x="66" y="4"/>
                  </a:lnTo>
                  <a:lnTo>
                    <a:pt x="72" y="8"/>
                  </a:lnTo>
                  <a:lnTo>
                    <a:pt x="74" y="4"/>
                  </a:lnTo>
                  <a:lnTo>
                    <a:pt x="81" y="8"/>
                  </a:lnTo>
                  <a:lnTo>
                    <a:pt x="85" y="6"/>
                  </a:lnTo>
                  <a:lnTo>
                    <a:pt x="93" y="14"/>
                  </a:lnTo>
                  <a:lnTo>
                    <a:pt x="99" y="14"/>
                  </a:lnTo>
                  <a:lnTo>
                    <a:pt x="108" y="1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81" name="Google Shape;2081;g7826bb8c5e_0_4294"/>
            <p:cNvSpPr/>
            <p:nvPr/>
          </p:nvSpPr>
          <p:spPr>
            <a:xfrm>
              <a:off x="4442239" y="3067080"/>
              <a:ext cx="91533" cy="83284"/>
            </a:xfrm>
            <a:custGeom>
              <a:avLst/>
              <a:gdLst/>
              <a:ahLst/>
              <a:cxnLst/>
              <a:rect l="l" t="t" r="r" b="b"/>
              <a:pathLst>
                <a:path w="174" h="137" extrusionOk="0">
                  <a:moveTo>
                    <a:pt x="157" y="64"/>
                  </a:moveTo>
                  <a:lnTo>
                    <a:pt x="163" y="64"/>
                  </a:lnTo>
                  <a:lnTo>
                    <a:pt x="165" y="54"/>
                  </a:lnTo>
                  <a:lnTo>
                    <a:pt x="174" y="52"/>
                  </a:lnTo>
                  <a:lnTo>
                    <a:pt x="174" y="50"/>
                  </a:lnTo>
                  <a:lnTo>
                    <a:pt x="165" y="48"/>
                  </a:lnTo>
                  <a:lnTo>
                    <a:pt x="161" y="44"/>
                  </a:lnTo>
                  <a:lnTo>
                    <a:pt x="165" y="42"/>
                  </a:lnTo>
                  <a:lnTo>
                    <a:pt x="161" y="41"/>
                  </a:lnTo>
                  <a:lnTo>
                    <a:pt x="151" y="27"/>
                  </a:lnTo>
                  <a:lnTo>
                    <a:pt x="109" y="23"/>
                  </a:lnTo>
                  <a:lnTo>
                    <a:pt x="81" y="0"/>
                  </a:lnTo>
                  <a:lnTo>
                    <a:pt x="79" y="4"/>
                  </a:lnTo>
                  <a:lnTo>
                    <a:pt x="76" y="4"/>
                  </a:lnTo>
                  <a:lnTo>
                    <a:pt x="76" y="8"/>
                  </a:lnTo>
                  <a:lnTo>
                    <a:pt x="68" y="8"/>
                  </a:lnTo>
                  <a:lnTo>
                    <a:pt x="64" y="11"/>
                  </a:lnTo>
                  <a:lnTo>
                    <a:pt x="54" y="13"/>
                  </a:lnTo>
                  <a:lnTo>
                    <a:pt x="56" y="19"/>
                  </a:lnTo>
                  <a:lnTo>
                    <a:pt x="58" y="23"/>
                  </a:lnTo>
                  <a:lnTo>
                    <a:pt x="62" y="29"/>
                  </a:lnTo>
                  <a:lnTo>
                    <a:pt x="56" y="29"/>
                  </a:lnTo>
                  <a:lnTo>
                    <a:pt x="46" y="33"/>
                  </a:lnTo>
                  <a:lnTo>
                    <a:pt x="46" y="37"/>
                  </a:lnTo>
                  <a:lnTo>
                    <a:pt x="48" y="42"/>
                  </a:lnTo>
                  <a:lnTo>
                    <a:pt x="41" y="42"/>
                  </a:lnTo>
                  <a:lnTo>
                    <a:pt x="35" y="39"/>
                  </a:lnTo>
                  <a:lnTo>
                    <a:pt x="33" y="41"/>
                  </a:lnTo>
                  <a:lnTo>
                    <a:pt x="31" y="41"/>
                  </a:lnTo>
                  <a:lnTo>
                    <a:pt x="27" y="37"/>
                  </a:lnTo>
                  <a:lnTo>
                    <a:pt x="21" y="42"/>
                  </a:lnTo>
                  <a:lnTo>
                    <a:pt x="8" y="42"/>
                  </a:lnTo>
                  <a:lnTo>
                    <a:pt x="0" y="39"/>
                  </a:lnTo>
                  <a:lnTo>
                    <a:pt x="6" y="50"/>
                  </a:lnTo>
                  <a:lnTo>
                    <a:pt x="14" y="62"/>
                  </a:lnTo>
                  <a:lnTo>
                    <a:pt x="21" y="54"/>
                  </a:lnTo>
                  <a:lnTo>
                    <a:pt x="45" y="91"/>
                  </a:lnTo>
                  <a:lnTo>
                    <a:pt x="52" y="99"/>
                  </a:lnTo>
                  <a:lnTo>
                    <a:pt x="81" y="116"/>
                  </a:lnTo>
                  <a:lnTo>
                    <a:pt x="118" y="136"/>
                  </a:lnTo>
                  <a:lnTo>
                    <a:pt x="126" y="137"/>
                  </a:lnTo>
                  <a:lnTo>
                    <a:pt x="128" y="137"/>
                  </a:lnTo>
                  <a:lnTo>
                    <a:pt x="128" y="136"/>
                  </a:lnTo>
                  <a:lnTo>
                    <a:pt x="114" y="124"/>
                  </a:lnTo>
                  <a:lnTo>
                    <a:pt x="112" y="118"/>
                  </a:lnTo>
                  <a:lnTo>
                    <a:pt x="105" y="114"/>
                  </a:lnTo>
                  <a:lnTo>
                    <a:pt x="81" y="93"/>
                  </a:lnTo>
                  <a:lnTo>
                    <a:pt x="81" y="91"/>
                  </a:lnTo>
                  <a:lnTo>
                    <a:pt x="77" y="89"/>
                  </a:lnTo>
                  <a:lnTo>
                    <a:pt x="72" y="73"/>
                  </a:lnTo>
                  <a:lnTo>
                    <a:pt x="64" y="68"/>
                  </a:lnTo>
                  <a:lnTo>
                    <a:pt x="64" y="52"/>
                  </a:lnTo>
                  <a:lnTo>
                    <a:pt x="72" y="52"/>
                  </a:lnTo>
                  <a:lnTo>
                    <a:pt x="79" y="60"/>
                  </a:lnTo>
                  <a:lnTo>
                    <a:pt x="87" y="50"/>
                  </a:lnTo>
                  <a:lnTo>
                    <a:pt x="97" y="50"/>
                  </a:lnTo>
                  <a:lnTo>
                    <a:pt x="105" y="54"/>
                  </a:lnTo>
                  <a:lnTo>
                    <a:pt x="126" y="58"/>
                  </a:lnTo>
                  <a:lnTo>
                    <a:pt x="130" y="54"/>
                  </a:lnTo>
                  <a:lnTo>
                    <a:pt x="136" y="58"/>
                  </a:lnTo>
                  <a:lnTo>
                    <a:pt x="138" y="54"/>
                  </a:lnTo>
                  <a:lnTo>
                    <a:pt x="145" y="58"/>
                  </a:lnTo>
                  <a:lnTo>
                    <a:pt x="149" y="56"/>
                  </a:lnTo>
                  <a:lnTo>
                    <a:pt x="157" y="6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82" name="Google Shape;2082;g7826bb8c5e_0_4294"/>
            <p:cNvSpPr/>
            <p:nvPr/>
          </p:nvSpPr>
          <p:spPr>
            <a:xfrm>
              <a:off x="4498175" y="3150364"/>
              <a:ext cx="24154" cy="12287"/>
            </a:xfrm>
            <a:custGeom>
              <a:avLst/>
              <a:gdLst/>
              <a:ahLst/>
              <a:cxnLst/>
              <a:rect l="l" t="t" r="r" b="b"/>
              <a:pathLst>
                <a:path w="46" h="20" extrusionOk="0">
                  <a:moveTo>
                    <a:pt x="46" y="20"/>
                  </a:moveTo>
                  <a:lnTo>
                    <a:pt x="46" y="14"/>
                  </a:lnTo>
                  <a:lnTo>
                    <a:pt x="40" y="12"/>
                  </a:lnTo>
                  <a:lnTo>
                    <a:pt x="31" y="4"/>
                  </a:lnTo>
                  <a:lnTo>
                    <a:pt x="23" y="0"/>
                  </a:lnTo>
                  <a:lnTo>
                    <a:pt x="21" y="2"/>
                  </a:lnTo>
                  <a:lnTo>
                    <a:pt x="0" y="0"/>
                  </a:lnTo>
                  <a:lnTo>
                    <a:pt x="46" y="2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83" name="Google Shape;2083;g7826bb8c5e_0_4294"/>
            <p:cNvSpPr/>
            <p:nvPr/>
          </p:nvSpPr>
          <p:spPr>
            <a:xfrm>
              <a:off x="4480377" y="3026121"/>
              <a:ext cx="101703" cy="57342"/>
            </a:xfrm>
            <a:custGeom>
              <a:avLst/>
              <a:gdLst/>
              <a:ahLst/>
              <a:cxnLst/>
              <a:rect l="l" t="t" r="r" b="b"/>
              <a:pathLst>
                <a:path w="196" h="95" extrusionOk="0">
                  <a:moveTo>
                    <a:pt x="81" y="95"/>
                  </a:moveTo>
                  <a:lnTo>
                    <a:pt x="39" y="91"/>
                  </a:lnTo>
                  <a:lnTo>
                    <a:pt x="11" y="68"/>
                  </a:lnTo>
                  <a:lnTo>
                    <a:pt x="2" y="62"/>
                  </a:lnTo>
                  <a:lnTo>
                    <a:pt x="0" y="58"/>
                  </a:lnTo>
                  <a:lnTo>
                    <a:pt x="2" y="56"/>
                  </a:lnTo>
                  <a:lnTo>
                    <a:pt x="13" y="31"/>
                  </a:lnTo>
                  <a:lnTo>
                    <a:pt x="15" y="29"/>
                  </a:lnTo>
                  <a:lnTo>
                    <a:pt x="27" y="15"/>
                  </a:lnTo>
                  <a:lnTo>
                    <a:pt x="35" y="21"/>
                  </a:lnTo>
                  <a:lnTo>
                    <a:pt x="73" y="21"/>
                  </a:lnTo>
                  <a:lnTo>
                    <a:pt x="122" y="0"/>
                  </a:lnTo>
                  <a:lnTo>
                    <a:pt x="172" y="2"/>
                  </a:lnTo>
                  <a:lnTo>
                    <a:pt x="196" y="19"/>
                  </a:lnTo>
                  <a:lnTo>
                    <a:pt x="166" y="48"/>
                  </a:lnTo>
                  <a:lnTo>
                    <a:pt x="143" y="81"/>
                  </a:lnTo>
                  <a:lnTo>
                    <a:pt x="126" y="87"/>
                  </a:lnTo>
                  <a:lnTo>
                    <a:pt x="81" y="95"/>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84" name="Google Shape;2084;g7826bb8c5e_0_4294"/>
            <p:cNvSpPr/>
            <p:nvPr/>
          </p:nvSpPr>
          <p:spPr>
            <a:xfrm>
              <a:off x="4429526" y="3180402"/>
              <a:ext cx="1272" cy="0"/>
            </a:xfrm>
            <a:custGeom>
              <a:avLst/>
              <a:gdLst/>
              <a:ahLst/>
              <a:cxnLst/>
              <a:rect l="l" t="t" r="r" b="b"/>
              <a:pathLst>
                <a:path w="2" h="120000" extrusionOk="0">
                  <a:moveTo>
                    <a:pt x="0" y="0"/>
                  </a:moveTo>
                  <a:lnTo>
                    <a:pt x="2" y="0"/>
                  </a:lnTo>
                  <a:lnTo>
                    <a:pt x="0"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85" name="Google Shape;2085;g7826bb8c5e_0_4294"/>
            <p:cNvSpPr/>
            <p:nvPr/>
          </p:nvSpPr>
          <p:spPr>
            <a:xfrm>
              <a:off x="5347396" y="2402179"/>
              <a:ext cx="58479" cy="23210"/>
            </a:xfrm>
            <a:custGeom>
              <a:avLst/>
              <a:gdLst/>
              <a:ahLst/>
              <a:cxnLst/>
              <a:rect l="l" t="t" r="r" b="b"/>
              <a:pathLst>
                <a:path w="114" h="41" extrusionOk="0">
                  <a:moveTo>
                    <a:pt x="110" y="24"/>
                  </a:moveTo>
                  <a:lnTo>
                    <a:pt x="52" y="8"/>
                  </a:lnTo>
                  <a:lnTo>
                    <a:pt x="39" y="18"/>
                  </a:lnTo>
                  <a:lnTo>
                    <a:pt x="29" y="2"/>
                  </a:lnTo>
                  <a:lnTo>
                    <a:pt x="14" y="0"/>
                  </a:lnTo>
                  <a:lnTo>
                    <a:pt x="21" y="6"/>
                  </a:lnTo>
                  <a:lnTo>
                    <a:pt x="0" y="8"/>
                  </a:lnTo>
                  <a:lnTo>
                    <a:pt x="4" y="12"/>
                  </a:lnTo>
                  <a:lnTo>
                    <a:pt x="16" y="20"/>
                  </a:lnTo>
                  <a:lnTo>
                    <a:pt x="2" y="26"/>
                  </a:lnTo>
                  <a:lnTo>
                    <a:pt x="10" y="41"/>
                  </a:lnTo>
                  <a:lnTo>
                    <a:pt x="114" y="28"/>
                  </a:lnTo>
                  <a:lnTo>
                    <a:pt x="110" y="2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86" name="Google Shape;2086;g7826bb8c5e_0_4294"/>
            <p:cNvSpPr/>
            <p:nvPr/>
          </p:nvSpPr>
          <p:spPr>
            <a:xfrm>
              <a:off x="5222809" y="2374873"/>
              <a:ext cx="62294" cy="13653"/>
            </a:xfrm>
            <a:custGeom>
              <a:avLst/>
              <a:gdLst/>
              <a:ahLst/>
              <a:cxnLst/>
              <a:rect l="l" t="t" r="r" b="b"/>
              <a:pathLst>
                <a:path w="120" h="23" extrusionOk="0">
                  <a:moveTo>
                    <a:pt x="120" y="11"/>
                  </a:moveTo>
                  <a:lnTo>
                    <a:pt x="65" y="0"/>
                  </a:lnTo>
                  <a:lnTo>
                    <a:pt x="5" y="7"/>
                  </a:lnTo>
                  <a:lnTo>
                    <a:pt x="21" y="9"/>
                  </a:lnTo>
                  <a:lnTo>
                    <a:pt x="17" y="15"/>
                  </a:lnTo>
                  <a:lnTo>
                    <a:pt x="0" y="17"/>
                  </a:lnTo>
                  <a:lnTo>
                    <a:pt x="34" y="19"/>
                  </a:lnTo>
                  <a:lnTo>
                    <a:pt x="25" y="23"/>
                  </a:lnTo>
                  <a:lnTo>
                    <a:pt x="118" y="21"/>
                  </a:lnTo>
                  <a:lnTo>
                    <a:pt x="106" y="15"/>
                  </a:lnTo>
                  <a:lnTo>
                    <a:pt x="120" y="1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87" name="Google Shape;2087;g7826bb8c5e_0_4294"/>
            <p:cNvSpPr/>
            <p:nvPr/>
          </p:nvSpPr>
          <p:spPr>
            <a:xfrm>
              <a:off x="4527414" y="2882765"/>
              <a:ext cx="33054" cy="15017"/>
            </a:xfrm>
            <a:custGeom>
              <a:avLst/>
              <a:gdLst/>
              <a:ahLst/>
              <a:cxnLst/>
              <a:rect l="l" t="t" r="r" b="b"/>
              <a:pathLst>
                <a:path w="62" h="24" extrusionOk="0">
                  <a:moveTo>
                    <a:pt x="17" y="0"/>
                  </a:moveTo>
                  <a:lnTo>
                    <a:pt x="15" y="8"/>
                  </a:lnTo>
                  <a:lnTo>
                    <a:pt x="0" y="6"/>
                  </a:lnTo>
                  <a:lnTo>
                    <a:pt x="0" y="8"/>
                  </a:lnTo>
                  <a:lnTo>
                    <a:pt x="4" y="10"/>
                  </a:lnTo>
                  <a:lnTo>
                    <a:pt x="0" y="12"/>
                  </a:lnTo>
                  <a:lnTo>
                    <a:pt x="0" y="18"/>
                  </a:lnTo>
                  <a:lnTo>
                    <a:pt x="13" y="20"/>
                  </a:lnTo>
                  <a:lnTo>
                    <a:pt x="62" y="24"/>
                  </a:lnTo>
                  <a:lnTo>
                    <a:pt x="60" y="8"/>
                  </a:lnTo>
                  <a:lnTo>
                    <a:pt x="35" y="4"/>
                  </a:lnTo>
                  <a:lnTo>
                    <a:pt x="17"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88" name="Google Shape;2088;g7826bb8c5e_0_4294"/>
            <p:cNvSpPr/>
            <p:nvPr/>
          </p:nvSpPr>
          <p:spPr>
            <a:xfrm>
              <a:off x="5914390" y="2496384"/>
              <a:ext cx="50852" cy="13653"/>
            </a:xfrm>
            <a:custGeom>
              <a:avLst/>
              <a:gdLst/>
              <a:ahLst/>
              <a:cxnLst/>
              <a:rect l="l" t="t" r="r" b="b"/>
              <a:pathLst>
                <a:path w="98" h="20" extrusionOk="0">
                  <a:moveTo>
                    <a:pt x="98" y="20"/>
                  </a:moveTo>
                  <a:lnTo>
                    <a:pt x="0" y="14"/>
                  </a:lnTo>
                  <a:lnTo>
                    <a:pt x="32" y="0"/>
                  </a:lnTo>
                  <a:lnTo>
                    <a:pt x="89" y="16"/>
                  </a:lnTo>
                  <a:lnTo>
                    <a:pt x="98" y="2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89" name="Google Shape;2089;g7826bb8c5e_0_4294"/>
            <p:cNvSpPr/>
            <p:nvPr/>
          </p:nvSpPr>
          <p:spPr>
            <a:xfrm>
              <a:off x="4842694" y="2579667"/>
              <a:ext cx="27969" cy="16383"/>
            </a:xfrm>
            <a:custGeom>
              <a:avLst/>
              <a:gdLst/>
              <a:ahLst/>
              <a:cxnLst/>
              <a:rect l="l" t="t" r="r" b="b"/>
              <a:pathLst>
                <a:path w="52" h="25" extrusionOk="0">
                  <a:moveTo>
                    <a:pt x="52" y="14"/>
                  </a:moveTo>
                  <a:lnTo>
                    <a:pt x="13" y="25"/>
                  </a:lnTo>
                  <a:lnTo>
                    <a:pt x="0" y="8"/>
                  </a:lnTo>
                  <a:lnTo>
                    <a:pt x="11" y="0"/>
                  </a:lnTo>
                  <a:lnTo>
                    <a:pt x="52" y="1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90" name="Google Shape;2090;g7826bb8c5e_0_4294"/>
            <p:cNvSpPr/>
            <p:nvPr/>
          </p:nvSpPr>
          <p:spPr>
            <a:xfrm>
              <a:off x="4964738" y="2563284"/>
              <a:ext cx="29240" cy="10923"/>
            </a:xfrm>
            <a:custGeom>
              <a:avLst/>
              <a:gdLst/>
              <a:ahLst/>
              <a:cxnLst/>
              <a:rect l="l" t="t" r="r" b="b"/>
              <a:pathLst>
                <a:path w="58" h="17" extrusionOk="0">
                  <a:moveTo>
                    <a:pt x="58" y="17"/>
                  </a:moveTo>
                  <a:lnTo>
                    <a:pt x="6" y="0"/>
                  </a:lnTo>
                  <a:lnTo>
                    <a:pt x="0" y="4"/>
                  </a:lnTo>
                  <a:lnTo>
                    <a:pt x="37" y="17"/>
                  </a:lnTo>
                  <a:lnTo>
                    <a:pt x="58" y="17"/>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91" name="Google Shape;2091;g7826bb8c5e_0_4294"/>
            <p:cNvSpPr/>
            <p:nvPr/>
          </p:nvSpPr>
          <p:spPr>
            <a:xfrm>
              <a:off x="6349170" y="2572841"/>
              <a:ext cx="22883" cy="5462"/>
            </a:xfrm>
            <a:custGeom>
              <a:avLst/>
              <a:gdLst/>
              <a:ahLst/>
              <a:cxnLst/>
              <a:rect l="l" t="t" r="r" b="b"/>
              <a:pathLst>
                <a:path w="45" h="10" extrusionOk="0">
                  <a:moveTo>
                    <a:pt x="45" y="4"/>
                  </a:moveTo>
                  <a:lnTo>
                    <a:pt x="41" y="10"/>
                  </a:lnTo>
                  <a:lnTo>
                    <a:pt x="0" y="2"/>
                  </a:lnTo>
                  <a:lnTo>
                    <a:pt x="39" y="0"/>
                  </a:lnTo>
                  <a:lnTo>
                    <a:pt x="45" y="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92" name="Google Shape;2092;g7826bb8c5e_0_4294"/>
            <p:cNvSpPr/>
            <p:nvPr/>
          </p:nvSpPr>
          <p:spPr>
            <a:xfrm>
              <a:off x="5075339" y="2504576"/>
              <a:ext cx="20340" cy="8192"/>
            </a:xfrm>
            <a:custGeom>
              <a:avLst/>
              <a:gdLst/>
              <a:ahLst/>
              <a:cxnLst/>
              <a:rect l="l" t="t" r="r" b="b"/>
              <a:pathLst>
                <a:path w="39" h="12" extrusionOk="0">
                  <a:moveTo>
                    <a:pt x="39" y="10"/>
                  </a:moveTo>
                  <a:lnTo>
                    <a:pt x="0" y="12"/>
                  </a:lnTo>
                  <a:lnTo>
                    <a:pt x="4" y="0"/>
                  </a:lnTo>
                  <a:lnTo>
                    <a:pt x="24" y="8"/>
                  </a:lnTo>
                  <a:lnTo>
                    <a:pt x="39" y="1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93" name="Google Shape;2093;g7826bb8c5e_0_4294"/>
            <p:cNvSpPr/>
            <p:nvPr/>
          </p:nvSpPr>
          <p:spPr>
            <a:xfrm>
              <a:off x="5557159" y="2486827"/>
              <a:ext cx="21611" cy="4096"/>
            </a:xfrm>
            <a:custGeom>
              <a:avLst/>
              <a:gdLst/>
              <a:ahLst/>
              <a:cxnLst/>
              <a:rect l="l" t="t" r="r" b="b"/>
              <a:pathLst>
                <a:path w="43" h="8" extrusionOk="0">
                  <a:moveTo>
                    <a:pt x="41" y="0"/>
                  </a:moveTo>
                  <a:lnTo>
                    <a:pt x="0" y="4"/>
                  </a:lnTo>
                  <a:lnTo>
                    <a:pt x="43" y="8"/>
                  </a:lnTo>
                  <a:lnTo>
                    <a:pt x="41"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94" name="Google Shape;2094;g7826bb8c5e_0_4294"/>
            <p:cNvSpPr/>
            <p:nvPr/>
          </p:nvSpPr>
          <p:spPr>
            <a:xfrm>
              <a:off x="5901677" y="2490923"/>
              <a:ext cx="10171" cy="5462"/>
            </a:xfrm>
            <a:custGeom>
              <a:avLst/>
              <a:gdLst/>
              <a:ahLst/>
              <a:cxnLst/>
              <a:rect l="l" t="t" r="r" b="b"/>
              <a:pathLst>
                <a:path w="22" h="9" extrusionOk="0">
                  <a:moveTo>
                    <a:pt x="22" y="0"/>
                  </a:moveTo>
                  <a:lnTo>
                    <a:pt x="0" y="0"/>
                  </a:lnTo>
                  <a:lnTo>
                    <a:pt x="22" y="9"/>
                  </a:lnTo>
                  <a:lnTo>
                    <a:pt x="22"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95" name="Google Shape;2095;g7826bb8c5e_0_4294"/>
            <p:cNvSpPr/>
            <p:nvPr/>
          </p:nvSpPr>
          <p:spPr>
            <a:xfrm>
              <a:off x="5171958" y="2523691"/>
              <a:ext cx="13985" cy="4096"/>
            </a:xfrm>
            <a:custGeom>
              <a:avLst/>
              <a:gdLst/>
              <a:ahLst/>
              <a:cxnLst/>
              <a:rect l="l" t="t" r="r" b="b"/>
              <a:pathLst>
                <a:path w="27" h="8" extrusionOk="0">
                  <a:moveTo>
                    <a:pt x="27" y="0"/>
                  </a:moveTo>
                  <a:lnTo>
                    <a:pt x="2" y="8"/>
                  </a:lnTo>
                  <a:lnTo>
                    <a:pt x="0" y="2"/>
                  </a:lnTo>
                  <a:lnTo>
                    <a:pt x="27"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96" name="Google Shape;2096;g7826bb8c5e_0_4294"/>
            <p:cNvSpPr/>
            <p:nvPr/>
          </p:nvSpPr>
          <p:spPr>
            <a:xfrm>
              <a:off x="6651736" y="2871843"/>
              <a:ext cx="27969" cy="16383"/>
            </a:xfrm>
            <a:custGeom>
              <a:avLst/>
              <a:gdLst/>
              <a:ahLst/>
              <a:cxnLst/>
              <a:rect l="l" t="t" r="r" b="b"/>
              <a:pathLst>
                <a:path w="48" h="25" extrusionOk="0">
                  <a:moveTo>
                    <a:pt x="48" y="25"/>
                  </a:moveTo>
                  <a:lnTo>
                    <a:pt x="0" y="0"/>
                  </a:lnTo>
                  <a:lnTo>
                    <a:pt x="40" y="17"/>
                  </a:lnTo>
                  <a:lnTo>
                    <a:pt x="48" y="25"/>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97" name="Google Shape;2097;g7826bb8c5e_0_4294"/>
            <p:cNvSpPr/>
            <p:nvPr/>
          </p:nvSpPr>
          <p:spPr>
            <a:xfrm>
              <a:off x="5808873" y="2462251"/>
              <a:ext cx="13984" cy="8192"/>
            </a:xfrm>
            <a:custGeom>
              <a:avLst/>
              <a:gdLst/>
              <a:ahLst/>
              <a:cxnLst/>
              <a:rect l="l" t="t" r="r" b="b"/>
              <a:pathLst>
                <a:path w="27" h="14" extrusionOk="0">
                  <a:moveTo>
                    <a:pt x="23" y="6"/>
                  </a:moveTo>
                  <a:lnTo>
                    <a:pt x="0" y="0"/>
                  </a:lnTo>
                  <a:lnTo>
                    <a:pt x="27" y="14"/>
                  </a:lnTo>
                  <a:lnTo>
                    <a:pt x="23" y="6"/>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98" name="Google Shape;2098;g7826bb8c5e_0_4294"/>
            <p:cNvSpPr/>
            <p:nvPr/>
          </p:nvSpPr>
          <p:spPr>
            <a:xfrm>
              <a:off x="4541399" y="2795386"/>
              <a:ext cx="13985" cy="1364"/>
            </a:xfrm>
            <a:custGeom>
              <a:avLst/>
              <a:gdLst/>
              <a:ahLst/>
              <a:cxnLst/>
              <a:rect l="l" t="t" r="r" b="b"/>
              <a:pathLst>
                <a:path w="25" h="4" extrusionOk="0">
                  <a:moveTo>
                    <a:pt x="25" y="4"/>
                  </a:moveTo>
                  <a:lnTo>
                    <a:pt x="0" y="4"/>
                  </a:lnTo>
                  <a:lnTo>
                    <a:pt x="8" y="0"/>
                  </a:lnTo>
                  <a:lnTo>
                    <a:pt x="25" y="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099" name="Google Shape;2099;g7826bb8c5e_0_4294"/>
            <p:cNvSpPr/>
            <p:nvPr/>
          </p:nvSpPr>
          <p:spPr>
            <a:xfrm>
              <a:off x="4425712" y="3128520"/>
              <a:ext cx="1271" cy="0"/>
            </a:xfrm>
            <a:custGeom>
              <a:avLst/>
              <a:gdLst/>
              <a:ahLst/>
              <a:cxnLst/>
              <a:rect l="l" t="t" r="r" b="b"/>
              <a:pathLst>
                <a:path w="4" h="2" extrusionOk="0">
                  <a:moveTo>
                    <a:pt x="4" y="0"/>
                  </a:moveTo>
                  <a:lnTo>
                    <a:pt x="2" y="0"/>
                  </a:lnTo>
                  <a:lnTo>
                    <a:pt x="0" y="0"/>
                  </a:lnTo>
                  <a:lnTo>
                    <a:pt x="0" y="0"/>
                  </a:lnTo>
                  <a:lnTo>
                    <a:pt x="2" y="0"/>
                  </a:lnTo>
                  <a:lnTo>
                    <a:pt x="4"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00" name="Google Shape;2100;g7826bb8c5e_0_4294"/>
            <p:cNvSpPr/>
            <p:nvPr/>
          </p:nvSpPr>
          <p:spPr>
            <a:xfrm>
              <a:off x="4482920" y="3001546"/>
              <a:ext cx="91533" cy="36863"/>
            </a:xfrm>
            <a:custGeom>
              <a:avLst/>
              <a:gdLst/>
              <a:ahLst/>
              <a:cxnLst/>
              <a:rect l="l" t="t" r="r" b="b"/>
              <a:pathLst>
                <a:path w="173" h="62" extrusionOk="0">
                  <a:moveTo>
                    <a:pt x="64" y="0"/>
                  </a:moveTo>
                  <a:lnTo>
                    <a:pt x="63" y="4"/>
                  </a:lnTo>
                  <a:lnTo>
                    <a:pt x="53" y="10"/>
                  </a:lnTo>
                  <a:lnTo>
                    <a:pt x="45" y="14"/>
                  </a:lnTo>
                  <a:lnTo>
                    <a:pt x="45" y="18"/>
                  </a:lnTo>
                  <a:lnTo>
                    <a:pt x="35" y="27"/>
                  </a:lnTo>
                  <a:lnTo>
                    <a:pt x="20" y="31"/>
                  </a:lnTo>
                  <a:lnTo>
                    <a:pt x="10" y="31"/>
                  </a:lnTo>
                  <a:lnTo>
                    <a:pt x="0" y="29"/>
                  </a:lnTo>
                  <a:lnTo>
                    <a:pt x="20" y="56"/>
                  </a:lnTo>
                  <a:lnTo>
                    <a:pt x="28" y="62"/>
                  </a:lnTo>
                  <a:lnTo>
                    <a:pt x="66" y="62"/>
                  </a:lnTo>
                  <a:lnTo>
                    <a:pt x="115" y="41"/>
                  </a:lnTo>
                  <a:lnTo>
                    <a:pt x="165" y="43"/>
                  </a:lnTo>
                  <a:lnTo>
                    <a:pt x="173" y="18"/>
                  </a:lnTo>
                  <a:lnTo>
                    <a:pt x="128" y="6"/>
                  </a:lnTo>
                  <a:lnTo>
                    <a:pt x="103" y="8"/>
                  </a:lnTo>
                  <a:lnTo>
                    <a:pt x="95" y="2"/>
                  </a:lnTo>
                  <a:lnTo>
                    <a:pt x="64"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01" name="Google Shape;2101;g7826bb8c5e_0_4294"/>
            <p:cNvSpPr/>
            <p:nvPr/>
          </p:nvSpPr>
          <p:spPr>
            <a:xfrm>
              <a:off x="4439695" y="3062986"/>
              <a:ext cx="44496" cy="30036"/>
            </a:xfrm>
            <a:custGeom>
              <a:avLst/>
              <a:gdLst/>
              <a:ahLst/>
              <a:cxnLst/>
              <a:rect l="l" t="t" r="r" b="b"/>
              <a:pathLst>
                <a:path w="87" h="52" extrusionOk="0">
                  <a:moveTo>
                    <a:pt x="14" y="52"/>
                  </a:moveTo>
                  <a:lnTo>
                    <a:pt x="27" y="52"/>
                  </a:lnTo>
                  <a:lnTo>
                    <a:pt x="33" y="47"/>
                  </a:lnTo>
                  <a:lnTo>
                    <a:pt x="37" y="51"/>
                  </a:lnTo>
                  <a:lnTo>
                    <a:pt x="39" y="51"/>
                  </a:lnTo>
                  <a:lnTo>
                    <a:pt x="41" y="49"/>
                  </a:lnTo>
                  <a:lnTo>
                    <a:pt x="47" y="52"/>
                  </a:lnTo>
                  <a:lnTo>
                    <a:pt x="54" y="52"/>
                  </a:lnTo>
                  <a:lnTo>
                    <a:pt x="52" y="47"/>
                  </a:lnTo>
                  <a:lnTo>
                    <a:pt x="52" y="43"/>
                  </a:lnTo>
                  <a:lnTo>
                    <a:pt x="62" y="39"/>
                  </a:lnTo>
                  <a:lnTo>
                    <a:pt x="68" y="39"/>
                  </a:lnTo>
                  <a:lnTo>
                    <a:pt x="64" y="33"/>
                  </a:lnTo>
                  <a:lnTo>
                    <a:pt x="62" y="29"/>
                  </a:lnTo>
                  <a:lnTo>
                    <a:pt x="60" y="23"/>
                  </a:lnTo>
                  <a:lnTo>
                    <a:pt x="70" y="21"/>
                  </a:lnTo>
                  <a:lnTo>
                    <a:pt x="74" y="18"/>
                  </a:lnTo>
                  <a:lnTo>
                    <a:pt x="82" y="18"/>
                  </a:lnTo>
                  <a:lnTo>
                    <a:pt x="82" y="14"/>
                  </a:lnTo>
                  <a:lnTo>
                    <a:pt x="85" y="14"/>
                  </a:lnTo>
                  <a:lnTo>
                    <a:pt x="87" y="10"/>
                  </a:lnTo>
                  <a:lnTo>
                    <a:pt x="78" y="4"/>
                  </a:lnTo>
                  <a:lnTo>
                    <a:pt x="76" y="0"/>
                  </a:lnTo>
                  <a:lnTo>
                    <a:pt x="16" y="16"/>
                  </a:lnTo>
                  <a:lnTo>
                    <a:pt x="4" y="14"/>
                  </a:lnTo>
                  <a:lnTo>
                    <a:pt x="0" y="25"/>
                  </a:lnTo>
                  <a:lnTo>
                    <a:pt x="6" y="49"/>
                  </a:lnTo>
                  <a:lnTo>
                    <a:pt x="14" y="52"/>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02" name="Google Shape;2102;g7826bb8c5e_0_4294"/>
            <p:cNvSpPr/>
            <p:nvPr/>
          </p:nvSpPr>
          <p:spPr>
            <a:xfrm>
              <a:off x="4324009" y="3043871"/>
              <a:ext cx="67378" cy="38229"/>
            </a:xfrm>
            <a:custGeom>
              <a:avLst/>
              <a:gdLst/>
              <a:ahLst/>
              <a:cxnLst/>
              <a:rect l="l" t="t" r="r" b="b"/>
              <a:pathLst>
                <a:path w="130" h="64" extrusionOk="0">
                  <a:moveTo>
                    <a:pt x="124" y="39"/>
                  </a:moveTo>
                  <a:lnTo>
                    <a:pt x="117" y="48"/>
                  </a:lnTo>
                  <a:lnTo>
                    <a:pt x="95" y="48"/>
                  </a:lnTo>
                  <a:lnTo>
                    <a:pt x="84" y="64"/>
                  </a:lnTo>
                  <a:lnTo>
                    <a:pt x="64" y="48"/>
                  </a:lnTo>
                  <a:lnTo>
                    <a:pt x="47" y="62"/>
                  </a:lnTo>
                  <a:lnTo>
                    <a:pt x="29" y="64"/>
                  </a:lnTo>
                  <a:lnTo>
                    <a:pt x="12" y="45"/>
                  </a:lnTo>
                  <a:lnTo>
                    <a:pt x="0" y="52"/>
                  </a:lnTo>
                  <a:lnTo>
                    <a:pt x="25" y="14"/>
                  </a:lnTo>
                  <a:lnTo>
                    <a:pt x="33" y="10"/>
                  </a:lnTo>
                  <a:lnTo>
                    <a:pt x="43" y="4"/>
                  </a:lnTo>
                  <a:lnTo>
                    <a:pt x="72" y="0"/>
                  </a:lnTo>
                  <a:lnTo>
                    <a:pt x="101" y="6"/>
                  </a:lnTo>
                  <a:lnTo>
                    <a:pt x="101" y="16"/>
                  </a:lnTo>
                  <a:lnTo>
                    <a:pt x="101" y="19"/>
                  </a:lnTo>
                  <a:lnTo>
                    <a:pt x="99" y="23"/>
                  </a:lnTo>
                  <a:lnTo>
                    <a:pt x="107" y="23"/>
                  </a:lnTo>
                  <a:lnTo>
                    <a:pt x="130" y="29"/>
                  </a:lnTo>
                  <a:lnTo>
                    <a:pt x="130" y="31"/>
                  </a:lnTo>
                  <a:lnTo>
                    <a:pt x="124" y="39"/>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03" name="Google Shape;2103;g7826bb8c5e_0_4294"/>
            <p:cNvSpPr/>
            <p:nvPr/>
          </p:nvSpPr>
          <p:spPr>
            <a:xfrm>
              <a:off x="4522330" y="3079369"/>
              <a:ext cx="69921" cy="96936"/>
            </a:xfrm>
            <a:custGeom>
              <a:avLst/>
              <a:gdLst/>
              <a:ahLst/>
              <a:cxnLst/>
              <a:rect l="l" t="t" r="r" b="b"/>
              <a:pathLst>
                <a:path w="136" h="159" extrusionOk="0">
                  <a:moveTo>
                    <a:pt x="23" y="31"/>
                  </a:moveTo>
                  <a:lnTo>
                    <a:pt x="23" y="33"/>
                  </a:lnTo>
                  <a:lnTo>
                    <a:pt x="14" y="35"/>
                  </a:lnTo>
                  <a:lnTo>
                    <a:pt x="12" y="45"/>
                  </a:lnTo>
                  <a:lnTo>
                    <a:pt x="21" y="45"/>
                  </a:lnTo>
                  <a:lnTo>
                    <a:pt x="21" y="51"/>
                  </a:lnTo>
                  <a:lnTo>
                    <a:pt x="20" y="56"/>
                  </a:lnTo>
                  <a:lnTo>
                    <a:pt x="14" y="62"/>
                  </a:lnTo>
                  <a:lnTo>
                    <a:pt x="16" y="64"/>
                  </a:lnTo>
                  <a:lnTo>
                    <a:pt x="20" y="70"/>
                  </a:lnTo>
                  <a:lnTo>
                    <a:pt x="33" y="78"/>
                  </a:lnTo>
                  <a:lnTo>
                    <a:pt x="23" y="82"/>
                  </a:lnTo>
                  <a:lnTo>
                    <a:pt x="31" y="87"/>
                  </a:lnTo>
                  <a:lnTo>
                    <a:pt x="31" y="95"/>
                  </a:lnTo>
                  <a:lnTo>
                    <a:pt x="14" y="99"/>
                  </a:lnTo>
                  <a:lnTo>
                    <a:pt x="21" y="105"/>
                  </a:lnTo>
                  <a:lnTo>
                    <a:pt x="18" y="109"/>
                  </a:lnTo>
                  <a:lnTo>
                    <a:pt x="12" y="105"/>
                  </a:lnTo>
                  <a:lnTo>
                    <a:pt x="4" y="117"/>
                  </a:lnTo>
                  <a:lnTo>
                    <a:pt x="0" y="118"/>
                  </a:lnTo>
                  <a:lnTo>
                    <a:pt x="8" y="130"/>
                  </a:lnTo>
                  <a:lnTo>
                    <a:pt x="0" y="132"/>
                  </a:lnTo>
                  <a:lnTo>
                    <a:pt x="0" y="138"/>
                  </a:lnTo>
                  <a:lnTo>
                    <a:pt x="21" y="149"/>
                  </a:lnTo>
                  <a:lnTo>
                    <a:pt x="31" y="159"/>
                  </a:lnTo>
                  <a:lnTo>
                    <a:pt x="37" y="134"/>
                  </a:lnTo>
                  <a:lnTo>
                    <a:pt x="56" y="138"/>
                  </a:lnTo>
                  <a:lnTo>
                    <a:pt x="64" y="157"/>
                  </a:lnTo>
                  <a:lnTo>
                    <a:pt x="72" y="157"/>
                  </a:lnTo>
                  <a:lnTo>
                    <a:pt x="72" y="151"/>
                  </a:lnTo>
                  <a:lnTo>
                    <a:pt x="82" y="148"/>
                  </a:lnTo>
                  <a:lnTo>
                    <a:pt x="89" y="149"/>
                  </a:lnTo>
                  <a:lnTo>
                    <a:pt x="93" y="144"/>
                  </a:lnTo>
                  <a:lnTo>
                    <a:pt x="97" y="146"/>
                  </a:lnTo>
                  <a:lnTo>
                    <a:pt x="105" y="146"/>
                  </a:lnTo>
                  <a:lnTo>
                    <a:pt x="109" y="144"/>
                  </a:lnTo>
                  <a:lnTo>
                    <a:pt x="118" y="142"/>
                  </a:lnTo>
                  <a:lnTo>
                    <a:pt x="126" y="149"/>
                  </a:lnTo>
                  <a:lnTo>
                    <a:pt x="132" y="146"/>
                  </a:lnTo>
                  <a:lnTo>
                    <a:pt x="122" y="134"/>
                  </a:lnTo>
                  <a:lnTo>
                    <a:pt x="136" y="115"/>
                  </a:lnTo>
                  <a:lnTo>
                    <a:pt x="122" y="93"/>
                  </a:lnTo>
                  <a:lnTo>
                    <a:pt x="124" y="70"/>
                  </a:lnTo>
                  <a:lnTo>
                    <a:pt x="122" y="58"/>
                  </a:lnTo>
                  <a:lnTo>
                    <a:pt x="111" y="54"/>
                  </a:lnTo>
                  <a:lnTo>
                    <a:pt x="103" y="53"/>
                  </a:lnTo>
                  <a:lnTo>
                    <a:pt x="89" y="45"/>
                  </a:lnTo>
                  <a:lnTo>
                    <a:pt x="45" y="0"/>
                  </a:lnTo>
                  <a:lnTo>
                    <a:pt x="0" y="8"/>
                  </a:lnTo>
                  <a:lnTo>
                    <a:pt x="10" y="22"/>
                  </a:lnTo>
                  <a:lnTo>
                    <a:pt x="14" y="23"/>
                  </a:lnTo>
                  <a:lnTo>
                    <a:pt x="10" y="25"/>
                  </a:lnTo>
                  <a:lnTo>
                    <a:pt x="14" y="29"/>
                  </a:lnTo>
                  <a:lnTo>
                    <a:pt x="23" y="3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04" name="Google Shape;2104;g7826bb8c5e_0_4294"/>
            <p:cNvSpPr/>
            <p:nvPr/>
          </p:nvSpPr>
          <p:spPr>
            <a:xfrm>
              <a:off x="3177307" y="2376237"/>
              <a:ext cx="114415" cy="46421"/>
            </a:xfrm>
            <a:custGeom>
              <a:avLst/>
              <a:gdLst/>
              <a:ahLst/>
              <a:cxnLst/>
              <a:rect l="l" t="t" r="r" b="b"/>
              <a:pathLst>
                <a:path w="219" h="77" extrusionOk="0">
                  <a:moveTo>
                    <a:pt x="45" y="21"/>
                  </a:moveTo>
                  <a:lnTo>
                    <a:pt x="29" y="13"/>
                  </a:lnTo>
                  <a:lnTo>
                    <a:pt x="103" y="0"/>
                  </a:lnTo>
                  <a:lnTo>
                    <a:pt x="194" y="15"/>
                  </a:lnTo>
                  <a:lnTo>
                    <a:pt x="172" y="38"/>
                  </a:lnTo>
                  <a:lnTo>
                    <a:pt x="219" y="44"/>
                  </a:lnTo>
                  <a:lnTo>
                    <a:pt x="140" y="60"/>
                  </a:lnTo>
                  <a:lnTo>
                    <a:pt x="105" y="75"/>
                  </a:lnTo>
                  <a:lnTo>
                    <a:pt x="91" y="64"/>
                  </a:lnTo>
                  <a:lnTo>
                    <a:pt x="89" y="77"/>
                  </a:lnTo>
                  <a:lnTo>
                    <a:pt x="12" y="54"/>
                  </a:lnTo>
                  <a:lnTo>
                    <a:pt x="103" y="46"/>
                  </a:lnTo>
                  <a:lnTo>
                    <a:pt x="0" y="35"/>
                  </a:lnTo>
                  <a:lnTo>
                    <a:pt x="45" y="2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05" name="Google Shape;2105;g7826bb8c5e_0_4294"/>
            <p:cNvSpPr/>
            <p:nvPr/>
          </p:nvSpPr>
          <p:spPr>
            <a:xfrm>
              <a:off x="2282321" y="2974240"/>
              <a:ext cx="49580" cy="53246"/>
            </a:xfrm>
            <a:custGeom>
              <a:avLst/>
              <a:gdLst/>
              <a:ahLst/>
              <a:cxnLst/>
              <a:rect l="l" t="t" r="r" b="b"/>
              <a:pathLst>
                <a:path w="91" h="87" extrusionOk="0">
                  <a:moveTo>
                    <a:pt x="64" y="60"/>
                  </a:moveTo>
                  <a:lnTo>
                    <a:pt x="58" y="64"/>
                  </a:lnTo>
                  <a:lnTo>
                    <a:pt x="35" y="64"/>
                  </a:lnTo>
                  <a:lnTo>
                    <a:pt x="43" y="56"/>
                  </a:lnTo>
                  <a:lnTo>
                    <a:pt x="33" y="54"/>
                  </a:lnTo>
                  <a:lnTo>
                    <a:pt x="18" y="50"/>
                  </a:lnTo>
                  <a:lnTo>
                    <a:pt x="39" y="40"/>
                  </a:lnTo>
                  <a:lnTo>
                    <a:pt x="20" y="33"/>
                  </a:lnTo>
                  <a:lnTo>
                    <a:pt x="18" y="25"/>
                  </a:lnTo>
                  <a:lnTo>
                    <a:pt x="6" y="23"/>
                  </a:lnTo>
                  <a:lnTo>
                    <a:pt x="4" y="17"/>
                  </a:lnTo>
                  <a:lnTo>
                    <a:pt x="20" y="9"/>
                  </a:lnTo>
                  <a:lnTo>
                    <a:pt x="12" y="9"/>
                  </a:lnTo>
                  <a:lnTo>
                    <a:pt x="0" y="0"/>
                  </a:lnTo>
                  <a:lnTo>
                    <a:pt x="33" y="7"/>
                  </a:lnTo>
                  <a:lnTo>
                    <a:pt x="64" y="13"/>
                  </a:lnTo>
                  <a:lnTo>
                    <a:pt x="72" y="31"/>
                  </a:lnTo>
                  <a:lnTo>
                    <a:pt x="88" y="52"/>
                  </a:lnTo>
                  <a:lnTo>
                    <a:pt x="89" y="81"/>
                  </a:lnTo>
                  <a:lnTo>
                    <a:pt x="91" y="87"/>
                  </a:lnTo>
                  <a:lnTo>
                    <a:pt x="47" y="73"/>
                  </a:lnTo>
                  <a:lnTo>
                    <a:pt x="64" y="60"/>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06" name="Google Shape;2106;g7826bb8c5e_0_4294"/>
            <p:cNvSpPr/>
            <p:nvPr/>
          </p:nvSpPr>
          <p:spPr>
            <a:xfrm>
              <a:off x="2959917" y="2572841"/>
              <a:ext cx="52123" cy="27306"/>
            </a:xfrm>
            <a:custGeom>
              <a:avLst/>
              <a:gdLst/>
              <a:ahLst/>
              <a:cxnLst/>
              <a:rect l="l" t="t" r="r" b="b"/>
              <a:pathLst>
                <a:path w="103" h="47" extrusionOk="0">
                  <a:moveTo>
                    <a:pt x="87" y="24"/>
                  </a:moveTo>
                  <a:lnTo>
                    <a:pt x="91" y="20"/>
                  </a:lnTo>
                  <a:lnTo>
                    <a:pt x="62" y="0"/>
                  </a:lnTo>
                  <a:lnTo>
                    <a:pt x="49" y="12"/>
                  </a:lnTo>
                  <a:lnTo>
                    <a:pt x="45" y="10"/>
                  </a:lnTo>
                  <a:lnTo>
                    <a:pt x="37" y="20"/>
                  </a:lnTo>
                  <a:lnTo>
                    <a:pt x="0" y="28"/>
                  </a:lnTo>
                  <a:lnTo>
                    <a:pt x="60" y="47"/>
                  </a:lnTo>
                  <a:lnTo>
                    <a:pt x="103" y="33"/>
                  </a:lnTo>
                  <a:lnTo>
                    <a:pt x="91" y="33"/>
                  </a:lnTo>
                  <a:lnTo>
                    <a:pt x="87" y="24"/>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07" name="Google Shape;2107;g7826bb8c5e_0_4294"/>
            <p:cNvSpPr/>
            <p:nvPr/>
          </p:nvSpPr>
          <p:spPr>
            <a:xfrm>
              <a:off x="3537081" y="2564648"/>
              <a:ext cx="35596" cy="19115"/>
            </a:xfrm>
            <a:custGeom>
              <a:avLst/>
              <a:gdLst/>
              <a:ahLst/>
              <a:cxnLst/>
              <a:rect l="l" t="t" r="r" b="b"/>
              <a:pathLst>
                <a:path w="66" h="31" extrusionOk="0">
                  <a:moveTo>
                    <a:pt x="66" y="21"/>
                  </a:moveTo>
                  <a:lnTo>
                    <a:pt x="17" y="0"/>
                  </a:lnTo>
                  <a:lnTo>
                    <a:pt x="2" y="8"/>
                  </a:lnTo>
                  <a:lnTo>
                    <a:pt x="4" y="10"/>
                  </a:lnTo>
                  <a:lnTo>
                    <a:pt x="0" y="17"/>
                  </a:lnTo>
                  <a:lnTo>
                    <a:pt x="6" y="23"/>
                  </a:lnTo>
                  <a:lnTo>
                    <a:pt x="19" y="27"/>
                  </a:lnTo>
                  <a:lnTo>
                    <a:pt x="12" y="31"/>
                  </a:lnTo>
                  <a:lnTo>
                    <a:pt x="66" y="2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08" name="Google Shape;2108;g7826bb8c5e_0_4294"/>
            <p:cNvSpPr/>
            <p:nvPr/>
          </p:nvSpPr>
          <p:spPr>
            <a:xfrm>
              <a:off x="4133315" y="2825422"/>
              <a:ext cx="13984" cy="9557"/>
            </a:xfrm>
            <a:custGeom>
              <a:avLst/>
              <a:gdLst/>
              <a:ahLst/>
              <a:cxnLst/>
              <a:rect l="l" t="t" r="r" b="b"/>
              <a:pathLst>
                <a:path w="29" h="16" extrusionOk="0">
                  <a:moveTo>
                    <a:pt x="15" y="2"/>
                  </a:moveTo>
                  <a:lnTo>
                    <a:pt x="10" y="0"/>
                  </a:lnTo>
                  <a:lnTo>
                    <a:pt x="0" y="6"/>
                  </a:lnTo>
                  <a:lnTo>
                    <a:pt x="25" y="16"/>
                  </a:lnTo>
                  <a:lnTo>
                    <a:pt x="29" y="10"/>
                  </a:lnTo>
                  <a:lnTo>
                    <a:pt x="15" y="2"/>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09" name="Google Shape;2109;g7826bb8c5e_0_4294"/>
            <p:cNvSpPr/>
            <p:nvPr/>
          </p:nvSpPr>
          <p:spPr>
            <a:xfrm>
              <a:off x="4128231" y="2807673"/>
              <a:ext cx="13984" cy="10923"/>
            </a:xfrm>
            <a:custGeom>
              <a:avLst/>
              <a:gdLst/>
              <a:ahLst/>
              <a:cxnLst/>
              <a:rect l="l" t="t" r="r" b="b"/>
              <a:pathLst>
                <a:path w="23" h="18" extrusionOk="0">
                  <a:moveTo>
                    <a:pt x="23" y="6"/>
                  </a:moveTo>
                  <a:lnTo>
                    <a:pt x="21" y="0"/>
                  </a:lnTo>
                  <a:lnTo>
                    <a:pt x="4" y="6"/>
                  </a:lnTo>
                  <a:lnTo>
                    <a:pt x="0" y="18"/>
                  </a:lnTo>
                  <a:lnTo>
                    <a:pt x="23" y="6"/>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10" name="Google Shape;2110;g7826bb8c5e_0_4294"/>
            <p:cNvSpPr/>
            <p:nvPr/>
          </p:nvSpPr>
          <p:spPr>
            <a:xfrm>
              <a:off x="4208321" y="2763983"/>
              <a:ext cx="5085" cy="9557"/>
            </a:xfrm>
            <a:custGeom>
              <a:avLst/>
              <a:gdLst/>
              <a:ahLst/>
              <a:cxnLst/>
              <a:rect l="l" t="t" r="r" b="b"/>
              <a:pathLst>
                <a:path w="12" h="15" extrusionOk="0">
                  <a:moveTo>
                    <a:pt x="4" y="0"/>
                  </a:moveTo>
                  <a:lnTo>
                    <a:pt x="2" y="5"/>
                  </a:lnTo>
                  <a:lnTo>
                    <a:pt x="0" y="9"/>
                  </a:lnTo>
                  <a:lnTo>
                    <a:pt x="4" y="15"/>
                  </a:lnTo>
                  <a:lnTo>
                    <a:pt x="12" y="0"/>
                  </a:lnTo>
                  <a:lnTo>
                    <a:pt x="4"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11" name="Google Shape;2111;g7826bb8c5e_0_4294"/>
            <p:cNvSpPr/>
            <p:nvPr/>
          </p:nvSpPr>
          <p:spPr>
            <a:xfrm>
              <a:off x="4140944" y="2847267"/>
              <a:ext cx="6356" cy="5462"/>
            </a:xfrm>
            <a:custGeom>
              <a:avLst/>
              <a:gdLst/>
              <a:ahLst/>
              <a:cxnLst/>
              <a:rect l="l" t="t" r="r" b="b"/>
              <a:pathLst>
                <a:path w="14" h="8" extrusionOk="0">
                  <a:moveTo>
                    <a:pt x="2" y="8"/>
                  </a:moveTo>
                  <a:lnTo>
                    <a:pt x="14" y="2"/>
                  </a:lnTo>
                  <a:lnTo>
                    <a:pt x="0" y="0"/>
                  </a:lnTo>
                  <a:lnTo>
                    <a:pt x="2" y="8"/>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12" name="Google Shape;2112;g7826bb8c5e_0_4294"/>
            <p:cNvSpPr/>
            <p:nvPr/>
          </p:nvSpPr>
          <p:spPr>
            <a:xfrm>
              <a:off x="4163827" y="2915532"/>
              <a:ext cx="3813" cy="5462"/>
            </a:xfrm>
            <a:custGeom>
              <a:avLst/>
              <a:gdLst/>
              <a:ahLst/>
              <a:cxnLst/>
              <a:rect l="l" t="t" r="r" b="b"/>
              <a:pathLst>
                <a:path w="10" h="9" extrusionOk="0">
                  <a:moveTo>
                    <a:pt x="10" y="5"/>
                  </a:moveTo>
                  <a:lnTo>
                    <a:pt x="0" y="0"/>
                  </a:lnTo>
                  <a:lnTo>
                    <a:pt x="0" y="9"/>
                  </a:lnTo>
                  <a:lnTo>
                    <a:pt x="10" y="5"/>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13" name="Google Shape;2113;g7826bb8c5e_0_4294"/>
            <p:cNvSpPr/>
            <p:nvPr/>
          </p:nvSpPr>
          <p:spPr>
            <a:xfrm>
              <a:off x="4251545" y="3158556"/>
              <a:ext cx="6356" cy="2730"/>
            </a:xfrm>
            <a:custGeom>
              <a:avLst/>
              <a:gdLst/>
              <a:ahLst/>
              <a:cxnLst/>
              <a:rect l="l" t="t" r="r" b="b"/>
              <a:pathLst>
                <a:path w="9" h="6" extrusionOk="0">
                  <a:moveTo>
                    <a:pt x="9" y="0"/>
                  </a:moveTo>
                  <a:lnTo>
                    <a:pt x="0" y="2"/>
                  </a:lnTo>
                  <a:lnTo>
                    <a:pt x="2" y="4"/>
                  </a:lnTo>
                  <a:lnTo>
                    <a:pt x="9" y="6"/>
                  </a:lnTo>
                  <a:lnTo>
                    <a:pt x="9" y="0"/>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14" name="Google Shape;2114;g7826bb8c5e_0_4294"/>
            <p:cNvSpPr/>
            <p:nvPr/>
          </p:nvSpPr>
          <p:spPr>
            <a:xfrm>
              <a:off x="3763370" y="3252762"/>
              <a:ext cx="8900" cy="2730"/>
            </a:xfrm>
            <a:custGeom>
              <a:avLst/>
              <a:gdLst/>
              <a:ahLst/>
              <a:cxnLst/>
              <a:rect l="l" t="t" r="r" b="b"/>
              <a:pathLst>
                <a:path w="16" h="4" extrusionOk="0">
                  <a:moveTo>
                    <a:pt x="4" y="0"/>
                  </a:moveTo>
                  <a:lnTo>
                    <a:pt x="0" y="2"/>
                  </a:lnTo>
                  <a:lnTo>
                    <a:pt x="16" y="4"/>
                  </a:lnTo>
                  <a:lnTo>
                    <a:pt x="4" y="0"/>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15" name="Google Shape;2115;g7826bb8c5e_0_4294"/>
            <p:cNvSpPr/>
            <p:nvPr/>
          </p:nvSpPr>
          <p:spPr>
            <a:xfrm>
              <a:off x="3784982" y="3247302"/>
              <a:ext cx="3813" cy="2730"/>
            </a:xfrm>
            <a:custGeom>
              <a:avLst/>
              <a:gdLst/>
              <a:ahLst/>
              <a:cxnLst/>
              <a:rect l="l" t="t" r="r" b="b"/>
              <a:pathLst>
                <a:path w="12" h="3" extrusionOk="0">
                  <a:moveTo>
                    <a:pt x="12" y="3"/>
                  </a:moveTo>
                  <a:lnTo>
                    <a:pt x="0" y="3"/>
                  </a:lnTo>
                  <a:lnTo>
                    <a:pt x="4" y="0"/>
                  </a:lnTo>
                  <a:lnTo>
                    <a:pt x="12" y="3"/>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16" name="Google Shape;2116;g7826bb8c5e_0_4294"/>
            <p:cNvSpPr/>
            <p:nvPr/>
          </p:nvSpPr>
          <p:spPr>
            <a:xfrm>
              <a:off x="2281048" y="2852728"/>
              <a:ext cx="17798" cy="34132"/>
            </a:xfrm>
            <a:custGeom>
              <a:avLst/>
              <a:gdLst/>
              <a:ahLst/>
              <a:cxnLst/>
              <a:rect l="l" t="t" r="r" b="b"/>
              <a:pathLst>
                <a:path w="35" h="58" extrusionOk="0">
                  <a:moveTo>
                    <a:pt x="22" y="54"/>
                  </a:moveTo>
                  <a:lnTo>
                    <a:pt x="16" y="58"/>
                  </a:lnTo>
                  <a:lnTo>
                    <a:pt x="14" y="47"/>
                  </a:lnTo>
                  <a:lnTo>
                    <a:pt x="0" y="39"/>
                  </a:lnTo>
                  <a:lnTo>
                    <a:pt x="12" y="35"/>
                  </a:lnTo>
                  <a:lnTo>
                    <a:pt x="20" y="25"/>
                  </a:lnTo>
                  <a:lnTo>
                    <a:pt x="8" y="27"/>
                  </a:lnTo>
                  <a:lnTo>
                    <a:pt x="22" y="15"/>
                  </a:lnTo>
                  <a:lnTo>
                    <a:pt x="20" y="6"/>
                  </a:lnTo>
                  <a:lnTo>
                    <a:pt x="31" y="0"/>
                  </a:lnTo>
                  <a:lnTo>
                    <a:pt x="35" y="29"/>
                  </a:lnTo>
                  <a:lnTo>
                    <a:pt x="29" y="25"/>
                  </a:lnTo>
                  <a:lnTo>
                    <a:pt x="28" y="33"/>
                  </a:lnTo>
                  <a:lnTo>
                    <a:pt x="22" y="54"/>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17" name="Google Shape;2117;g7826bb8c5e_0_4294"/>
            <p:cNvSpPr/>
            <p:nvPr/>
          </p:nvSpPr>
          <p:spPr>
            <a:xfrm>
              <a:off x="2293761" y="2810403"/>
              <a:ext cx="19070" cy="25942"/>
            </a:xfrm>
            <a:custGeom>
              <a:avLst/>
              <a:gdLst/>
              <a:ahLst/>
              <a:cxnLst/>
              <a:rect l="l" t="t" r="r" b="b"/>
              <a:pathLst>
                <a:path w="38" h="43" extrusionOk="0">
                  <a:moveTo>
                    <a:pt x="37" y="23"/>
                  </a:moveTo>
                  <a:lnTo>
                    <a:pt x="27" y="27"/>
                  </a:lnTo>
                  <a:lnTo>
                    <a:pt x="0" y="43"/>
                  </a:lnTo>
                  <a:lnTo>
                    <a:pt x="7" y="33"/>
                  </a:lnTo>
                  <a:lnTo>
                    <a:pt x="29" y="0"/>
                  </a:lnTo>
                  <a:lnTo>
                    <a:pt x="38" y="2"/>
                  </a:lnTo>
                  <a:lnTo>
                    <a:pt x="37" y="23"/>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18" name="Google Shape;2118;g7826bb8c5e_0_4294"/>
            <p:cNvSpPr/>
            <p:nvPr/>
          </p:nvSpPr>
          <p:spPr>
            <a:xfrm>
              <a:off x="1805586" y="2880035"/>
              <a:ext cx="26698" cy="12287"/>
            </a:xfrm>
            <a:custGeom>
              <a:avLst/>
              <a:gdLst/>
              <a:ahLst/>
              <a:cxnLst/>
              <a:rect l="l" t="t" r="r" b="b"/>
              <a:pathLst>
                <a:path w="57" h="19" extrusionOk="0">
                  <a:moveTo>
                    <a:pt x="57" y="13"/>
                  </a:moveTo>
                  <a:lnTo>
                    <a:pt x="45" y="0"/>
                  </a:lnTo>
                  <a:lnTo>
                    <a:pt x="0" y="15"/>
                  </a:lnTo>
                  <a:lnTo>
                    <a:pt x="14" y="19"/>
                  </a:lnTo>
                  <a:lnTo>
                    <a:pt x="57" y="13"/>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19" name="Google Shape;2119;g7826bb8c5e_0_4294"/>
            <p:cNvSpPr/>
            <p:nvPr/>
          </p:nvSpPr>
          <p:spPr>
            <a:xfrm>
              <a:off x="2279777" y="2810403"/>
              <a:ext cx="19069" cy="17749"/>
            </a:xfrm>
            <a:custGeom>
              <a:avLst/>
              <a:gdLst/>
              <a:ahLst/>
              <a:cxnLst/>
              <a:rect l="l" t="t" r="r" b="b"/>
              <a:pathLst>
                <a:path w="38" h="29" extrusionOk="0">
                  <a:moveTo>
                    <a:pt x="31" y="27"/>
                  </a:moveTo>
                  <a:lnTo>
                    <a:pt x="27" y="20"/>
                  </a:lnTo>
                  <a:lnTo>
                    <a:pt x="19" y="10"/>
                  </a:lnTo>
                  <a:lnTo>
                    <a:pt x="38" y="16"/>
                  </a:lnTo>
                  <a:lnTo>
                    <a:pt x="36" y="12"/>
                  </a:lnTo>
                  <a:lnTo>
                    <a:pt x="25" y="10"/>
                  </a:lnTo>
                  <a:lnTo>
                    <a:pt x="31" y="0"/>
                  </a:lnTo>
                  <a:lnTo>
                    <a:pt x="13" y="6"/>
                  </a:lnTo>
                  <a:lnTo>
                    <a:pt x="9" y="14"/>
                  </a:lnTo>
                  <a:lnTo>
                    <a:pt x="0" y="16"/>
                  </a:lnTo>
                  <a:lnTo>
                    <a:pt x="7" y="29"/>
                  </a:lnTo>
                  <a:lnTo>
                    <a:pt x="13" y="18"/>
                  </a:lnTo>
                  <a:lnTo>
                    <a:pt x="31" y="27"/>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20" name="Google Shape;2120;g7826bb8c5e_0_4294"/>
            <p:cNvSpPr/>
            <p:nvPr/>
          </p:nvSpPr>
          <p:spPr>
            <a:xfrm>
              <a:off x="2278506" y="2826788"/>
              <a:ext cx="11442" cy="27306"/>
            </a:xfrm>
            <a:custGeom>
              <a:avLst/>
              <a:gdLst/>
              <a:ahLst/>
              <a:cxnLst/>
              <a:rect l="l" t="t" r="r" b="b"/>
              <a:pathLst>
                <a:path w="25" h="45" extrusionOk="0">
                  <a:moveTo>
                    <a:pt x="0" y="45"/>
                  </a:moveTo>
                  <a:lnTo>
                    <a:pt x="25" y="0"/>
                  </a:lnTo>
                  <a:lnTo>
                    <a:pt x="7" y="8"/>
                  </a:lnTo>
                  <a:lnTo>
                    <a:pt x="0" y="45"/>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21" name="Google Shape;2121;g7826bb8c5e_0_4294"/>
            <p:cNvSpPr/>
            <p:nvPr/>
          </p:nvSpPr>
          <p:spPr>
            <a:xfrm>
              <a:off x="2297575" y="2834980"/>
              <a:ext cx="12713" cy="15019"/>
            </a:xfrm>
            <a:custGeom>
              <a:avLst/>
              <a:gdLst/>
              <a:ahLst/>
              <a:cxnLst/>
              <a:rect l="l" t="t" r="r" b="b"/>
              <a:pathLst>
                <a:path w="26" h="23" extrusionOk="0">
                  <a:moveTo>
                    <a:pt x="22" y="15"/>
                  </a:moveTo>
                  <a:lnTo>
                    <a:pt x="26" y="10"/>
                  </a:lnTo>
                  <a:lnTo>
                    <a:pt x="10" y="0"/>
                  </a:lnTo>
                  <a:lnTo>
                    <a:pt x="0" y="17"/>
                  </a:lnTo>
                  <a:lnTo>
                    <a:pt x="8" y="23"/>
                  </a:lnTo>
                  <a:lnTo>
                    <a:pt x="16" y="13"/>
                  </a:lnTo>
                  <a:lnTo>
                    <a:pt x="22" y="15"/>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22" name="Google Shape;2122;g7826bb8c5e_0_4294"/>
            <p:cNvSpPr/>
            <p:nvPr/>
          </p:nvSpPr>
          <p:spPr>
            <a:xfrm>
              <a:off x="2282321" y="2841805"/>
              <a:ext cx="15256" cy="13653"/>
            </a:xfrm>
            <a:custGeom>
              <a:avLst/>
              <a:gdLst/>
              <a:ahLst/>
              <a:cxnLst/>
              <a:rect l="l" t="t" r="r" b="b"/>
              <a:pathLst>
                <a:path w="25" h="23" extrusionOk="0">
                  <a:moveTo>
                    <a:pt x="25" y="7"/>
                  </a:moveTo>
                  <a:lnTo>
                    <a:pt x="0" y="23"/>
                  </a:lnTo>
                  <a:lnTo>
                    <a:pt x="14" y="0"/>
                  </a:lnTo>
                  <a:lnTo>
                    <a:pt x="25" y="7"/>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23" name="Google Shape;2123;g7826bb8c5e_0_4294"/>
            <p:cNvSpPr/>
            <p:nvPr/>
          </p:nvSpPr>
          <p:spPr>
            <a:xfrm>
              <a:off x="3036194" y="3192689"/>
              <a:ext cx="35596" cy="12289"/>
            </a:xfrm>
            <a:custGeom>
              <a:avLst/>
              <a:gdLst/>
              <a:ahLst/>
              <a:cxnLst/>
              <a:rect l="l" t="t" r="r" b="b"/>
              <a:pathLst>
                <a:path w="71" h="18" extrusionOk="0">
                  <a:moveTo>
                    <a:pt x="71" y="0"/>
                  </a:moveTo>
                  <a:lnTo>
                    <a:pt x="52" y="6"/>
                  </a:lnTo>
                  <a:lnTo>
                    <a:pt x="56" y="0"/>
                  </a:lnTo>
                  <a:lnTo>
                    <a:pt x="0" y="18"/>
                  </a:lnTo>
                  <a:lnTo>
                    <a:pt x="36" y="10"/>
                  </a:lnTo>
                  <a:lnTo>
                    <a:pt x="71" y="0"/>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24" name="Google Shape;2124;g7826bb8c5e_0_4294"/>
            <p:cNvSpPr/>
            <p:nvPr/>
          </p:nvSpPr>
          <p:spPr>
            <a:xfrm>
              <a:off x="3936266" y="3502613"/>
              <a:ext cx="144927" cy="161105"/>
            </a:xfrm>
            <a:custGeom>
              <a:avLst/>
              <a:gdLst/>
              <a:ahLst/>
              <a:cxnLst/>
              <a:rect l="l" t="t" r="r" b="b"/>
              <a:pathLst>
                <a:path w="281" h="262" extrusionOk="0">
                  <a:moveTo>
                    <a:pt x="4" y="241"/>
                  </a:moveTo>
                  <a:lnTo>
                    <a:pt x="0" y="262"/>
                  </a:lnTo>
                  <a:lnTo>
                    <a:pt x="2" y="241"/>
                  </a:lnTo>
                  <a:lnTo>
                    <a:pt x="23" y="194"/>
                  </a:lnTo>
                  <a:lnTo>
                    <a:pt x="44" y="148"/>
                  </a:lnTo>
                  <a:lnTo>
                    <a:pt x="39" y="151"/>
                  </a:lnTo>
                  <a:lnTo>
                    <a:pt x="66" y="120"/>
                  </a:lnTo>
                  <a:lnTo>
                    <a:pt x="77" y="91"/>
                  </a:lnTo>
                  <a:lnTo>
                    <a:pt x="89" y="62"/>
                  </a:lnTo>
                  <a:lnTo>
                    <a:pt x="116" y="39"/>
                  </a:lnTo>
                  <a:lnTo>
                    <a:pt x="134" y="0"/>
                  </a:lnTo>
                  <a:lnTo>
                    <a:pt x="170" y="0"/>
                  </a:lnTo>
                  <a:lnTo>
                    <a:pt x="207" y="0"/>
                  </a:lnTo>
                  <a:lnTo>
                    <a:pt x="244" y="0"/>
                  </a:lnTo>
                  <a:lnTo>
                    <a:pt x="281" y="0"/>
                  </a:lnTo>
                  <a:lnTo>
                    <a:pt x="281" y="14"/>
                  </a:lnTo>
                  <a:lnTo>
                    <a:pt x="279" y="64"/>
                  </a:lnTo>
                  <a:lnTo>
                    <a:pt x="252" y="64"/>
                  </a:lnTo>
                  <a:lnTo>
                    <a:pt x="225" y="64"/>
                  </a:lnTo>
                  <a:lnTo>
                    <a:pt x="198" y="64"/>
                  </a:lnTo>
                  <a:lnTo>
                    <a:pt x="170" y="64"/>
                  </a:lnTo>
                  <a:lnTo>
                    <a:pt x="168" y="113"/>
                  </a:lnTo>
                  <a:lnTo>
                    <a:pt x="168" y="161"/>
                  </a:lnTo>
                  <a:lnTo>
                    <a:pt x="136" y="177"/>
                  </a:lnTo>
                  <a:lnTo>
                    <a:pt x="134" y="210"/>
                  </a:lnTo>
                  <a:lnTo>
                    <a:pt x="134" y="241"/>
                  </a:lnTo>
                  <a:lnTo>
                    <a:pt x="101" y="241"/>
                  </a:lnTo>
                  <a:lnTo>
                    <a:pt x="70" y="241"/>
                  </a:lnTo>
                  <a:lnTo>
                    <a:pt x="37" y="241"/>
                  </a:lnTo>
                  <a:lnTo>
                    <a:pt x="4" y="241"/>
                  </a:lnTo>
                  <a:close/>
                </a:path>
              </a:pathLst>
            </a:custGeom>
            <a:solidFill>
              <a:srgbClr val="E1E1E1"/>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25" name="Google Shape;2125;g7826bb8c5e_0_4294"/>
            <p:cNvSpPr/>
            <p:nvPr/>
          </p:nvSpPr>
          <p:spPr>
            <a:xfrm>
              <a:off x="6018636" y="4095155"/>
              <a:ext cx="7627" cy="1364"/>
            </a:xfrm>
            <a:custGeom>
              <a:avLst/>
              <a:gdLst/>
              <a:ahLst/>
              <a:cxnLst/>
              <a:rect l="l" t="t" r="r" b="b"/>
              <a:pathLst>
                <a:path w="12" h="2" extrusionOk="0">
                  <a:moveTo>
                    <a:pt x="12" y="0"/>
                  </a:moveTo>
                  <a:lnTo>
                    <a:pt x="0" y="2"/>
                  </a:lnTo>
                  <a:lnTo>
                    <a:pt x="0" y="0"/>
                  </a:lnTo>
                  <a:lnTo>
                    <a:pt x="12"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26" name="Google Shape;2126;g7826bb8c5e_0_4294"/>
            <p:cNvSpPr/>
            <p:nvPr/>
          </p:nvSpPr>
          <p:spPr>
            <a:xfrm>
              <a:off x="6111440" y="4025525"/>
              <a:ext cx="176709" cy="193873"/>
            </a:xfrm>
            <a:custGeom>
              <a:avLst/>
              <a:gdLst/>
              <a:ahLst/>
              <a:cxnLst/>
              <a:rect l="l" t="t" r="r" b="b"/>
              <a:pathLst>
                <a:path w="337" h="320" extrusionOk="0">
                  <a:moveTo>
                    <a:pt x="337" y="132"/>
                  </a:moveTo>
                  <a:lnTo>
                    <a:pt x="306" y="130"/>
                  </a:lnTo>
                  <a:lnTo>
                    <a:pt x="304" y="130"/>
                  </a:lnTo>
                  <a:lnTo>
                    <a:pt x="289" y="181"/>
                  </a:lnTo>
                  <a:lnTo>
                    <a:pt x="293" y="184"/>
                  </a:lnTo>
                  <a:lnTo>
                    <a:pt x="287" y="200"/>
                  </a:lnTo>
                  <a:lnTo>
                    <a:pt x="263" y="212"/>
                  </a:lnTo>
                  <a:lnTo>
                    <a:pt x="250" y="235"/>
                  </a:lnTo>
                  <a:lnTo>
                    <a:pt x="252" y="252"/>
                  </a:lnTo>
                  <a:lnTo>
                    <a:pt x="258" y="252"/>
                  </a:lnTo>
                  <a:lnTo>
                    <a:pt x="248" y="262"/>
                  </a:lnTo>
                  <a:lnTo>
                    <a:pt x="242" y="278"/>
                  </a:lnTo>
                  <a:lnTo>
                    <a:pt x="234" y="305"/>
                  </a:lnTo>
                  <a:lnTo>
                    <a:pt x="190" y="320"/>
                  </a:lnTo>
                  <a:lnTo>
                    <a:pt x="184" y="301"/>
                  </a:lnTo>
                  <a:lnTo>
                    <a:pt x="178" y="293"/>
                  </a:lnTo>
                  <a:lnTo>
                    <a:pt x="157" y="295"/>
                  </a:lnTo>
                  <a:lnTo>
                    <a:pt x="136" y="283"/>
                  </a:lnTo>
                  <a:lnTo>
                    <a:pt x="116" y="295"/>
                  </a:lnTo>
                  <a:lnTo>
                    <a:pt x="97" y="297"/>
                  </a:lnTo>
                  <a:lnTo>
                    <a:pt x="91" y="278"/>
                  </a:lnTo>
                  <a:lnTo>
                    <a:pt x="62" y="281"/>
                  </a:lnTo>
                  <a:lnTo>
                    <a:pt x="64" y="278"/>
                  </a:lnTo>
                  <a:lnTo>
                    <a:pt x="56" y="281"/>
                  </a:lnTo>
                  <a:lnTo>
                    <a:pt x="41" y="278"/>
                  </a:lnTo>
                  <a:lnTo>
                    <a:pt x="35" y="239"/>
                  </a:lnTo>
                  <a:lnTo>
                    <a:pt x="35" y="210"/>
                  </a:lnTo>
                  <a:lnTo>
                    <a:pt x="13" y="194"/>
                  </a:lnTo>
                  <a:lnTo>
                    <a:pt x="17" y="192"/>
                  </a:lnTo>
                  <a:lnTo>
                    <a:pt x="8" y="175"/>
                  </a:lnTo>
                  <a:lnTo>
                    <a:pt x="10" y="163"/>
                  </a:lnTo>
                  <a:lnTo>
                    <a:pt x="0" y="134"/>
                  </a:lnTo>
                  <a:lnTo>
                    <a:pt x="10" y="115"/>
                  </a:lnTo>
                  <a:lnTo>
                    <a:pt x="6" y="115"/>
                  </a:lnTo>
                  <a:lnTo>
                    <a:pt x="23" y="88"/>
                  </a:lnTo>
                  <a:lnTo>
                    <a:pt x="31" y="113"/>
                  </a:lnTo>
                  <a:lnTo>
                    <a:pt x="64" y="132"/>
                  </a:lnTo>
                  <a:lnTo>
                    <a:pt x="108" y="122"/>
                  </a:lnTo>
                  <a:lnTo>
                    <a:pt x="120" y="107"/>
                  </a:lnTo>
                  <a:lnTo>
                    <a:pt x="165" y="117"/>
                  </a:lnTo>
                  <a:lnTo>
                    <a:pt x="192" y="107"/>
                  </a:lnTo>
                  <a:lnTo>
                    <a:pt x="207" y="74"/>
                  </a:lnTo>
                  <a:lnTo>
                    <a:pt x="215" y="55"/>
                  </a:lnTo>
                  <a:lnTo>
                    <a:pt x="223" y="27"/>
                  </a:lnTo>
                  <a:lnTo>
                    <a:pt x="230" y="0"/>
                  </a:lnTo>
                  <a:lnTo>
                    <a:pt x="260" y="4"/>
                  </a:lnTo>
                  <a:lnTo>
                    <a:pt x="289" y="8"/>
                  </a:lnTo>
                  <a:lnTo>
                    <a:pt x="285" y="14"/>
                  </a:lnTo>
                  <a:lnTo>
                    <a:pt x="287" y="18"/>
                  </a:lnTo>
                  <a:lnTo>
                    <a:pt x="294" y="29"/>
                  </a:lnTo>
                  <a:lnTo>
                    <a:pt x="287" y="27"/>
                  </a:lnTo>
                  <a:lnTo>
                    <a:pt x="275" y="29"/>
                  </a:lnTo>
                  <a:lnTo>
                    <a:pt x="281" y="45"/>
                  </a:lnTo>
                  <a:lnTo>
                    <a:pt x="306" y="82"/>
                  </a:lnTo>
                  <a:lnTo>
                    <a:pt x="300" y="95"/>
                  </a:lnTo>
                  <a:lnTo>
                    <a:pt x="318" y="115"/>
                  </a:lnTo>
                  <a:lnTo>
                    <a:pt x="337" y="132"/>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27" name="Google Shape;2127;g7826bb8c5e_0_4294"/>
            <p:cNvSpPr/>
            <p:nvPr/>
          </p:nvSpPr>
          <p:spPr>
            <a:xfrm>
              <a:off x="5867352" y="3998219"/>
              <a:ext cx="193236" cy="263504"/>
            </a:xfrm>
            <a:custGeom>
              <a:avLst/>
              <a:gdLst/>
              <a:ahLst/>
              <a:cxnLst/>
              <a:rect l="l" t="t" r="r" b="b"/>
              <a:pathLst>
                <a:path w="368" h="434" extrusionOk="0">
                  <a:moveTo>
                    <a:pt x="368" y="333"/>
                  </a:moveTo>
                  <a:lnTo>
                    <a:pt x="364" y="337"/>
                  </a:lnTo>
                  <a:lnTo>
                    <a:pt x="360" y="386"/>
                  </a:lnTo>
                  <a:lnTo>
                    <a:pt x="354" y="434"/>
                  </a:lnTo>
                  <a:lnTo>
                    <a:pt x="339" y="418"/>
                  </a:lnTo>
                  <a:lnTo>
                    <a:pt x="335" y="428"/>
                  </a:lnTo>
                  <a:lnTo>
                    <a:pt x="317" y="420"/>
                  </a:lnTo>
                  <a:lnTo>
                    <a:pt x="317" y="434"/>
                  </a:lnTo>
                  <a:lnTo>
                    <a:pt x="285" y="399"/>
                  </a:lnTo>
                  <a:lnTo>
                    <a:pt x="267" y="382"/>
                  </a:lnTo>
                  <a:lnTo>
                    <a:pt x="250" y="364"/>
                  </a:lnTo>
                  <a:lnTo>
                    <a:pt x="230" y="345"/>
                  </a:lnTo>
                  <a:lnTo>
                    <a:pt x="213" y="327"/>
                  </a:lnTo>
                  <a:lnTo>
                    <a:pt x="199" y="294"/>
                  </a:lnTo>
                  <a:lnTo>
                    <a:pt x="186" y="263"/>
                  </a:lnTo>
                  <a:lnTo>
                    <a:pt x="180" y="259"/>
                  </a:lnTo>
                  <a:lnTo>
                    <a:pt x="162" y="230"/>
                  </a:lnTo>
                  <a:lnTo>
                    <a:pt x="143" y="201"/>
                  </a:lnTo>
                  <a:lnTo>
                    <a:pt x="133" y="176"/>
                  </a:lnTo>
                  <a:lnTo>
                    <a:pt x="122" y="151"/>
                  </a:lnTo>
                  <a:lnTo>
                    <a:pt x="95" y="126"/>
                  </a:lnTo>
                  <a:lnTo>
                    <a:pt x="73" y="95"/>
                  </a:lnTo>
                  <a:lnTo>
                    <a:pt x="48" y="69"/>
                  </a:lnTo>
                  <a:lnTo>
                    <a:pt x="23" y="44"/>
                  </a:lnTo>
                  <a:lnTo>
                    <a:pt x="0" y="0"/>
                  </a:lnTo>
                  <a:lnTo>
                    <a:pt x="23" y="4"/>
                  </a:lnTo>
                  <a:lnTo>
                    <a:pt x="48" y="7"/>
                  </a:lnTo>
                  <a:lnTo>
                    <a:pt x="73" y="13"/>
                  </a:lnTo>
                  <a:lnTo>
                    <a:pt x="104" y="48"/>
                  </a:lnTo>
                  <a:lnTo>
                    <a:pt x="108" y="56"/>
                  </a:lnTo>
                  <a:lnTo>
                    <a:pt x="137" y="83"/>
                  </a:lnTo>
                  <a:lnTo>
                    <a:pt x="168" y="110"/>
                  </a:lnTo>
                  <a:lnTo>
                    <a:pt x="193" y="137"/>
                  </a:lnTo>
                  <a:lnTo>
                    <a:pt x="191" y="124"/>
                  </a:lnTo>
                  <a:lnTo>
                    <a:pt x="221" y="147"/>
                  </a:lnTo>
                  <a:lnTo>
                    <a:pt x="238" y="168"/>
                  </a:lnTo>
                  <a:lnTo>
                    <a:pt x="269" y="192"/>
                  </a:lnTo>
                  <a:lnTo>
                    <a:pt x="275" y="194"/>
                  </a:lnTo>
                  <a:lnTo>
                    <a:pt x="294" y="211"/>
                  </a:lnTo>
                  <a:lnTo>
                    <a:pt x="281" y="219"/>
                  </a:lnTo>
                  <a:lnTo>
                    <a:pt x="285" y="227"/>
                  </a:lnTo>
                  <a:lnTo>
                    <a:pt x="281" y="230"/>
                  </a:lnTo>
                  <a:lnTo>
                    <a:pt x="285" y="244"/>
                  </a:lnTo>
                  <a:lnTo>
                    <a:pt x="312" y="250"/>
                  </a:lnTo>
                  <a:lnTo>
                    <a:pt x="317" y="279"/>
                  </a:lnTo>
                  <a:lnTo>
                    <a:pt x="323" y="287"/>
                  </a:lnTo>
                  <a:lnTo>
                    <a:pt x="325" y="302"/>
                  </a:lnTo>
                  <a:lnTo>
                    <a:pt x="350" y="302"/>
                  </a:lnTo>
                  <a:lnTo>
                    <a:pt x="368" y="333"/>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28" name="Google Shape;2128;g7826bb8c5e_0_4294"/>
            <p:cNvSpPr/>
            <p:nvPr/>
          </p:nvSpPr>
          <p:spPr>
            <a:xfrm>
              <a:off x="6501725" y="4138845"/>
              <a:ext cx="170353" cy="199335"/>
            </a:xfrm>
            <a:custGeom>
              <a:avLst/>
              <a:gdLst/>
              <a:ahLst/>
              <a:cxnLst/>
              <a:rect l="l" t="t" r="r" b="b"/>
              <a:pathLst>
                <a:path w="330" h="330" extrusionOk="0">
                  <a:moveTo>
                    <a:pt x="250" y="276"/>
                  </a:moveTo>
                  <a:lnTo>
                    <a:pt x="252" y="278"/>
                  </a:lnTo>
                  <a:lnTo>
                    <a:pt x="250" y="295"/>
                  </a:lnTo>
                  <a:lnTo>
                    <a:pt x="258" y="291"/>
                  </a:lnTo>
                  <a:lnTo>
                    <a:pt x="287" y="287"/>
                  </a:lnTo>
                  <a:lnTo>
                    <a:pt x="295" y="309"/>
                  </a:lnTo>
                  <a:lnTo>
                    <a:pt x="314" y="330"/>
                  </a:lnTo>
                  <a:lnTo>
                    <a:pt x="316" y="299"/>
                  </a:lnTo>
                  <a:lnTo>
                    <a:pt x="320" y="268"/>
                  </a:lnTo>
                  <a:lnTo>
                    <a:pt x="322" y="237"/>
                  </a:lnTo>
                  <a:lnTo>
                    <a:pt x="324" y="206"/>
                  </a:lnTo>
                  <a:lnTo>
                    <a:pt x="328" y="175"/>
                  </a:lnTo>
                  <a:lnTo>
                    <a:pt x="328" y="144"/>
                  </a:lnTo>
                  <a:lnTo>
                    <a:pt x="330" y="113"/>
                  </a:lnTo>
                  <a:lnTo>
                    <a:pt x="330" y="82"/>
                  </a:lnTo>
                  <a:lnTo>
                    <a:pt x="308" y="76"/>
                  </a:lnTo>
                  <a:lnTo>
                    <a:pt x="268" y="59"/>
                  </a:lnTo>
                  <a:lnTo>
                    <a:pt x="225" y="39"/>
                  </a:lnTo>
                  <a:lnTo>
                    <a:pt x="204" y="57"/>
                  </a:lnTo>
                  <a:lnTo>
                    <a:pt x="173" y="76"/>
                  </a:lnTo>
                  <a:lnTo>
                    <a:pt x="138" y="111"/>
                  </a:lnTo>
                  <a:lnTo>
                    <a:pt x="122" y="97"/>
                  </a:lnTo>
                  <a:lnTo>
                    <a:pt x="111" y="80"/>
                  </a:lnTo>
                  <a:lnTo>
                    <a:pt x="109" y="88"/>
                  </a:lnTo>
                  <a:lnTo>
                    <a:pt x="101" y="45"/>
                  </a:lnTo>
                  <a:lnTo>
                    <a:pt x="101" y="28"/>
                  </a:lnTo>
                  <a:lnTo>
                    <a:pt x="97" y="10"/>
                  </a:lnTo>
                  <a:lnTo>
                    <a:pt x="66" y="4"/>
                  </a:lnTo>
                  <a:lnTo>
                    <a:pt x="35" y="0"/>
                  </a:lnTo>
                  <a:lnTo>
                    <a:pt x="6" y="20"/>
                  </a:lnTo>
                  <a:lnTo>
                    <a:pt x="0" y="37"/>
                  </a:lnTo>
                  <a:lnTo>
                    <a:pt x="25" y="47"/>
                  </a:lnTo>
                  <a:lnTo>
                    <a:pt x="43" y="68"/>
                  </a:lnTo>
                  <a:lnTo>
                    <a:pt x="66" y="68"/>
                  </a:lnTo>
                  <a:lnTo>
                    <a:pt x="91" y="68"/>
                  </a:lnTo>
                  <a:lnTo>
                    <a:pt x="89" y="74"/>
                  </a:lnTo>
                  <a:lnTo>
                    <a:pt x="87" y="78"/>
                  </a:lnTo>
                  <a:lnTo>
                    <a:pt x="83" y="80"/>
                  </a:lnTo>
                  <a:lnTo>
                    <a:pt x="72" y="78"/>
                  </a:lnTo>
                  <a:lnTo>
                    <a:pt x="43" y="88"/>
                  </a:lnTo>
                  <a:lnTo>
                    <a:pt x="29" y="94"/>
                  </a:lnTo>
                  <a:lnTo>
                    <a:pt x="58" y="119"/>
                  </a:lnTo>
                  <a:lnTo>
                    <a:pt x="54" y="134"/>
                  </a:lnTo>
                  <a:lnTo>
                    <a:pt x="70" y="136"/>
                  </a:lnTo>
                  <a:lnTo>
                    <a:pt x="91" y="101"/>
                  </a:lnTo>
                  <a:lnTo>
                    <a:pt x="85" y="123"/>
                  </a:lnTo>
                  <a:lnTo>
                    <a:pt x="114" y="134"/>
                  </a:lnTo>
                  <a:lnTo>
                    <a:pt x="122" y="134"/>
                  </a:lnTo>
                  <a:lnTo>
                    <a:pt x="120" y="144"/>
                  </a:lnTo>
                  <a:lnTo>
                    <a:pt x="146" y="154"/>
                  </a:lnTo>
                  <a:lnTo>
                    <a:pt x="169" y="163"/>
                  </a:lnTo>
                  <a:lnTo>
                    <a:pt x="194" y="173"/>
                  </a:lnTo>
                  <a:lnTo>
                    <a:pt x="219" y="183"/>
                  </a:lnTo>
                  <a:lnTo>
                    <a:pt x="231" y="200"/>
                  </a:lnTo>
                  <a:lnTo>
                    <a:pt x="248" y="243"/>
                  </a:lnTo>
                  <a:lnTo>
                    <a:pt x="258" y="249"/>
                  </a:lnTo>
                  <a:lnTo>
                    <a:pt x="242" y="249"/>
                  </a:lnTo>
                  <a:lnTo>
                    <a:pt x="260" y="258"/>
                  </a:lnTo>
                  <a:lnTo>
                    <a:pt x="244" y="258"/>
                  </a:lnTo>
                  <a:lnTo>
                    <a:pt x="248" y="270"/>
                  </a:lnTo>
                  <a:lnTo>
                    <a:pt x="227" y="268"/>
                  </a:lnTo>
                  <a:lnTo>
                    <a:pt x="208" y="303"/>
                  </a:lnTo>
                  <a:lnTo>
                    <a:pt x="237" y="297"/>
                  </a:lnTo>
                  <a:lnTo>
                    <a:pt x="250" y="276"/>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29" name="Google Shape;2129;g7826bb8c5e_0_4294"/>
            <p:cNvSpPr/>
            <p:nvPr/>
          </p:nvSpPr>
          <p:spPr>
            <a:xfrm>
              <a:off x="6285606" y="4088329"/>
              <a:ext cx="111873" cy="170664"/>
            </a:xfrm>
            <a:custGeom>
              <a:avLst/>
              <a:gdLst/>
              <a:ahLst/>
              <a:cxnLst/>
              <a:rect l="l" t="t" r="r" b="b"/>
              <a:pathLst>
                <a:path w="215" h="279" extrusionOk="0">
                  <a:moveTo>
                    <a:pt x="215" y="8"/>
                  </a:moveTo>
                  <a:lnTo>
                    <a:pt x="206" y="0"/>
                  </a:lnTo>
                  <a:lnTo>
                    <a:pt x="173" y="33"/>
                  </a:lnTo>
                  <a:lnTo>
                    <a:pt x="130" y="25"/>
                  </a:lnTo>
                  <a:lnTo>
                    <a:pt x="87" y="19"/>
                  </a:lnTo>
                  <a:lnTo>
                    <a:pt x="68" y="17"/>
                  </a:lnTo>
                  <a:lnTo>
                    <a:pt x="55" y="33"/>
                  </a:lnTo>
                  <a:lnTo>
                    <a:pt x="47" y="33"/>
                  </a:lnTo>
                  <a:lnTo>
                    <a:pt x="31" y="64"/>
                  </a:lnTo>
                  <a:lnTo>
                    <a:pt x="33" y="97"/>
                  </a:lnTo>
                  <a:lnTo>
                    <a:pt x="29" y="93"/>
                  </a:lnTo>
                  <a:lnTo>
                    <a:pt x="16" y="128"/>
                  </a:lnTo>
                  <a:lnTo>
                    <a:pt x="0" y="165"/>
                  </a:lnTo>
                  <a:lnTo>
                    <a:pt x="4" y="198"/>
                  </a:lnTo>
                  <a:lnTo>
                    <a:pt x="20" y="202"/>
                  </a:lnTo>
                  <a:lnTo>
                    <a:pt x="18" y="229"/>
                  </a:lnTo>
                  <a:lnTo>
                    <a:pt x="18" y="256"/>
                  </a:lnTo>
                  <a:lnTo>
                    <a:pt x="20" y="279"/>
                  </a:lnTo>
                  <a:lnTo>
                    <a:pt x="49" y="273"/>
                  </a:lnTo>
                  <a:lnTo>
                    <a:pt x="47" y="227"/>
                  </a:lnTo>
                  <a:lnTo>
                    <a:pt x="47" y="180"/>
                  </a:lnTo>
                  <a:lnTo>
                    <a:pt x="68" y="165"/>
                  </a:lnTo>
                  <a:lnTo>
                    <a:pt x="70" y="188"/>
                  </a:lnTo>
                  <a:lnTo>
                    <a:pt x="74" y="206"/>
                  </a:lnTo>
                  <a:lnTo>
                    <a:pt x="87" y="225"/>
                  </a:lnTo>
                  <a:lnTo>
                    <a:pt x="93" y="248"/>
                  </a:lnTo>
                  <a:lnTo>
                    <a:pt x="103" y="242"/>
                  </a:lnTo>
                  <a:lnTo>
                    <a:pt x="126" y="229"/>
                  </a:lnTo>
                  <a:lnTo>
                    <a:pt x="134" y="225"/>
                  </a:lnTo>
                  <a:lnTo>
                    <a:pt x="113" y="192"/>
                  </a:lnTo>
                  <a:lnTo>
                    <a:pt x="117" y="184"/>
                  </a:lnTo>
                  <a:lnTo>
                    <a:pt x="101" y="157"/>
                  </a:lnTo>
                  <a:lnTo>
                    <a:pt x="86" y="132"/>
                  </a:lnTo>
                  <a:lnTo>
                    <a:pt x="97" y="134"/>
                  </a:lnTo>
                  <a:lnTo>
                    <a:pt x="122" y="116"/>
                  </a:lnTo>
                  <a:lnTo>
                    <a:pt x="146" y="97"/>
                  </a:lnTo>
                  <a:lnTo>
                    <a:pt x="153" y="99"/>
                  </a:lnTo>
                  <a:lnTo>
                    <a:pt x="148" y="85"/>
                  </a:lnTo>
                  <a:lnTo>
                    <a:pt x="136" y="91"/>
                  </a:lnTo>
                  <a:lnTo>
                    <a:pt x="95" y="97"/>
                  </a:lnTo>
                  <a:lnTo>
                    <a:pt x="68" y="116"/>
                  </a:lnTo>
                  <a:lnTo>
                    <a:pt x="41" y="80"/>
                  </a:lnTo>
                  <a:lnTo>
                    <a:pt x="53" y="47"/>
                  </a:lnTo>
                  <a:lnTo>
                    <a:pt x="101" y="48"/>
                  </a:lnTo>
                  <a:lnTo>
                    <a:pt x="148" y="50"/>
                  </a:lnTo>
                  <a:lnTo>
                    <a:pt x="194" y="43"/>
                  </a:lnTo>
                  <a:lnTo>
                    <a:pt x="215" y="8"/>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30" name="Google Shape;2130;g7826bb8c5e_0_4294"/>
            <p:cNvSpPr/>
            <p:nvPr/>
          </p:nvSpPr>
          <p:spPr>
            <a:xfrm>
              <a:off x="6044061" y="4265817"/>
              <a:ext cx="158911" cy="62804"/>
            </a:xfrm>
            <a:custGeom>
              <a:avLst/>
              <a:gdLst/>
              <a:ahLst/>
              <a:cxnLst/>
              <a:rect l="l" t="t" r="r" b="b"/>
              <a:pathLst>
                <a:path w="306" h="106" extrusionOk="0">
                  <a:moveTo>
                    <a:pt x="306" y="106"/>
                  </a:moveTo>
                  <a:lnTo>
                    <a:pt x="302" y="101"/>
                  </a:lnTo>
                  <a:lnTo>
                    <a:pt x="304" y="72"/>
                  </a:lnTo>
                  <a:lnTo>
                    <a:pt x="279" y="68"/>
                  </a:lnTo>
                  <a:lnTo>
                    <a:pt x="254" y="64"/>
                  </a:lnTo>
                  <a:lnTo>
                    <a:pt x="244" y="41"/>
                  </a:lnTo>
                  <a:lnTo>
                    <a:pt x="205" y="29"/>
                  </a:lnTo>
                  <a:lnTo>
                    <a:pt x="190" y="17"/>
                  </a:lnTo>
                  <a:lnTo>
                    <a:pt x="174" y="33"/>
                  </a:lnTo>
                  <a:lnTo>
                    <a:pt x="149" y="33"/>
                  </a:lnTo>
                  <a:lnTo>
                    <a:pt x="122" y="33"/>
                  </a:lnTo>
                  <a:lnTo>
                    <a:pt x="108" y="21"/>
                  </a:lnTo>
                  <a:lnTo>
                    <a:pt x="70" y="2"/>
                  </a:lnTo>
                  <a:lnTo>
                    <a:pt x="27" y="0"/>
                  </a:lnTo>
                  <a:lnTo>
                    <a:pt x="10" y="25"/>
                  </a:lnTo>
                  <a:lnTo>
                    <a:pt x="0" y="29"/>
                  </a:lnTo>
                  <a:lnTo>
                    <a:pt x="35" y="39"/>
                  </a:lnTo>
                  <a:lnTo>
                    <a:pt x="35" y="48"/>
                  </a:lnTo>
                  <a:lnTo>
                    <a:pt x="70" y="58"/>
                  </a:lnTo>
                  <a:lnTo>
                    <a:pt x="105" y="66"/>
                  </a:lnTo>
                  <a:lnTo>
                    <a:pt x="136" y="74"/>
                  </a:lnTo>
                  <a:lnTo>
                    <a:pt x="167" y="79"/>
                  </a:lnTo>
                  <a:lnTo>
                    <a:pt x="209" y="85"/>
                  </a:lnTo>
                  <a:lnTo>
                    <a:pt x="252" y="91"/>
                  </a:lnTo>
                  <a:lnTo>
                    <a:pt x="279" y="99"/>
                  </a:lnTo>
                  <a:lnTo>
                    <a:pt x="306" y="106"/>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31" name="Google Shape;2131;g7826bb8c5e_0_4294"/>
            <p:cNvSpPr/>
            <p:nvPr/>
          </p:nvSpPr>
          <p:spPr>
            <a:xfrm>
              <a:off x="6358070" y="4321795"/>
              <a:ext cx="68650" cy="46421"/>
            </a:xfrm>
            <a:custGeom>
              <a:avLst/>
              <a:gdLst/>
              <a:ahLst/>
              <a:cxnLst/>
              <a:rect l="l" t="t" r="r" b="b"/>
              <a:pathLst>
                <a:path w="132" h="74" extrusionOk="0">
                  <a:moveTo>
                    <a:pt x="132" y="0"/>
                  </a:moveTo>
                  <a:lnTo>
                    <a:pt x="81" y="2"/>
                  </a:lnTo>
                  <a:lnTo>
                    <a:pt x="50" y="17"/>
                  </a:lnTo>
                  <a:lnTo>
                    <a:pt x="17" y="35"/>
                  </a:lnTo>
                  <a:lnTo>
                    <a:pt x="2" y="62"/>
                  </a:lnTo>
                  <a:lnTo>
                    <a:pt x="0" y="66"/>
                  </a:lnTo>
                  <a:lnTo>
                    <a:pt x="4" y="74"/>
                  </a:lnTo>
                  <a:lnTo>
                    <a:pt x="44" y="48"/>
                  </a:lnTo>
                  <a:lnTo>
                    <a:pt x="89" y="23"/>
                  </a:lnTo>
                  <a:lnTo>
                    <a:pt x="132" y="0"/>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32" name="Google Shape;2132;g7826bb8c5e_0_4294"/>
            <p:cNvSpPr/>
            <p:nvPr/>
          </p:nvSpPr>
          <p:spPr>
            <a:xfrm>
              <a:off x="6436889" y="4077406"/>
              <a:ext cx="24154" cy="70995"/>
            </a:xfrm>
            <a:custGeom>
              <a:avLst/>
              <a:gdLst/>
              <a:ahLst/>
              <a:cxnLst/>
              <a:rect l="l" t="t" r="r" b="b"/>
              <a:pathLst>
                <a:path w="48" h="114" extrusionOk="0">
                  <a:moveTo>
                    <a:pt x="48" y="73"/>
                  </a:moveTo>
                  <a:lnTo>
                    <a:pt x="27" y="46"/>
                  </a:lnTo>
                  <a:lnTo>
                    <a:pt x="43" y="31"/>
                  </a:lnTo>
                  <a:lnTo>
                    <a:pt x="33" y="23"/>
                  </a:lnTo>
                  <a:lnTo>
                    <a:pt x="21" y="33"/>
                  </a:lnTo>
                  <a:lnTo>
                    <a:pt x="12" y="50"/>
                  </a:lnTo>
                  <a:lnTo>
                    <a:pt x="10" y="40"/>
                  </a:lnTo>
                  <a:lnTo>
                    <a:pt x="17" y="15"/>
                  </a:lnTo>
                  <a:lnTo>
                    <a:pt x="17" y="0"/>
                  </a:lnTo>
                  <a:lnTo>
                    <a:pt x="0" y="27"/>
                  </a:lnTo>
                  <a:lnTo>
                    <a:pt x="4" y="54"/>
                  </a:lnTo>
                  <a:lnTo>
                    <a:pt x="8" y="81"/>
                  </a:lnTo>
                  <a:lnTo>
                    <a:pt x="29" y="114"/>
                  </a:lnTo>
                  <a:lnTo>
                    <a:pt x="14" y="69"/>
                  </a:lnTo>
                  <a:lnTo>
                    <a:pt x="48" y="73"/>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33" name="Google Shape;2133;g7826bb8c5e_0_4294"/>
            <p:cNvSpPr/>
            <p:nvPr/>
          </p:nvSpPr>
          <p:spPr>
            <a:xfrm>
              <a:off x="6443246" y="4193458"/>
              <a:ext cx="50852" cy="21845"/>
            </a:xfrm>
            <a:custGeom>
              <a:avLst/>
              <a:gdLst/>
              <a:ahLst/>
              <a:cxnLst/>
              <a:rect l="l" t="t" r="r" b="b"/>
              <a:pathLst>
                <a:path w="98" h="36" extrusionOk="0">
                  <a:moveTo>
                    <a:pt x="98" y="29"/>
                  </a:moveTo>
                  <a:lnTo>
                    <a:pt x="93" y="36"/>
                  </a:lnTo>
                  <a:lnTo>
                    <a:pt x="54" y="17"/>
                  </a:lnTo>
                  <a:lnTo>
                    <a:pt x="25" y="19"/>
                  </a:lnTo>
                  <a:lnTo>
                    <a:pt x="5" y="13"/>
                  </a:lnTo>
                  <a:lnTo>
                    <a:pt x="0" y="21"/>
                  </a:lnTo>
                  <a:lnTo>
                    <a:pt x="4" y="9"/>
                  </a:lnTo>
                  <a:lnTo>
                    <a:pt x="23" y="0"/>
                  </a:lnTo>
                  <a:lnTo>
                    <a:pt x="52" y="2"/>
                  </a:lnTo>
                  <a:lnTo>
                    <a:pt x="83" y="5"/>
                  </a:lnTo>
                  <a:lnTo>
                    <a:pt x="98" y="29"/>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34" name="Google Shape;2134;g7826bb8c5e_0_4294"/>
            <p:cNvSpPr/>
            <p:nvPr/>
          </p:nvSpPr>
          <p:spPr>
            <a:xfrm>
              <a:off x="6295776" y="4319065"/>
              <a:ext cx="55937" cy="10923"/>
            </a:xfrm>
            <a:custGeom>
              <a:avLst/>
              <a:gdLst/>
              <a:ahLst/>
              <a:cxnLst/>
              <a:rect l="l" t="t" r="r" b="b"/>
              <a:pathLst>
                <a:path w="108" h="21" extrusionOk="0">
                  <a:moveTo>
                    <a:pt x="108" y="2"/>
                  </a:moveTo>
                  <a:lnTo>
                    <a:pt x="108" y="0"/>
                  </a:lnTo>
                  <a:lnTo>
                    <a:pt x="100" y="0"/>
                  </a:lnTo>
                  <a:lnTo>
                    <a:pt x="89" y="10"/>
                  </a:lnTo>
                  <a:lnTo>
                    <a:pt x="71" y="10"/>
                  </a:lnTo>
                  <a:lnTo>
                    <a:pt x="44" y="4"/>
                  </a:lnTo>
                  <a:lnTo>
                    <a:pt x="17" y="0"/>
                  </a:lnTo>
                  <a:lnTo>
                    <a:pt x="0" y="16"/>
                  </a:lnTo>
                  <a:lnTo>
                    <a:pt x="13" y="21"/>
                  </a:lnTo>
                  <a:lnTo>
                    <a:pt x="46" y="21"/>
                  </a:lnTo>
                  <a:lnTo>
                    <a:pt x="81" y="19"/>
                  </a:lnTo>
                  <a:lnTo>
                    <a:pt x="108" y="2"/>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35" name="Google Shape;2135;g7826bb8c5e_0_4294"/>
            <p:cNvSpPr/>
            <p:nvPr/>
          </p:nvSpPr>
          <p:spPr>
            <a:xfrm>
              <a:off x="6044061" y="4163420"/>
              <a:ext cx="29240" cy="34132"/>
            </a:xfrm>
            <a:custGeom>
              <a:avLst/>
              <a:gdLst/>
              <a:ahLst/>
              <a:cxnLst/>
              <a:rect l="l" t="t" r="r" b="b"/>
              <a:pathLst>
                <a:path w="54" h="58" extrusionOk="0">
                  <a:moveTo>
                    <a:pt x="54" y="41"/>
                  </a:moveTo>
                  <a:lnTo>
                    <a:pt x="50" y="58"/>
                  </a:lnTo>
                  <a:lnTo>
                    <a:pt x="23" y="41"/>
                  </a:lnTo>
                  <a:lnTo>
                    <a:pt x="13" y="21"/>
                  </a:lnTo>
                  <a:lnTo>
                    <a:pt x="0" y="16"/>
                  </a:lnTo>
                  <a:lnTo>
                    <a:pt x="15" y="4"/>
                  </a:lnTo>
                  <a:lnTo>
                    <a:pt x="23" y="0"/>
                  </a:lnTo>
                  <a:lnTo>
                    <a:pt x="35" y="31"/>
                  </a:lnTo>
                  <a:lnTo>
                    <a:pt x="54" y="4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36" name="Google Shape;2136;g7826bb8c5e_0_4294"/>
            <p:cNvSpPr/>
            <p:nvPr/>
          </p:nvSpPr>
          <p:spPr>
            <a:xfrm>
              <a:off x="6241111" y="4314970"/>
              <a:ext cx="43223" cy="20480"/>
            </a:xfrm>
            <a:custGeom>
              <a:avLst/>
              <a:gdLst/>
              <a:ahLst/>
              <a:cxnLst/>
              <a:rect l="l" t="t" r="r" b="b"/>
              <a:pathLst>
                <a:path w="81" h="35" extrusionOk="0">
                  <a:moveTo>
                    <a:pt x="81" y="20"/>
                  </a:moveTo>
                  <a:lnTo>
                    <a:pt x="75" y="12"/>
                  </a:lnTo>
                  <a:lnTo>
                    <a:pt x="66" y="14"/>
                  </a:lnTo>
                  <a:lnTo>
                    <a:pt x="37" y="0"/>
                  </a:lnTo>
                  <a:lnTo>
                    <a:pt x="52" y="20"/>
                  </a:lnTo>
                  <a:lnTo>
                    <a:pt x="33" y="18"/>
                  </a:lnTo>
                  <a:lnTo>
                    <a:pt x="8" y="16"/>
                  </a:lnTo>
                  <a:lnTo>
                    <a:pt x="0" y="35"/>
                  </a:lnTo>
                  <a:lnTo>
                    <a:pt x="27" y="29"/>
                  </a:lnTo>
                  <a:lnTo>
                    <a:pt x="56" y="24"/>
                  </a:lnTo>
                  <a:lnTo>
                    <a:pt x="68" y="27"/>
                  </a:lnTo>
                  <a:lnTo>
                    <a:pt x="66" y="25"/>
                  </a:lnTo>
                  <a:lnTo>
                    <a:pt x="81" y="2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37" name="Google Shape;2137;g7826bb8c5e_0_4294"/>
            <p:cNvSpPr/>
            <p:nvPr/>
          </p:nvSpPr>
          <p:spPr>
            <a:xfrm>
              <a:off x="6280520" y="4345006"/>
              <a:ext cx="30511" cy="17749"/>
            </a:xfrm>
            <a:custGeom>
              <a:avLst/>
              <a:gdLst/>
              <a:ahLst/>
              <a:cxnLst/>
              <a:rect l="l" t="t" r="r" b="b"/>
              <a:pathLst>
                <a:path w="60" h="31" extrusionOk="0">
                  <a:moveTo>
                    <a:pt x="60" y="25"/>
                  </a:moveTo>
                  <a:lnTo>
                    <a:pt x="36" y="31"/>
                  </a:lnTo>
                  <a:lnTo>
                    <a:pt x="7" y="11"/>
                  </a:lnTo>
                  <a:lnTo>
                    <a:pt x="0" y="0"/>
                  </a:lnTo>
                  <a:lnTo>
                    <a:pt x="36" y="0"/>
                  </a:lnTo>
                  <a:lnTo>
                    <a:pt x="60" y="25"/>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38" name="Google Shape;2138;g7826bb8c5e_0_4294"/>
            <p:cNvSpPr/>
            <p:nvPr/>
          </p:nvSpPr>
          <p:spPr>
            <a:xfrm>
              <a:off x="6410192" y="4197553"/>
              <a:ext cx="21612" cy="17749"/>
            </a:xfrm>
            <a:custGeom>
              <a:avLst/>
              <a:gdLst/>
              <a:ahLst/>
              <a:cxnLst/>
              <a:rect l="l" t="t" r="r" b="b"/>
              <a:pathLst>
                <a:path w="42" h="29" extrusionOk="0">
                  <a:moveTo>
                    <a:pt x="42" y="12"/>
                  </a:moveTo>
                  <a:lnTo>
                    <a:pt x="27" y="29"/>
                  </a:lnTo>
                  <a:lnTo>
                    <a:pt x="0" y="12"/>
                  </a:lnTo>
                  <a:lnTo>
                    <a:pt x="13" y="0"/>
                  </a:lnTo>
                  <a:lnTo>
                    <a:pt x="42" y="12"/>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39" name="Google Shape;2139;g7826bb8c5e_0_4294"/>
            <p:cNvSpPr/>
            <p:nvPr/>
          </p:nvSpPr>
          <p:spPr>
            <a:xfrm>
              <a:off x="6202972" y="4316335"/>
              <a:ext cx="19069" cy="12287"/>
            </a:xfrm>
            <a:custGeom>
              <a:avLst/>
              <a:gdLst/>
              <a:ahLst/>
              <a:cxnLst/>
              <a:rect l="l" t="t" r="r" b="b"/>
              <a:pathLst>
                <a:path w="37" h="22" extrusionOk="0">
                  <a:moveTo>
                    <a:pt x="37" y="10"/>
                  </a:moveTo>
                  <a:lnTo>
                    <a:pt x="33" y="2"/>
                  </a:lnTo>
                  <a:lnTo>
                    <a:pt x="0" y="0"/>
                  </a:lnTo>
                  <a:lnTo>
                    <a:pt x="20" y="22"/>
                  </a:lnTo>
                  <a:lnTo>
                    <a:pt x="37" y="1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40" name="Google Shape;2140;g7826bb8c5e_0_4294"/>
            <p:cNvSpPr/>
            <p:nvPr/>
          </p:nvSpPr>
          <p:spPr>
            <a:xfrm>
              <a:off x="5902948" y="4092425"/>
              <a:ext cx="15256" cy="21845"/>
            </a:xfrm>
            <a:custGeom>
              <a:avLst/>
              <a:gdLst/>
              <a:ahLst/>
              <a:cxnLst/>
              <a:rect l="l" t="t" r="r" b="b"/>
              <a:pathLst>
                <a:path w="30" h="35" extrusionOk="0">
                  <a:moveTo>
                    <a:pt x="30" y="19"/>
                  </a:moveTo>
                  <a:lnTo>
                    <a:pt x="26" y="35"/>
                  </a:lnTo>
                  <a:lnTo>
                    <a:pt x="0" y="4"/>
                  </a:lnTo>
                  <a:lnTo>
                    <a:pt x="8" y="0"/>
                  </a:lnTo>
                  <a:lnTo>
                    <a:pt x="30" y="19"/>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41" name="Google Shape;2141;g7826bb8c5e_0_4294"/>
            <p:cNvSpPr/>
            <p:nvPr/>
          </p:nvSpPr>
          <p:spPr>
            <a:xfrm>
              <a:off x="6229670" y="4317700"/>
              <a:ext cx="11442" cy="15019"/>
            </a:xfrm>
            <a:custGeom>
              <a:avLst/>
              <a:gdLst/>
              <a:ahLst/>
              <a:cxnLst/>
              <a:rect l="l" t="t" r="r" b="b"/>
              <a:pathLst>
                <a:path w="25" h="27" extrusionOk="0">
                  <a:moveTo>
                    <a:pt x="25" y="8"/>
                  </a:moveTo>
                  <a:lnTo>
                    <a:pt x="15" y="0"/>
                  </a:lnTo>
                  <a:lnTo>
                    <a:pt x="0" y="21"/>
                  </a:lnTo>
                  <a:lnTo>
                    <a:pt x="11" y="27"/>
                  </a:lnTo>
                  <a:lnTo>
                    <a:pt x="25" y="8"/>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42" name="Google Shape;2142;g7826bb8c5e_0_4294"/>
            <p:cNvSpPr/>
            <p:nvPr/>
          </p:nvSpPr>
          <p:spPr>
            <a:xfrm>
              <a:off x="6088557" y="4187996"/>
              <a:ext cx="11442" cy="13653"/>
            </a:xfrm>
            <a:custGeom>
              <a:avLst/>
              <a:gdLst/>
              <a:ahLst/>
              <a:cxnLst/>
              <a:rect l="l" t="t" r="r" b="b"/>
              <a:pathLst>
                <a:path w="23" h="21" extrusionOk="0">
                  <a:moveTo>
                    <a:pt x="23" y="8"/>
                  </a:moveTo>
                  <a:lnTo>
                    <a:pt x="12" y="19"/>
                  </a:lnTo>
                  <a:lnTo>
                    <a:pt x="0" y="21"/>
                  </a:lnTo>
                  <a:lnTo>
                    <a:pt x="0" y="0"/>
                  </a:lnTo>
                  <a:lnTo>
                    <a:pt x="23" y="8"/>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43" name="Google Shape;2143;g7826bb8c5e_0_4294"/>
            <p:cNvSpPr/>
            <p:nvPr/>
          </p:nvSpPr>
          <p:spPr>
            <a:xfrm>
              <a:off x="6349170" y="4231685"/>
              <a:ext cx="8900" cy="27306"/>
            </a:xfrm>
            <a:custGeom>
              <a:avLst/>
              <a:gdLst/>
              <a:ahLst/>
              <a:cxnLst/>
              <a:rect l="l" t="t" r="r" b="b"/>
              <a:pathLst>
                <a:path w="20" h="46" extrusionOk="0">
                  <a:moveTo>
                    <a:pt x="20" y="31"/>
                  </a:moveTo>
                  <a:lnTo>
                    <a:pt x="16" y="27"/>
                  </a:lnTo>
                  <a:lnTo>
                    <a:pt x="18" y="9"/>
                  </a:lnTo>
                  <a:lnTo>
                    <a:pt x="18" y="0"/>
                  </a:lnTo>
                  <a:lnTo>
                    <a:pt x="0" y="46"/>
                  </a:lnTo>
                  <a:lnTo>
                    <a:pt x="20" y="3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44" name="Google Shape;2144;g7826bb8c5e_0_4294"/>
            <p:cNvSpPr/>
            <p:nvPr/>
          </p:nvSpPr>
          <p:spPr>
            <a:xfrm>
              <a:off x="6553848" y="4256262"/>
              <a:ext cx="7627" cy="16383"/>
            </a:xfrm>
            <a:custGeom>
              <a:avLst/>
              <a:gdLst/>
              <a:ahLst/>
              <a:cxnLst/>
              <a:rect l="l" t="t" r="r" b="b"/>
              <a:pathLst>
                <a:path w="11" h="27" extrusionOk="0">
                  <a:moveTo>
                    <a:pt x="11" y="22"/>
                  </a:moveTo>
                  <a:lnTo>
                    <a:pt x="10" y="0"/>
                  </a:lnTo>
                  <a:lnTo>
                    <a:pt x="0" y="6"/>
                  </a:lnTo>
                  <a:lnTo>
                    <a:pt x="0" y="27"/>
                  </a:lnTo>
                  <a:lnTo>
                    <a:pt x="11" y="22"/>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45" name="Google Shape;2145;g7826bb8c5e_0_4294"/>
            <p:cNvSpPr/>
            <p:nvPr/>
          </p:nvSpPr>
          <p:spPr>
            <a:xfrm>
              <a:off x="5932188" y="4149767"/>
              <a:ext cx="10171" cy="16383"/>
            </a:xfrm>
            <a:custGeom>
              <a:avLst/>
              <a:gdLst/>
              <a:ahLst/>
              <a:cxnLst/>
              <a:rect l="l" t="t" r="r" b="b"/>
              <a:pathLst>
                <a:path w="19" h="27" extrusionOk="0">
                  <a:moveTo>
                    <a:pt x="19" y="27"/>
                  </a:moveTo>
                  <a:lnTo>
                    <a:pt x="6" y="27"/>
                  </a:lnTo>
                  <a:lnTo>
                    <a:pt x="0" y="0"/>
                  </a:lnTo>
                  <a:lnTo>
                    <a:pt x="19" y="27"/>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46" name="Google Shape;2146;g7826bb8c5e_0_4294"/>
            <p:cNvSpPr/>
            <p:nvPr/>
          </p:nvSpPr>
          <p:spPr>
            <a:xfrm>
              <a:off x="6344085" y="4234417"/>
              <a:ext cx="7627" cy="16383"/>
            </a:xfrm>
            <a:custGeom>
              <a:avLst/>
              <a:gdLst/>
              <a:ahLst/>
              <a:cxnLst/>
              <a:rect l="l" t="t" r="r" b="b"/>
              <a:pathLst>
                <a:path w="13" h="28" extrusionOk="0">
                  <a:moveTo>
                    <a:pt x="13" y="12"/>
                  </a:moveTo>
                  <a:lnTo>
                    <a:pt x="13" y="0"/>
                  </a:lnTo>
                  <a:lnTo>
                    <a:pt x="5" y="4"/>
                  </a:lnTo>
                  <a:lnTo>
                    <a:pt x="0" y="28"/>
                  </a:lnTo>
                  <a:lnTo>
                    <a:pt x="13" y="12"/>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47" name="Google Shape;2147;g7826bb8c5e_0_4294"/>
            <p:cNvSpPr/>
            <p:nvPr/>
          </p:nvSpPr>
          <p:spPr>
            <a:xfrm>
              <a:off x="6382224" y="4166152"/>
              <a:ext cx="16527" cy="2730"/>
            </a:xfrm>
            <a:custGeom>
              <a:avLst/>
              <a:gdLst/>
              <a:ahLst/>
              <a:cxnLst/>
              <a:rect l="l" t="t" r="r" b="b"/>
              <a:pathLst>
                <a:path w="33" h="8" extrusionOk="0">
                  <a:moveTo>
                    <a:pt x="33" y="8"/>
                  </a:moveTo>
                  <a:lnTo>
                    <a:pt x="16" y="0"/>
                  </a:lnTo>
                  <a:lnTo>
                    <a:pt x="0" y="8"/>
                  </a:lnTo>
                  <a:lnTo>
                    <a:pt x="33" y="8"/>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48" name="Google Shape;2148;g7826bb8c5e_0_4294"/>
            <p:cNvSpPr/>
            <p:nvPr/>
          </p:nvSpPr>
          <p:spPr>
            <a:xfrm>
              <a:off x="6550034" y="4272645"/>
              <a:ext cx="5085" cy="13653"/>
            </a:xfrm>
            <a:custGeom>
              <a:avLst/>
              <a:gdLst/>
              <a:ahLst/>
              <a:cxnLst/>
              <a:rect l="l" t="t" r="r" b="b"/>
              <a:pathLst>
                <a:path w="12" h="24" extrusionOk="0">
                  <a:moveTo>
                    <a:pt x="12" y="12"/>
                  </a:moveTo>
                  <a:lnTo>
                    <a:pt x="2" y="24"/>
                  </a:lnTo>
                  <a:lnTo>
                    <a:pt x="0" y="0"/>
                  </a:lnTo>
                  <a:lnTo>
                    <a:pt x="12" y="12"/>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49" name="Google Shape;2149;g7826bb8c5e_0_4294"/>
            <p:cNvSpPr/>
            <p:nvPr/>
          </p:nvSpPr>
          <p:spPr>
            <a:xfrm>
              <a:off x="6175005" y="4287663"/>
              <a:ext cx="22883" cy="4096"/>
            </a:xfrm>
            <a:custGeom>
              <a:avLst/>
              <a:gdLst/>
              <a:ahLst/>
              <a:cxnLst/>
              <a:rect l="l" t="t" r="r" b="b"/>
              <a:pathLst>
                <a:path w="47" h="5" extrusionOk="0">
                  <a:moveTo>
                    <a:pt x="47" y="0"/>
                  </a:moveTo>
                  <a:lnTo>
                    <a:pt x="14" y="5"/>
                  </a:lnTo>
                  <a:lnTo>
                    <a:pt x="0" y="2"/>
                  </a:lnTo>
                  <a:lnTo>
                    <a:pt x="47"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50" name="Google Shape;2150;g7826bb8c5e_0_4294"/>
            <p:cNvSpPr/>
            <p:nvPr/>
          </p:nvSpPr>
          <p:spPr>
            <a:xfrm>
              <a:off x="6200430" y="4013238"/>
              <a:ext cx="15256" cy="20479"/>
            </a:xfrm>
            <a:custGeom>
              <a:avLst/>
              <a:gdLst/>
              <a:ahLst/>
              <a:cxnLst/>
              <a:rect l="l" t="t" r="r" b="b"/>
              <a:pathLst>
                <a:path w="31" h="35" extrusionOk="0">
                  <a:moveTo>
                    <a:pt x="18" y="35"/>
                  </a:moveTo>
                  <a:lnTo>
                    <a:pt x="0" y="14"/>
                  </a:lnTo>
                  <a:lnTo>
                    <a:pt x="31" y="0"/>
                  </a:lnTo>
                  <a:lnTo>
                    <a:pt x="31" y="2"/>
                  </a:lnTo>
                  <a:lnTo>
                    <a:pt x="26" y="19"/>
                  </a:lnTo>
                  <a:lnTo>
                    <a:pt x="18" y="35"/>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51" name="Google Shape;2151;g7826bb8c5e_0_4294"/>
            <p:cNvSpPr/>
            <p:nvPr/>
          </p:nvSpPr>
          <p:spPr>
            <a:xfrm>
              <a:off x="6613598" y="3905377"/>
              <a:ext cx="3814" cy="4096"/>
            </a:xfrm>
            <a:custGeom>
              <a:avLst/>
              <a:gdLst/>
              <a:ahLst/>
              <a:cxnLst/>
              <a:rect l="l" t="t" r="r" b="b"/>
              <a:pathLst>
                <a:path w="6" h="6" extrusionOk="0">
                  <a:moveTo>
                    <a:pt x="4" y="2"/>
                  </a:moveTo>
                  <a:lnTo>
                    <a:pt x="2" y="2"/>
                  </a:lnTo>
                  <a:lnTo>
                    <a:pt x="0" y="6"/>
                  </a:lnTo>
                  <a:lnTo>
                    <a:pt x="2" y="2"/>
                  </a:lnTo>
                  <a:lnTo>
                    <a:pt x="2" y="0"/>
                  </a:lnTo>
                  <a:lnTo>
                    <a:pt x="2" y="2"/>
                  </a:lnTo>
                  <a:lnTo>
                    <a:pt x="4" y="0"/>
                  </a:lnTo>
                  <a:lnTo>
                    <a:pt x="4" y="2"/>
                  </a:lnTo>
                  <a:lnTo>
                    <a:pt x="6" y="2"/>
                  </a:lnTo>
                  <a:lnTo>
                    <a:pt x="4" y="2"/>
                  </a:lnTo>
                  <a:close/>
                </a:path>
              </a:pathLst>
            </a:custGeom>
            <a:solidFill>
              <a:srgbClr val="FFEA80"/>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52" name="Google Shape;2152;g7826bb8c5e_0_4294"/>
            <p:cNvSpPr/>
            <p:nvPr/>
          </p:nvSpPr>
          <p:spPr>
            <a:xfrm>
              <a:off x="6122880" y="3966817"/>
              <a:ext cx="166540" cy="139261"/>
            </a:xfrm>
            <a:custGeom>
              <a:avLst/>
              <a:gdLst/>
              <a:ahLst/>
              <a:cxnLst/>
              <a:rect l="l" t="t" r="r" b="b"/>
              <a:pathLst>
                <a:path w="320" h="229" extrusionOk="0">
                  <a:moveTo>
                    <a:pt x="240" y="0"/>
                  </a:moveTo>
                  <a:lnTo>
                    <a:pt x="260" y="16"/>
                  </a:lnTo>
                  <a:lnTo>
                    <a:pt x="260" y="39"/>
                  </a:lnTo>
                  <a:lnTo>
                    <a:pt x="275" y="33"/>
                  </a:lnTo>
                  <a:lnTo>
                    <a:pt x="275" y="43"/>
                  </a:lnTo>
                  <a:lnTo>
                    <a:pt x="281" y="45"/>
                  </a:lnTo>
                  <a:lnTo>
                    <a:pt x="320" y="64"/>
                  </a:lnTo>
                  <a:lnTo>
                    <a:pt x="287" y="74"/>
                  </a:lnTo>
                  <a:lnTo>
                    <a:pt x="295" y="93"/>
                  </a:lnTo>
                  <a:lnTo>
                    <a:pt x="271" y="99"/>
                  </a:lnTo>
                  <a:lnTo>
                    <a:pt x="266" y="105"/>
                  </a:lnTo>
                  <a:lnTo>
                    <a:pt x="237" y="101"/>
                  </a:lnTo>
                  <a:lnTo>
                    <a:pt x="207" y="97"/>
                  </a:lnTo>
                  <a:lnTo>
                    <a:pt x="200" y="124"/>
                  </a:lnTo>
                  <a:lnTo>
                    <a:pt x="192" y="152"/>
                  </a:lnTo>
                  <a:lnTo>
                    <a:pt x="184" y="171"/>
                  </a:lnTo>
                  <a:lnTo>
                    <a:pt x="169" y="204"/>
                  </a:lnTo>
                  <a:lnTo>
                    <a:pt x="142" y="214"/>
                  </a:lnTo>
                  <a:lnTo>
                    <a:pt x="97" y="204"/>
                  </a:lnTo>
                  <a:lnTo>
                    <a:pt x="85" y="219"/>
                  </a:lnTo>
                  <a:lnTo>
                    <a:pt x="41" y="229"/>
                  </a:lnTo>
                  <a:lnTo>
                    <a:pt x="8" y="210"/>
                  </a:lnTo>
                  <a:lnTo>
                    <a:pt x="0" y="185"/>
                  </a:lnTo>
                  <a:lnTo>
                    <a:pt x="2" y="188"/>
                  </a:lnTo>
                  <a:lnTo>
                    <a:pt x="29" y="202"/>
                  </a:lnTo>
                  <a:lnTo>
                    <a:pt x="54" y="212"/>
                  </a:lnTo>
                  <a:lnTo>
                    <a:pt x="49" y="210"/>
                  </a:lnTo>
                  <a:lnTo>
                    <a:pt x="54" y="202"/>
                  </a:lnTo>
                  <a:lnTo>
                    <a:pt x="56" y="183"/>
                  </a:lnTo>
                  <a:lnTo>
                    <a:pt x="58" y="175"/>
                  </a:lnTo>
                  <a:lnTo>
                    <a:pt x="60" y="161"/>
                  </a:lnTo>
                  <a:lnTo>
                    <a:pt x="83" y="153"/>
                  </a:lnTo>
                  <a:lnTo>
                    <a:pt x="107" y="146"/>
                  </a:lnTo>
                  <a:lnTo>
                    <a:pt x="128" y="119"/>
                  </a:lnTo>
                  <a:lnTo>
                    <a:pt x="147" y="90"/>
                  </a:lnTo>
                  <a:lnTo>
                    <a:pt x="165" y="111"/>
                  </a:lnTo>
                  <a:lnTo>
                    <a:pt x="173" y="95"/>
                  </a:lnTo>
                  <a:lnTo>
                    <a:pt x="178" y="78"/>
                  </a:lnTo>
                  <a:lnTo>
                    <a:pt x="186" y="99"/>
                  </a:lnTo>
                  <a:lnTo>
                    <a:pt x="186" y="82"/>
                  </a:lnTo>
                  <a:lnTo>
                    <a:pt x="194" y="74"/>
                  </a:lnTo>
                  <a:lnTo>
                    <a:pt x="190" y="62"/>
                  </a:lnTo>
                  <a:lnTo>
                    <a:pt x="198" y="53"/>
                  </a:lnTo>
                  <a:lnTo>
                    <a:pt x="213" y="27"/>
                  </a:lnTo>
                  <a:lnTo>
                    <a:pt x="231" y="0"/>
                  </a:lnTo>
                  <a:lnTo>
                    <a:pt x="233" y="10"/>
                  </a:lnTo>
                  <a:lnTo>
                    <a:pt x="240" y="0"/>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53" name="Google Shape;2153;g7826bb8c5e_0_4294"/>
            <p:cNvSpPr/>
            <p:nvPr/>
          </p:nvSpPr>
          <p:spPr>
            <a:xfrm>
              <a:off x="5953800" y="3975009"/>
              <a:ext cx="75005" cy="120146"/>
            </a:xfrm>
            <a:custGeom>
              <a:avLst/>
              <a:gdLst/>
              <a:ahLst/>
              <a:cxnLst/>
              <a:rect l="l" t="t" r="r" b="b"/>
              <a:pathLst>
                <a:path w="148" h="198" extrusionOk="0">
                  <a:moveTo>
                    <a:pt x="124" y="198"/>
                  </a:moveTo>
                  <a:lnTo>
                    <a:pt x="86" y="169"/>
                  </a:lnTo>
                  <a:lnTo>
                    <a:pt x="45" y="139"/>
                  </a:lnTo>
                  <a:lnTo>
                    <a:pt x="28" y="97"/>
                  </a:lnTo>
                  <a:lnTo>
                    <a:pt x="14" y="52"/>
                  </a:lnTo>
                  <a:lnTo>
                    <a:pt x="0" y="6"/>
                  </a:lnTo>
                  <a:lnTo>
                    <a:pt x="2" y="0"/>
                  </a:lnTo>
                  <a:lnTo>
                    <a:pt x="29" y="13"/>
                  </a:lnTo>
                  <a:lnTo>
                    <a:pt x="31" y="29"/>
                  </a:lnTo>
                  <a:lnTo>
                    <a:pt x="55" y="29"/>
                  </a:lnTo>
                  <a:lnTo>
                    <a:pt x="68" y="13"/>
                  </a:lnTo>
                  <a:lnTo>
                    <a:pt x="90" y="35"/>
                  </a:lnTo>
                  <a:lnTo>
                    <a:pt x="109" y="56"/>
                  </a:lnTo>
                  <a:lnTo>
                    <a:pt x="113" y="93"/>
                  </a:lnTo>
                  <a:lnTo>
                    <a:pt x="117" y="130"/>
                  </a:lnTo>
                  <a:lnTo>
                    <a:pt x="132" y="163"/>
                  </a:lnTo>
                  <a:lnTo>
                    <a:pt x="148" y="196"/>
                  </a:lnTo>
                  <a:lnTo>
                    <a:pt x="136" y="190"/>
                  </a:lnTo>
                  <a:lnTo>
                    <a:pt x="124" y="198"/>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54" name="Google Shape;2154;g7826bb8c5e_0_4294"/>
            <p:cNvSpPr/>
            <p:nvPr/>
          </p:nvSpPr>
          <p:spPr>
            <a:xfrm>
              <a:off x="6553848" y="3947702"/>
              <a:ext cx="1271" cy="9557"/>
            </a:xfrm>
            <a:custGeom>
              <a:avLst/>
              <a:gdLst/>
              <a:ahLst/>
              <a:cxnLst/>
              <a:rect l="l" t="t" r="r" b="b"/>
              <a:pathLst>
                <a:path w="6" h="16" extrusionOk="0">
                  <a:moveTo>
                    <a:pt x="2" y="10"/>
                  </a:moveTo>
                  <a:lnTo>
                    <a:pt x="2" y="8"/>
                  </a:lnTo>
                  <a:lnTo>
                    <a:pt x="2" y="6"/>
                  </a:lnTo>
                  <a:lnTo>
                    <a:pt x="4" y="4"/>
                  </a:lnTo>
                  <a:lnTo>
                    <a:pt x="6" y="4"/>
                  </a:lnTo>
                  <a:lnTo>
                    <a:pt x="4" y="0"/>
                  </a:lnTo>
                  <a:lnTo>
                    <a:pt x="6" y="4"/>
                  </a:lnTo>
                  <a:lnTo>
                    <a:pt x="6" y="10"/>
                  </a:lnTo>
                  <a:lnTo>
                    <a:pt x="4" y="14"/>
                  </a:lnTo>
                  <a:lnTo>
                    <a:pt x="4" y="16"/>
                  </a:lnTo>
                  <a:lnTo>
                    <a:pt x="2" y="14"/>
                  </a:lnTo>
                  <a:lnTo>
                    <a:pt x="0" y="12"/>
                  </a:lnTo>
                  <a:lnTo>
                    <a:pt x="2" y="1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55" name="Google Shape;2155;g7826bb8c5e_0_4294"/>
            <p:cNvSpPr/>
            <p:nvPr/>
          </p:nvSpPr>
          <p:spPr>
            <a:xfrm>
              <a:off x="6551306" y="3958626"/>
              <a:ext cx="2542" cy="1364"/>
            </a:xfrm>
            <a:custGeom>
              <a:avLst/>
              <a:gdLst/>
              <a:ahLst/>
              <a:cxnLst/>
              <a:rect l="l" t="t" r="r" b="b"/>
              <a:pathLst>
                <a:path w="4" h="2" extrusionOk="0">
                  <a:moveTo>
                    <a:pt x="2" y="2"/>
                  </a:moveTo>
                  <a:lnTo>
                    <a:pt x="0" y="0"/>
                  </a:lnTo>
                  <a:lnTo>
                    <a:pt x="0" y="2"/>
                  </a:lnTo>
                  <a:lnTo>
                    <a:pt x="4" y="2"/>
                  </a:lnTo>
                  <a:lnTo>
                    <a:pt x="4" y="0"/>
                  </a:lnTo>
                  <a:lnTo>
                    <a:pt x="2" y="2"/>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56" name="Google Shape;2156;g7826bb8c5e_0_4294"/>
            <p:cNvSpPr/>
            <p:nvPr/>
          </p:nvSpPr>
          <p:spPr>
            <a:xfrm>
              <a:off x="6553848" y="3957260"/>
              <a:ext cx="0" cy="1500"/>
            </a:xfrm>
            <a:custGeom>
              <a:avLst/>
              <a:gdLst/>
              <a:ahLst/>
              <a:cxnLst/>
              <a:rect l="l" t="t" r="r" b="b"/>
              <a:pathLst>
                <a:path w="2" h="120000" extrusionOk="0">
                  <a:moveTo>
                    <a:pt x="0" y="0"/>
                  </a:moveTo>
                  <a:lnTo>
                    <a:pt x="0" y="0"/>
                  </a:lnTo>
                  <a:lnTo>
                    <a:pt x="0"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57" name="Google Shape;2157;g7826bb8c5e_0_4294"/>
            <p:cNvSpPr/>
            <p:nvPr/>
          </p:nvSpPr>
          <p:spPr>
            <a:xfrm>
              <a:off x="6548763" y="3966817"/>
              <a:ext cx="1271" cy="1364"/>
            </a:xfrm>
            <a:custGeom>
              <a:avLst/>
              <a:gdLst/>
              <a:ahLst/>
              <a:cxnLst/>
              <a:rect l="l" t="t" r="r" b="b"/>
              <a:pathLst>
                <a:path w="2" h="2" extrusionOk="0">
                  <a:moveTo>
                    <a:pt x="2" y="0"/>
                  </a:moveTo>
                  <a:lnTo>
                    <a:pt x="0" y="2"/>
                  </a:lnTo>
                  <a:lnTo>
                    <a:pt x="0" y="0"/>
                  </a:lnTo>
                  <a:lnTo>
                    <a:pt x="2"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58" name="Google Shape;2158;g7826bb8c5e_0_4294"/>
            <p:cNvSpPr/>
            <p:nvPr/>
          </p:nvSpPr>
          <p:spPr>
            <a:xfrm>
              <a:off x="6550034" y="3964085"/>
              <a:ext cx="1200" cy="2730"/>
            </a:xfrm>
            <a:custGeom>
              <a:avLst/>
              <a:gdLst/>
              <a:ahLst/>
              <a:cxnLst/>
              <a:rect l="l" t="t" r="r" b="b"/>
              <a:pathLst>
                <a:path w="120000" h="4" extrusionOk="0">
                  <a:moveTo>
                    <a:pt x="0" y="2"/>
                  </a:moveTo>
                  <a:lnTo>
                    <a:pt x="0" y="0"/>
                  </a:lnTo>
                  <a:lnTo>
                    <a:pt x="0" y="4"/>
                  </a:lnTo>
                  <a:lnTo>
                    <a:pt x="0" y="2"/>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59" name="Google Shape;2159;g7826bb8c5e_0_4294"/>
            <p:cNvSpPr/>
            <p:nvPr/>
          </p:nvSpPr>
          <p:spPr>
            <a:xfrm>
              <a:off x="6664450" y="4187996"/>
              <a:ext cx="171624" cy="182951"/>
            </a:xfrm>
            <a:custGeom>
              <a:avLst/>
              <a:gdLst/>
              <a:ahLst/>
              <a:cxnLst/>
              <a:rect l="l" t="t" r="r" b="b"/>
              <a:pathLst>
                <a:path w="328" h="304" extrusionOk="0">
                  <a:moveTo>
                    <a:pt x="328" y="291"/>
                  </a:moveTo>
                  <a:lnTo>
                    <a:pt x="314" y="297"/>
                  </a:lnTo>
                  <a:lnTo>
                    <a:pt x="314" y="304"/>
                  </a:lnTo>
                  <a:lnTo>
                    <a:pt x="295" y="300"/>
                  </a:lnTo>
                  <a:lnTo>
                    <a:pt x="264" y="295"/>
                  </a:lnTo>
                  <a:lnTo>
                    <a:pt x="233" y="287"/>
                  </a:lnTo>
                  <a:lnTo>
                    <a:pt x="215" y="267"/>
                  </a:lnTo>
                  <a:lnTo>
                    <a:pt x="198" y="248"/>
                  </a:lnTo>
                  <a:lnTo>
                    <a:pt x="180" y="227"/>
                  </a:lnTo>
                  <a:lnTo>
                    <a:pt x="163" y="203"/>
                  </a:lnTo>
                  <a:lnTo>
                    <a:pt x="120" y="188"/>
                  </a:lnTo>
                  <a:lnTo>
                    <a:pt x="118" y="196"/>
                  </a:lnTo>
                  <a:lnTo>
                    <a:pt x="97" y="190"/>
                  </a:lnTo>
                  <a:lnTo>
                    <a:pt x="99" y="207"/>
                  </a:lnTo>
                  <a:lnTo>
                    <a:pt x="87" y="205"/>
                  </a:lnTo>
                  <a:lnTo>
                    <a:pt x="91" y="215"/>
                  </a:lnTo>
                  <a:lnTo>
                    <a:pt x="45" y="213"/>
                  </a:lnTo>
                  <a:lnTo>
                    <a:pt x="82" y="234"/>
                  </a:lnTo>
                  <a:lnTo>
                    <a:pt x="66" y="250"/>
                  </a:lnTo>
                  <a:lnTo>
                    <a:pt x="33" y="250"/>
                  </a:lnTo>
                  <a:lnTo>
                    <a:pt x="0" y="248"/>
                  </a:lnTo>
                  <a:lnTo>
                    <a:pt x="2" y="217"/>
                  </a:lnTo>
                  <a:lnTo>
                    <a:pt x="6" y="186"/>
                  </a:lnTo>
                  <a:lnTo>
                    <a:pt x="8" y="155"/>
                  </a:lnTo>
                  <a:lnTo>
                    <a:pt x="10" y="124"/>
                  </a:lnTo>
                  <a:lnTo>
                    <a:pt x="14" y="93"/>
                  </a:lnTo>
                  <a:lnTo>
                    <a:pt x="14" y="62"/>
                  </a:lnTo>
                  <a:lnTo>
                    <a:pt x="16" y="31"/>
                  </a:lnTo>
                  <a:lnTo>
                    <a:pt x="16" y="0"/>
                  </a:lnTo>
                  <a:lnTo>
                    <a:pt x="49" y="13"/>
                  </a:lnTo>
                  <a:lnTo>
                    <a:pt x="80" y="29"/>
                  </a:lnTo>
                  <a:lnTo>
                    <a:pt x="113" y="43"/>
                  </a:lnTo>
                  <a:lnTo>
                    <a:pt x="146" y="58"/>
                  </a:lnTo>
                  <a:lnTo>
                    <a:pt x="175" y="95"/>
                  </a:lnTo>
                  <a:lnTo>
                    <a:pt x="175" y="110"/>
                  </a:lnTo>
                  <a:lnTo>
                    <a:pt x="204" y="124"/>
                  </a:lnTo>
                  <a:lnTo>
                    <a:pt x="233" y="136"/>
                  </a:lnTo>
                  <a:lnTo>
                    <a:pt x="237" y="157"/>
                  </a:lnTo>
                  <a:lnTo>
                    <a:pt x="208" y="161"/>
                  </a:lnTo>
                  <a:lnTo>
                    <a:pt x="223" y="194"/>
                  </a:lnTo>
                  <a:lnTo>
                    <a:pt x="244" y="215"/>
                  </a:lnTo>
                  <a:lnTo>
                    <a:pt x="260" y="248"/>
                  </a:lnTo>
                  <a:lnTo>
                    <a:pt x="279" y="250"/>
                  </a:lnTo>
                  <a:lnTo>
                    <a:pt x="279" y="264"/>
                  </a:lnTo>
                  <a:lnTo>
                    <a:pt x="297" y="273"/>
                  </a:lnTo>
                  <a:lnTo>
                    <a:pt x="293" y="281"/>
                  </a:lnTo>
                  <a:lnTo>
                    <a:pt x="328" y="29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60" name="Google Shape;2160;g7826bb8c5e_0_4294"/>
            <p:cNvSpPr/>
            <p:nvPr/>
          </p:nvSpPr>
          <p:spPr>
            <a:xfrm>
              <a:off x="6799206" y="4226224"/>
              <a:ext cx="72464" cy="46421"/>
            </a:xfrm>
            <a:custGeom>
              <a:avLst/>
              <a:gdLst/>
              <a:ahLst/>
              <a:cxnLst/>
              <a:rect l="l" t="t" r="r" b="b"/>
              <a:pathLst>
                <a:path w="140" h="75" extrusionOk="0">
                  <a:moveTo>
                    <a:pt x="140" y="2"/>
                  </a:moveTo>
                  <a:lnTo>
                    <a:pt x="130" y="27"/>
                  </a:lnTo>
                  <a:lnTo>
                    <a:pt x="122" y="33"/>
                  </a:lnTo>
                  <a:lnTo>
                    <a:pt x="124" y="44"/>
                  </a:lnTo>
                  <a:lnTo>
                    <a:pt x="101" y="56"/>
                  </a:lnTo>
                  <a:lnTo>
                    <a:pt x="56" y="75"/>
                  </a:lnTo>
                  <a:lnTo>
                    <a:pt x="29" y="70"/>
                  </a:lnTo>
                  <a:lnTo>
                    <a:pt x="8" y="58"/>
                  </a:lnTo>
                  <a:lnTo>
                    <a:pt x="0" y="46"/>
                  </a:lnTo>
                  <a:lnTo>
                    <a:pt x="46" y="48"/>
                  </a:lnTo>
                  <a:lnTo>
                    <a:pt x="58" y="29"/>
                  </a:lnTo>
                  <a:lnTo>
                    <a:pt x="58" y="39"/>
                  </a:lnTo>
                  <a:lnTo>
                    <a:pt x="76" y="48"/>
                  </a:lnTo>
                  <a:lnTo>
                    <a:pt x="109" y="25"/>
                  </a:lnTo>
                  <a:lnTo>
                    <a:pt x="109" y="2"/>
                  </a:lnTo>
                  <a:lnTo>
                    <a:pt x="126" y="0"/>
                  </a:lnTo>
                  <a:lnTo>
                    <a:pt x="140" y="2"/>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61" name="Google Shape;2161;g7826bb8c5e_0_4294"/>
            <p:cNvSpPr/>
            <p:nvPr/>
          </p:nvSpPr>
          <p:spPr>
            <a:xfrm>
              <a:off x="6909809" y="4250800"/>
              <a:ext cx="21611" cy="35498"/>
            </a:xfrm>
            <a:custGeom>
              <a:avLst/>
              <a:gdLst/>
              <a:ahLst/>
              <a:cxnLst/>
              <a:rect l="l" t="t" r="r" b="b"/>
              <a:pathLst>
                <a:path w="39" h="56" extrusionOk="0">
                  <a:moveTo>
                    <a:pt x="39" y="50"/>
                  </a:moveTo>
                  <a:lnTo>
                    <a:pt x="29" y="56"/>
                  </a:lnTo>
                  <a:lnTo>
                    <a:pt x="8" y="31"/>
                  </a:lnTo>
                  <a:lnTo>
                    <a:pt x="0" y="0"/>
                  </a:lnTo>
                  <a:lnTo>
                    <a:pt x="20" y="25"/>
                  </a:lnTo>
                  <a:lnTo>
                    <a:pt x="39" y="5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62" name="Google Shape;2162;g7826bb8c5e_0_4294"/>
            <p:cNvSpPr/>
            <p:nvPr/>
          </p:nvSpPr>
          <p:spPr>
            <a:xfrm>
              <a:off x="6846245" y="4189360"/>
              <a:ext cx="38138" cy="47787"/>
            </a:xfrm>
            <a:custGeom>
              <a:avLst/>
              <a:gdLst/>
              <a:ahLst/>
              <a:cxnLst/>
              <a:rect l="l" t="t" r="r" b="b"/>
              <a:pathLst>
                <a:path w="74" h="77" extrusionOk="0">
                  <a:moveTo>
                    <a:pt x="74" y="64"/>
                  </a:moveTo>
                  <a:lnTo>
                    <a:pt x="64" y="77"/>
                  </a:lnTo>
                  <a:lnTo>
                    <a:pt x="41" y="31"/>
                  </a:lnTo>
                  <a:lnTo>
                    <a:pt x="21" y="15"/>
                  </a:lnTo>
                  <a:lnTo>
                    <a:pt x="0" y="0"/>
                  </a:lnTo>
                  <a:lnTo>
                    <a:pt x="2" y="0"/>
                  </a:lnTo>
                  <a:lnTo>
                    <a:pt x="29" y="19"/>
                  </a:lnTo>
                  <a:lnTo>
                    <a:pt x="56" y="40"/>
                  </a:lnTo>
                  <a:lnTo>
                    <a:pt x="74" y="6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63" name="Google Shape;2163;g7826bb8c5e_0_4294"/>
            <p:cNvSpPr/>
            <p:nvPr/>
          </p:nvSpPr>
          <p:spPr>
            <a:xfrm>
              <a:off x="6837345" y="4354563"/>
              <a:ext cx="6356" cy="5462"/>
            </a:xfrm>
            <a:custGeom>
              <a:avLst/>
              <a:gdLst/>
              <a:ahLst/>
              <a:cxnLst/>
              <a:rect l="l" t="t" r="r" b="b"/>
              <a:pathLst>
                <a:path w="13" h="12" extrusionOk="0">
                  <a:moveTo>
                    <a:pt x="13" y="6"/>
                  </a:moveTo>
                  <a:lnTo>
                    <a:pt x="4" y="12"/>
                  </a:lnTo>
                  <a:lnTo>
                    <a:pt x="0" y="0"/>
                  </a:lnTo>
                  <a:lnTo>
                    <a:pt x="13" y="6"/>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64" name="Google Shape;2164;g7826bb8c5e_0_4294"/>
            <p:cNvSpPr/>
            <p:nvPr/>
          </p:nvSpPr>
          <p:spPr>
            <a:xfrm>
              <a:off x="5704628" y="3512170"/>
              <a:ext cx="86448" cy="131069"/>
            </a:xfrm>
            <a:custGeom>
              <a:avLst/>
              <a:gdLst/>
              <a:ahLst/>
              <a:cxnLst/>
              <a:rect l="l" t="t" r="r" b="b"/>
              <a:pathLst>
                <a:path w="166" h="215" extrusionOk="0">
                  <a:moveTo>
                    <a:pt x="60" y="178"/>
                  </a:moveTo>
                  <a:lnTo>
                    <a:pt x="58" y="182"/>
                  </a:lnTo>
                  <a:lnTo>
                    <a:pt x="50" y="172"/>
                  </a:lnTo>
                  <a:lnTo>
                    <a:pt x="50" y="174"/>
                  </a:lnTo>
                  <a:lnTo>
                    <a:pt x="40" y="145"/>
                  </a:lnTo>
                  <a:lnTo>
                    <a:pt x="31" y="116"/>
                  </a:lnTo>
                  <a:lnTo>
                    <a:pt x="27" y="95"/>
                  </a:lnTo>
                  <a:lnTo>
                    <a:pt x="3" y="74"/>
                  </a:lnTo>
                  <a:lnTo>
                    <a:pt x="11" y="58"/>
                  </a:lnTo>
                  <a:lnTo>
                    <a:pt x="25" y="52"/>
                  </a:lnTo>
                  <a:lnTo>
                    <a:pt x="0" y="27"/>
                  </a:lnTo>
                  <a:lnTo>
                    <a:pt x="0" y="0"/>
                  </a:lnTo>
                  <a:lnTo>
                    <a:pt x="21" y="10"/>
                  </a:lnTo>
                  <a:lnTo>
                    <a:pt x="33" y="19"/>
                  </a:lnTo>
                  <a:lnTo>
                    <a:pt x="40" y="13"/>
                  </a:lnTo>
                  <a:lnTo>
                    <a:pt x="54" y="44"/>
                  </a:lnTo>
                  <a:lnTo>
                    <a:pt x="89" y="48"/>
                  </a:lnTo>
                  <a:lnTo>
                    <a:pt x="124" y="52"/>
                  </a:lnTo>
                  <a:lnTo>
                    <a:pt x="141" y="64"/>
                  </a:lnTo>
                  <a:lnTo>
                    <a:pt x="135" y="79"/>
                  </a:lnTo>
                  <a:lnTo>
                    <a:pt x="112" y="97"/>
                  </a:lnTo>
                  <a:lnTo>
                    <a:pt x="118" y="128"/>
                  </a:lnTo>
                  <a:lnTo>
                    <a:pt x="126" y="136"/>
                  </a:lnTo>
                  <a:lnTo>
                    <a:pt x="139" y="106"/>
                  </a:lnTo>
                  <a:lnTo>
                    <a:pt x="153" y="139"/>
                  </a:lnTo>
                  <a:lnTo>
                    <a:pt x="164" y="172"/>
                  </a:lnTo>
                  <a:lnTo>
                    <a:pt x="166" y="196"/>
                  </a:lnTo>
                  <a:lnTo>
                    <a:pt x="157" y="203"/>
                  </a:lnTo>
                  <a:lnTo>
                    <a:pt x="160" y="215"/>
                  </a:lnTo>
                  <a:lnTo>
                    <a:pt x="141" y="178"/>
                  </a:lnTo>
                  <a:lnTo>
                    <a:pt x="122" y="143"/>
                  </a:lnTo>
                  <a:lnTo>
                    <a:pt x="102" y="139"/>
                  </a:lnTo>
                  <a:lnTo>
                    <a:pt x="91" y="116"/>
                  </a:lnTo>
                  <a:lnTo>
                    <a:pt x="58" y="99"/>
                  </a:lnTo>
                  <a:lnTo>
                    <a:pt x="48" y="99"/>
                  </a:lnTo>
                  <a:lnTo>
                    <a:pt x="83" y="120"/>
                  </a:lnTo>
                  <a:lnTo>
                    <a:pt x="93" y="141"/>
                  </a:lnTo>
                  <a:lnTo>
                    <a:pt x="95" y="151"/>
                  </a:lnTo>
                  <a:lnTo>
                    <a:pt x="87" y="180"/>
                  </a:lnTo>
                  <a:lnTo>
                    <a:pt x="81" y="170"/>
                  </a:lnTo>
                  <a:lnTo>
                    <a:pt x="75" y="172"/>
                  </a:lnTo>
                  <a:lnTo>
                    <a:pt x="67" y="178"/>
                  </a:lnTo>
                  <a:lnTo>
                    <a:pt x="60" y="178"/>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65" name="Google Shape;2165;g7826bb8c5e_0_4294"/>
            <p:cNvSpPr/>
            <p:nvPr/>
          </p:nvSpPr>
          <p:spPr>
            <a:xfrm>
              <a:off x="5709712" y="3473942"/>
              <a:ext cx="54665" cy="34134"/>
            </a:xfrm>
            <a:custGeom>
              <a:avLst/>
              <a:gdLst/>
              <a:ahLst/>
              <a:cxnLst/>
              <a:rect l="l" t="t" r="r" b="b"/>
              <a:pathLst>
                <a:path w="107" h="54" extrusionOk="0">
                  <a:moveTo>
                    <a:pt x="68" y="6"/>
                  </a:moveTo>
                  <a:lnTo>
                    <a:pt x="22" y="0"/>
                  </a:lnTo>
                  <a:lnTo>
                    <a:pt x="0" y="35"/>
                  </a:lnTo>
                  <a:lnTo>
                    <a:pt x="6" y="50"/>
                  </a:lnTo>
                  <a:lnTo>
                    <a:pt x="45" y="54"/>
                  </a:lnTo>
                  <a:lnTo>
                    <a:pt x="76" y="50"/>
                  </a:lnTo>
                  <a:lnTo>
                    <a:pt x="107" y="48"/>
                  </a:lnTo>
                  <a:lnTo>
                    <a:pt x="95" y="29"/>
                  </a:lnTo>
                  <a:lnTo>
                    <a:pt x="86" y="17"/>
                  </a:lnTo>
                  <a:lnTo>
                    <a:pt x="68" y="6"/>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66" name="Google Shape;2166;g7826bb8c5e_0_4294"/>
            <p:cNvSpPr/>
            <p:nvPr/>
          </p:nvSpPr>
          <p:spPr>
            <a:xfrm>
              <a:off x="5981769" y="3785231"/>
              <a:ext cx="90261" cy="101033"/>
            </a:xfrm>
            <a:custGeom>
              <a:avLst/>
              <a:gdLst/>
              <a:ahLst/>
              <a:cxnLst/>
              <a:rect l="l" t="t" r="r" b="b"/>
              <a:pathLst>
                <a:path w="174" h="164" extrusionOk="0">
                  <a:moveTo>
                    <a:pt x="126" y="120"/>
                  </a:moveTo>
                  <a:lnTo>
                    <a:pt x="135" y="149"/>
                  </a:lnTo>
                  <a:lnTo>
                    <a:pt x="110" y="145"/>
                  </a:lnTo>
                  <a:lnTo>
                    <a:pt x="100" y="151"/>
                  </a:lnTo>
                  <a:lnTo>
                    <a:pt x="81" y="164"/>
                  </a:lnTo>
                  <a:lnTo>
                    <a:pt x="60" y="159"/>
                  </a:lnTo>
                  <a:lnTo>
                    <a:pt x="50" y="153"/>
                  </a:lnTo>
                  <a:lnTo>
                    <a:pt x="46" y="135"/>
                  </a:lnTo>
                  <a:lnTo>
                    <a:pt x="37" y="145"/>
                  </a:lnTo>
                  <a:lnTo>
                    <a:pt x="27" y="120"/>
                  </a:lnTo>
                  <a:lnTo>
                    <a:pt x="25" y="118"/>
                  </a:lnTo>
                  <a:lnTo>
                    <a:pt x="13" y="85"/>
                  </a:lnTo>
                  <a:lnTo>
                    <a:pt x="0" y="54"/>
                  </a:lnTo>
                  <a:lnTo>
                    <a:pt x="21" y="15"/>
                  </a:lnTo>
                  <a:lnTo>
                    <a:pt x="56" y="15"/>
                  </a:lnTo>
                  <a:lnTo>
                    <a:pt x="93" y="13"/>
                  </a:lnTo>
                  <a:lnTo>
                    <a:pt x="120" y="31"/>
                  </a:lnTo>
                  <a:lnTo>
                    <a:pt x="120" y="19"/>
                  </a:lnTo>
                  <a:lnTo>
                    <a:pt x="132" y="9"/>
                  </a:lnTo>
                  <a:lnTo>
                    <a:pt x="145" y="13"/>
                  </a:lnTo>
                  <a:lnTo>
                    <a:pt x="168" y="0"/>
                  </a:lnTo>
                  <a:lnTo>
                    <a:pt x="168" y="35"/>
                  </a:lnTo>
                  <a:lnTo>
                    <a:pt x="172" y="64"/>
                  </a:lnTo>
                  <a:lnTo>
                    <a:pt x="174" y="95"/>
                  </a:lnTo>
                  <a:lnTo>
                    <a:pt x="143" y="110"/>
                  </a:lnTo>
                  <a:lnTo>
                    <a:pt x="126" y="12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67" name="Google Shape;2167;g7826bb8c5e_0_4294"/>
            <p:cNvSpPr/>
            <p:nvPr/>
          </p:nvSpPr>
          <p:spPr>
            <a:xfrm>
              <a:off x="6154663" y="3611837"/>
              <a:ext cx="1271" cy="1364"/>
            </a:xfrm>
            <a:custGeom>
              <a:avLst/>
              <a:gdLst/>
              <a:ahLst/>
              <a:cxnLst/>
              <a:rect l="l" t="t" r="r" b="b"/>
              <a:pathLst>
                <a:path w="6" h="4" extrusionOk="0">
                  <a:moveTo>
                    <a:pt x="6" y="0"/>
                  </a:moveTo>
                  <a:lnTo>
                    <a:pt x="4" y="4"/>
                  </a:lnTo>
                  <a:lnTo>
                    <a:pt x="0" y="4"/>
                  </a:lnTo>
                  <a:lnTo>
                    <a:pt x="6"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68" name="Google Shape;2168;g7826bb8c5e_0_4294"/>
            <p:cNvSpPr/>
            <p:nvPr/>
          </p:nvSpPr>
          <p:spPr>
            <a:xfrm>
              <a:off x="5924560" y="3609107"/>
              <a:ext cx="144927" cy="195239"/>
            </a:xfrm>
            <a:custGeom>
              <a:avLst/>
              <a:gdLst/>
              <a:ahLst/>
              <a:cxnLst/>
              <a:rect l="l" t="t" r="r" b="b"/>
              <a:pathLst>
                <a:path w="277" h="324" extrusionOk="0">
                  <a:moveTo>
                    <a:pt x="155" y="83"/>
                  </a:moveTo>
                  <a:lnTo>
                    <a:pt x="146" y="72"/>
                  </a:lnTo>
                  <a:lnTo>
                    <a:pt x="126" y="56"/>
                  </a:lnTo>
                  <a:lnTo>
                    <a:pt x="111" y="64"/>
                  </a:lnTo>
                  <a:lnTo>
                    <a:pt x="85" y="43"/>
                  </a:lnTo>
                  <a:lnTo>
                    <a:pt x="82" y="25"/>
                  </a:lnTo>
                  <a:lnTo>
                    <a:pt x="54" y="0"/>
                  </a:lnTo>
                  <a:lnTo>
                    <a:pt x="39" y="2"/>
                  </a:lnTo>
                  <a:lnTo>
                    <a:pt x="47" y="46"/>
                  </a:lnTo>
                  <a:lnTo>
                    <a:pt x="31" y="39"/>
                  </a:lnTo>
                  <a:lnTo>
                    <a:pt x="27" y="33"/>
                  </a:lnTo>
                  <a:lnTo>
                    <a:pt x="12" y="58"/>
                  </a:lnTo>
                  <a:lnTo>
                    <a:pt x="0" y="79"/>
                  </a:lnTo>
                  <a:lnTo>
                    <a:pt x="12" y="83"/>
                  </a:lnTo>
                  <a:lnTo>
                    <a:pt x="16" y="107"/>
                  </a:lnTo>
                  <a:lnTo>
                    <a:pt x="41" y="107"/>
                  </a:lnTo>
                  <a:lnTo>
                    <a:pt x="43" y="145"/>
                  </a:lnTo>
                  <a:lnTo>
                    <a:pt x="47" y="186"/>
                  </a:lnTo>
                  <a:lnTo>
                    <a:pt x="76" y="163"/>
                  </a:lnTo>
                  <a:lnTo>
                    <a:pt x="95" y="171"/>
                  </a:lnTo>
                  <a:lnTo>
                    <a:pt x="111" y="163"/>
                  </a:lnTo>
                  <a:lnTo>
                    <a:pt x="126" y="153"/>
                  </a:lnTo>
                  <a:lnTo>
                    <a:pt x="167" y="186"/>
                  </a:lnTo>
                  <a:lnTo>
                    <a:pt x="173" y="213"/>
                  </a:lnTo>
                  <a:lnTo>
                    <a:pt x="202" y="254"/>
                  </a:lnTo>
                  <a:lnTo>
                    <a:pt x="211" y="287"/>
                  </a:lnTo>
                  <a:lnTo>
                    <a:pt x="202" y="306"/>
                  </a:lnTo>
                  <a:lnTo>
                    <a:pt x="229" y="324"/>
                  </a:lnTo>
                  <a:lnTo>
                    <a:pt x="229" y="312"/>
                  </a:lnTo>
                  <a:lnTo>
                    <a:pt x="241" y="302"/>
                  </a:lnTo>
                  <a:lnTo>
                    <a:pt x="254" y="306"/>
                  </a:lnTo>
                  <a:lnTo>
                    <a:pt x="277" y="293"/>
                  </a:lnTo>
                  <a:lnTo>
                    <a:pt x="272" y="264"/>
                  </a:lnTo>
                  <a:lnTo>
                    <a:pt x="262" y="250"/>
                  </a:lnTo>
                  <a:lnTo>
                    <a:pt x="264" y="242"/>
                  </a:lnTo>
                  <a:lnTo>
                    <a:pt x="235" y="219"/>
                  </a:lnTo>
                  <a:lnTo>
                    <a:pt x="219" y="196"/>
                  </a:lnTo>
                  <a:lnTo>
                    <a:pt x="198" y="171"/>
                  </a:lnTo>
                  <a:lnTo>
                    <a:pt x="178" y="145"/>
                  </a:lnTo>
                  <a:lnTo>
                    <a:pt x="134" y="114"/>
                  </a:lnTo>
                  <a:lnTo>
                    <a:pt x="140" y="103"/>
                  </a:lnTo>
                  <a:lnTo>
                    <a:pt x="159" y="97"/>
                  </a:lnTo>
                  <a:lnTo>
                    <a:pt x="155" y="83"/>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69" name="Google Shape;2169;g7826bb8c5e_0_4294"/>
            <p:cNvSpPr/>
            <p:nvPr/>
          </p:nvSpPr>
          <p:spPr>
            <a:xfrm>
              <a:off x="5785990" y="3468481"/>
              <a:ext cx="153826" cy="425975"/>
            </a:xfrm>
            <a:custGeom>
              <a:avLst/>
              <a:gdLst/>
              <a:ahLst/>
              <a:cxnLst/>
              <a:rect l="l" t="t" r="r" b="b"/>
              <a:pathLst>
                <a:path w="292" h="700" extrusionOk="0">
                  <a:moveTo>
                    <a:pt x="195" y="169"/>
                  </a:moveTo>
                  <a:lnTo>
                    <a:pt x="160" y="173"/>
                  </a:lnTo>
                  <a:lnTo>
                    <a:pt x="160" y="155"/>
                  </a:lnTo>
                  <a:lnTo>
                    <a:pt x="159" y="142"/>
                  </a:lnTo>
                  <a:lnTo>
                    <a:pt x="174" y="113"/>
                  </a:lnTo>
                  <a:lnTo>
                    <a:pt x="178" y="97"/>
                  </a:lnTo>
                  <a:lnTo>
                    <a:pt x="172" y="66"/>
                  </a:lnTo>
                  <a:lnTo>
                    <a:pt x="164" y="35"/>
                  </a:lnTo>
                  <a:lnTo>
                    <a:pt x="151" y="27"/>
                  </a:lnTo>
                  <a:lnTo>
                    <a:pt x="124" y="0"/>
                  </a:lnTo>
                  <a:lnTo>
                    <a:pt x="118" y="12"/>
                  </a:lnTo>
                  <a:lnTo>
                    <a:pt x="114" y="29"/>
                  </a:lnTo>
                  <a:lnTo>
                    <a:pt x="110" y="41"/>
                  </a:lnTo>
                  <a:lnTo>
                    <a:pt x="118" y="53"/>
                  </a:lnTo>
                  <a:lnTo>
                    <a:pt x="93" y="47"/>
                  </a:lnTo>
                  <a:lnTo>
                    <a:pt x="62" y="80"/>
                  </a:lnTo>
                  <a:lnTo>
                    <a:pt x="60" y="113"/>
                  </a:lnTo>
                  <a:lnTo>
                    <a:pt x="60" y="130"/>
                  </a:lnTo>
                  <a:lnTo>
                    <a:pt x="44" y="177"/>
                  </a:lnTo>
                  <a:lnTo>
                    <a:pt x="23" y="177"/>
                  </a:lnTo>
                  <a:lnTo>
                    <a:pt x="21" y="208"/>
                  </a:lnTo>
                  <a:lnTo>
                    <a:pt x="21" y="248"/>
                  </a:lnTo>
                  <a:lnTo>
                    <a:pt x="9" y="248"/>
                  </a:lnTo>
                  <a:lnTo>
                    <a:pt x="7" y="248"/>
                  </a:lnTo>
                  <a:lnTo>
                    <a:pt x="9" y="272"/>
                  </a:lnTo>
                  <a:lnTo>
                    <a:pt x="0" y="279"/>
                  </a:lnTo>
                  <a:lnTo>
                    <a:pt x="21" y="314"/>
                  </a:lnTo>
                  <a:lnTo>
                    <a:pt x="23" y="316"/>
                  </a:lnTo>
                  <a:lnTo>
                    <a:pt x="31" y="309"/>
                  </a:lnTo>
                  <a:lnTo>
                    <a:pt x="38" y="330"/>
                  </a:lnTo>
                  <a:lnTo>
                    <a:pt x="40" y="332"/>
                  </a:lnTo>
                  <a:lnTo>
                    <a:pt x="54" y="330"/>
                  </a:lnTo>
                  <a:lnTo>
                    <a:pt x="65" y="345"/>
                  </a:lnTo>
                  <a:lnTo>
                    <a:pt x="56" y="351"/>
                  </a:lnTo>
                  <a:lnTo>
                    <a:pt x="65" y="365"/>
                  </a:lnTo>
                  <a:lnTo>
                    <a:pt x="71" y="351"/>
                  </a:lnTo>
                  <a:lnTo>
                    <a:pt x="83" y="382"/>
                  </a:lnTo>
                  <a:lnTo>
                    <a:pt x="95" y="411"/>
                  </a:lnTo>
                  <a:lnTo>
                    <a:pt x="93" y="444"/>
                  </a:lnTo>
                  <a:lnTo>
                    <a:pt x="93" y="475"/>
                  </a:lnTo>
                  <a:lnTo>
                    <a:pt x="104" y="456"/>
                  </a:lnTo>
                  <a:lnTo>
                    <a:pt x="110" y="477"/>
                  </a:lnTo>
                  <a:lnTo>
                    <a:pt x="114" y="483"/>
                  </a:lnTo>
                  <a:lnTo>
                    <a:pt x="124" y="481"/>
                  </a:lnTo>
                  <a:lnTo>
                    <a:pt x="129" y="477"/>
                  </a:lnTo>
                  <a:lnTo>
                    <a:pt x="129" y="483"/>
                  </a:lnTo>
                  <a:lnTo>
                    <a:pt x="153" y="464"/>
                  </a:lnTo>
                  <a:lnTo>
                    <a:pt x="157" y="452"/>
                  </a:lnTo>
                  <a:lnTo>
                    <a:pt x="166" y="458"/>
                  </a:lnTo>
                  <a:lnTo>
                    <a:pt x="176" y="427"/>
                  </a:lnTo>
                  <a:lnTo>
                    <a:pt x="188" y="446"/>
                  </a:lnTo>
                  <a:lnTo>
                    <a:pt x="203" y="458"/>
                  </a:lnTo>
                  <a:lnTo>
                    <a:pt x="219" y="512"/>
                  </a:lnTo>
                  <a:lnTo>
                    <a:pt x="232" y="564"/>
                  </a:lnTo>
                  <a:lnTo>
                    <a:pt x="234" y="557"/>
                  </a:lnTo>
                  <a:lnTo>
                    <a:pt x="244" y="584"/>
                  </a:lnTo>
                  <a:lnTo>
                    <a:pt x="254" y="611"/>
                  </a:lnTo>
                  <a:lnTo>
                    <a:pt x="259" y="640"/>
                  </a:lnTo>
                  <a:lnTo>
                    <a:pt x="259" y="671"/>
                  </a:lnTo>
                  <a:lnTo>
                    <a:pt x="257" y="700"/>
                  </a:lnTo>
                  <a:lnTo>
                    <a:pt x="265" y="692"/>
                  </a:lnTo>
                  <a:lnTo>
                    <a:pt x="277" y="667"/>
                  </a:lnTo>
                  <a:lnTo>
                    <a:pt x="288" y="644"/>
                  </a:lnTo>
                  <a:lnTo>
                    <a:pt x="279" y="607"/>
                  </a:lnTo>
                  <a:lnTo>
                    <a:pt x="269" y="574"/>
                  </a:lnTo>
                  <a:lnTo>
                    <a:pt x="252" y="549"/>
                  </a:lnTo>
                  <a:lnTo>
                    <a:pt x="234" y="526"/>
                  </a:lnTo>
                  <a:lnTo>
                    <a:pt x="234" y="504"/>
                  </a:lnTo>
                  <a:lnTo>
                    <a:pt x="238" y="487"/>
                  </a:lnTo>
                  <a:lnTo>
                    <a:pt x="248" y="466"/>
                  </a:lnTo>
                  <a:lnTo>
                    <a:pt x="238" y="462"/>
                  </a:lnTo>
                  <a:lnTo>
                    <a:pt x="211" y="421"/>
                  </a:lnTo>
                  <a:lnTo>
                    <a:pt x="184" y="380"/>
                  </a:lnTo>
                  <a:lnTo>
                    <a:pt x="193" y="380"/>
                  </a:lnTo>
                  <a:lnTo>
                    <a:pt x="199" y="340"/>
                  </a:lnTo>
                  <a:lnTo>
                    <a:pt x="232" y="332"/>
                  </a:lnTo>
                  <a:lnTo>
                    <a:pt x="246" y="316"/>
                  </a:lnTo>
                  <a:lnTo>
                    <a:pt x="265" y="312"/>
                  </a:lnTo>
                  <a:lnTo>
                    <a:pt x="277" y="291"/>
                  </a:lnTo>
                  <a:lnTo>
                    <a:pt x="292" y="266"/>
                  </a:lnTo>
                  <a:lnTo>
                    <a:pt x="283" y="260"/>
                  </a:lnTo>
                  <a:lnTo>
                    <a:pt x="257" y="268"/>
                  </a:lnTo>
                  <a:lnTo>
                    <a:pt x="242" y="246"/>
                  </a:lnTo>
                  <a:lnTo>
                    <a:pt x="224" y="239"/>
                  </a:lnTo>
                  <a:lnTo>
                    <a:pt x="228" y="208"/>
                  </a:lnTo>
                  <a:lnTo>
                    <a:pt x="207" y="198"/>
                  </a:lnTo>
                  <a:lnTo>
                    <a:pt x="197" y="173"/>
                  </a:lnTo>
                  <a:lnTo>
                    <a:pt x="195" y="169"/>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70" name="Google Shape;2170;g7826bb8c5e_0_4294"/>
            <p:cNvSpPr/>
            <p:nvPr/>
          </p:nvSpPr>
          <p:spPr>
            <a:xfrm>
              <a:off x="6279249" y="3696487"/>
              <a:ext cx="83905" cy="139261"/>
            </a:xfrm>
            <a:custGeom>
              <a:avLst/>
              <a:gdLst/>
              <a:ahLst/>
              <a:cxnLst/>
              <a:rect l="l" t="t" r="r" b="b"/>
              <a:pathLst>
                <a:path w="160" h="229" extrusionOk="0">
                  <a:moveTo>
                    <a:pt x="31" y="146"/>
                  </a:moveTo>
                  <a:lnTo>
                    <a:pt x="31" y="161"/>
                  </a:lnTo>
                  <a:lnTo>
                    <a:pt x="5" y="121"/>
                  </a:lnTo>
                  <a:lnTo>
                    <a:pt x="0" y="91"/>
                  </a:lnTo>
                  <a:lnTo>
                    <a:pt x="17" y="95"/>
                  </a:lnTo>
                  <a:lnTo>
                    <a:pt x="13" y="57"/>
                  </a:lnTo>
                  <a:lnTo>
                    <a:pt x="9" y="16"/>
                  </a:lnTo>
                  <a:lnTo>
                    <a:pt x="15" y="0"/>
                  </a:lnTo>
                  <a:lnTo>
                    <a:pt x="60" y="10"/>
                  </a:lnTo>
                  <a:lnTo>
                    <a:pt x="66" y="18"/>
                  </a:lnTo>
                  <a:lnTo>
                    <a:pt x="75" y="49"/>
                  </a:lnTo>
                  <a:lnTo>
                    <a:pt x="81" y="70"/>
                  </a:lnTo>
                  <a:lnTo>
                    <a:pt x="73" y="95"/>
                  </a:lnTo>
                  <a:lnTo>
                    <a:pt x="60" y="111"/>
                  </a:lnTo>
                  <a:lnTo>
                    <a:pt x="62" y="136"/>
                  </a:lnTo>
                  <a:lnTo>
                    <a:pt x="81" y="179"/>
                  </a:lnTo>
                  <a:lnTo>
                    <a:pt x="93" y="177"/>
                  </a:lnTo>
                  <a:lnTo>
                    <a:pt x="93" y="173"/>
                  </a:lnTo>
                  <a:lnTo>
                    <a:pt x="110" y="167"/>
                  </a:lnTo>
                  <a:lnTo>
                    <a:pt x="126" y="187"/>
                  </a:lnTo>
                  <a:lnTo>
                    <a:pt x="129" y="179"/>
                  </a:lnTo>
                  <a:lnTo>
                    <a:pt x="145" y="188"/>
                  </a:lnTo>
                  <a:lnTo>
                    <a:pt x="137" y="194"/>
                  </a:lnTo>
                  <a:lnTo>
                    <a:pt x="151" y="212"/>
                  </a:lnTo>
                  <a:lnTo>
                    <a:pt x="160" y="214"/>
                  </a:lnTo>
                  <a:lnTo>
                    <a:pt x="153" y="229"/>
                  </a:lnTo>
                  <a:lnTo>
                    <a:pt x="153" y="219"/>
                  </a:lnTo>
                  <a:lnTo>
                    <a:pt x="129" y="208"/>
                  </a:lnTo>
                  <a:lnTo>
                    <a:pt x="112" y="188"/>
                  </a:lnTo>
                  <a:lnTo>
                    <a:pt x="100" y="183"/>
                  </a:lnTo>
                  <a:lnTo>
                    <a:pt x="106" y="210"/>
                  </a:lnTo>
                  <a:lnTo>
                    <a:pt x="73" y="181"/>
                  </a:lnTo>
                  <a:lnTo>
                    <a:pt x="52" y="190"/>
                  </a:lnTo>
                  <a:lnTo>
                    <a:pt x="38" y="183"/>
                  </a:lnTo>
                  <a:lnTo>
                    <a:pt x="38" y="167"/>
                  </a:lnTo>
                  <a:lnTo>
                    <a:pt x="42" y="150"/>
                  </a:lnTo>
                  <a:lnTo>
                    <a:pt x="31" y="146"/>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71" name="Google Shape;2171;g7826bb8c5e_0_4294"/>
            <p:cNvSpPr/>
            <p:nvPr/>
          </p:nvSpPr>
          <p:spPr>
            <a:xfrm>
              <a:off x="6341543" y="3902647"/>
              <a:ext cx="81363" cy="94206"/>
            </a:xfrm>
            <a:custGeom>
              <a:avLst/>
              <a:gdLst/>
              <a:ahLst/>
              <a:cxnLst/>
              <a:rect l="l" t="t" r="r" b="b"/>
              <a:pathLst>
                <a:path w="155" h="157" extrusionOk="0">
                  <a:moveTo>
                    <a:pt x="120" y="157"/>
                  </a:moveTo>
                  <a:lnTo>
                    <a:pt x="115" y="143"/>
                  </a:lnTo>
                  <a:lnTo>
                    <a:pt x="109" y="147"/>
                  </a:lnTo>
                  <a:lnTo>
                    <a:pt x="72" y="124"/>
                  </a:lnTo>
                  <a:lnTo>
                    <a:pt x="76" y="93"/>
                  </a:lnTo>
                  <a:lnTo>
                    <a:pt x="56" y="73"/>
                  </a:lnTo>
                  <a:lnTo>
                    <a:pt x="47" y="83"/>
                  </a:lnTo>
                  <a:lnTo>
                    <a:pt x="41" y="79"/>
                  </a:lnTo>
                  <a:lnTo>
                    <a:pt x="35" y="85"/>
                  </a:lnTo>
                  <a:lnTo>
                    <a:pt x="25" y="75"/>
                  </a:lnTo>
                  <a:lnTo>
                    <a:pt x="10" y="97"/>
                  </a:lnTo>
                  <a:lnTo>
                    <a:pt x="0" y="104"/>
                  </a:lnTo>
                  <a:lnTo>
                    <a:pt x="4" y="77"/>
                  </a:lnTo>
                  <a:lnTo>
                    <a:pt x="31" y="56"/>
                  </a:lnTo>
                  <a:lnTo>
                    <a:pt x="53" y="40"/>
                  </a:lnTo>
                  <a:lnTo>
                    <a:pt x="58" y="64"/>
                  </a:lnTo>
                  <a:lnTo>
                    <a:pt x="74" y="54"/>
                  </a:lnTo>
                  <a:lnTo>
                    <a:pt x="86" y="46"/>
                  </a:lnTo>
                  <a:lnTo>
                    <a:pt x="89" y="29"/>
                  </a:lnTo>
                  <a:lnTo>
                    <a:pt x="105" y="31"/>
                  </a:lnTo>
                  <a:lnTo>
                    <a:pt x="113" y="29"/>
                  </a:lnTo>
                  <a:lnTo>
                    <a:pt x="109" y="0"/>
                  </a:lnTo>
                  <a:lnTo>
                    <a:pt x="134" y="17"/>
                  </a:lnTo>
                  <a:lnTo>
                    <a:pt x="140" y="46"/>
                  </a:lnTo>
                  <a:lnTo>
                    <a:pt x="155" y="93"/>
                  </a:lnTo>
                  <a:lnTo>
                    <a:pt x="148" y="112"/>
                  </a:lnTo>
                  <a:lnTo>
                    <a:pt x="144" y="126"/>
                  </a:lnTo>
                  <a:lnTo>
                    <a:pt x="130" y="95"/>
                  </a:lnTo>
                  <a:lnTo>
                    <a:pt x="118" y="104"/>
                  </a:lnTo>
                  <a:lnTo>
                    <a:pt x="126" y="128"/>
                  </a:lnTo>
                  <a:lnTo>
                    <a:pt x="120" y="157"/>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72" name="Google Shape;2172;g7826bb8c5e_0_4294"/>
            <p:cNvSpPr/>
            <p:nvPr/>
          </p:nvSpPr>
          <p:spPr>
            <a:xfrm>
              <a:off x="6340272" y="3875341"/>
              <a:ext cx="16527" cy="42325"/>
            </a:xfrm>
            <a:custGeom>
              <a:avLst/>
              <a:gdLst/>
              <a:ahLst/>
              <a:cxnLst/>
              <a:rect l="l" t="t" r="r" b="b"/>
              <a:pathLst>
                <a:path w="33" h="68" extrusionOk="0">
                  <a:moveTo>
                    <a:pt x="33" y="0"/>
                  </a:moveTo>
                  <a:lnTo>
                    <a:pt x="25" y="50"/>
                  </a:lnTo>
                  <a:lnTo>
                    <a:pt x="25" y="68"/>
                  </a:lnTo>
                  <a:lnTo>
                    <a:pt x="0" y="45"/>
                  </a:lnTo>
                  <a:lnTo>
                    <a:pt x="8" y="33"/>
                  </a:lnTo>
                  <a:lnTo>
                    <a:pt x="12" y="0"/>
                  </a:lnTo>
                  <a:lnTo>
                    <a:pt x="33" y="0"/>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73" name="Google Shape;2173;g7826bb8c5e_0_4294"/>
            <p:cNvSpPr/>
            <p:nvPr/>
          </p:nvSpPr>
          <p:spPr>
            <a:xfrm>
              <a:off x="6365697" y="3835748"/>
              <a:ext cx="29240" cy="35498"/>
            </a:xfrm>
            <a:custGeom>
              <a:avLst/>
              <a:gdLst/>
              <a:ahLst/>
              <a:cxnLst/>
              <a:rect l="l" t="t" r="r" b="b"/>
              <a:pathLst>
                <a:path w="57" h="58" extrusionOk="0">
                  <a:moveTo>
                    <a:pt x="41" y="56"/>
                  </a:moveTo>
                  <a:lnTo>
                    <a:pt x="26" y="39"/>
                  </a:lnTo>
                  <a:lnTo>
                    <a:pt x="0" y="6"/>
                  </a:lnTo>
                  <a:lnTo>
                    <a:pt x="29" y="0"/>
                  </a:lnTo>
                  <a:lnTo>
                    <a:pt x="41" y="23"/>
                  </a:lnTo>
                  <a:lnTo>
                    <a:pt x="57" y="58"/>
                  </a:lnTo>
                  <a:lnTo>
                    <a:pt x="41" y="56"/>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74" name="Google Shape;2174;g7826bb8c5e_0_4294"/>
            <p:cNvSpPr/>
            <p:nvPr/>
          </p:nvSpPr>
          <p:spPr>
            <a:xfrm>
              <a:off x="6325016" y="3854863"/>
              <a:ext cx="24154" cy="30036"/>
            </a:xfrm>
            <a:custGeom>
              <a:avLst/>
              <a:gdLst/>
              <a:ahLst/>
              <a:cxnLst/>
              <a:rect l="l" t="t" r="r" b="b"/>
              <a:pathLst>
                <a:path w="42" h="51" extrusionOk="0">
                  <a:moveTo>
                    <a:pt x="38" y="12"/>
                  </a:moveTo>
                  <a:lnTo>
                    <a:pt x="4" y="0"/>
                  </a:lnTo>
                  <a:lnTo>
                    <a:pt x="0" y="2"/>
                  </a:lnTo>
                  <a:lnTo>
                    <a:pt x="9" y="51"/>
                  </a:lnTo>
                  <a:lnTo>
                    <a:pt x="40" y="20"/>
                  </a:lnTo>
                  <a:lnTo>
                    <a:pt x="42" y="18"/>
                  </a:lnTo>
                  <a:lnTo>
                    <a:pt x="38" y="12"/>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75" name="Google Shape;2175;g7826bb8c5e_0_4294"/>
            <p:cNvSpPr/>
            <p:nvPr/>
          </p:nvSpPr>
          <p:spPr>
            <a:xfrm>
              <a:off x="6250010" y="3867150"/>
              <a:ext cx="39410" cy="64170"/>
            </a:xfrm>
            <a:custGeom>
              <a:avLst/>
              <a:gdLst/>
              <a:ahLst/>
              <a:cxnLst/>
              <a:rect l="l" t="t" r="r" b="b"/>
              <a:pathLst>
                <a:path w="78" h="108" extrusionOk="0">
                  <a:moveTo>
                    <a:pt x="78" y="31"/>
                  </a:moveTo>
                  <a:lnTo>
                    <a:pt x="49" y="62"/>
                  </a:lnTo>
                  <a:lnTo>
                    <a:pt x="24" y="85"/>
                  </a:lnTo>
                  <a:lnTo>
                    <a:pt x="0" y="108"/>
                  </a:lnTo>
                  <a:lnTo>
                    <a:pt x="4" y="100"/>
                  </a:lnTo>
                  <a:lnTo>
                    <a:pt x="28" y="71"/>
                  </a:lnTo>
                  <a:lnTo>
                    <a:pt x="51" y="42"/>
                  </a:lnTo>
                  <a:lnTo>
                    <a:pt x="62" y="19"/>
                  </a:lnTo>
                  <a:lnTo>
                    <a:pt x="64" y="19"/>
                  </a:lnTo>
                  <a:lnTo>
                    <a:pt x="64" y="0"/>
                  </a:lnTo>
                  <a:lnTo>
                    <a:pt x="78" y="31"/>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76" name="Google Shape;2176;g7826bb8c5e_0_4294"/>
            <p:cNvSpPr/>
            <p:nvPr/>
          </p:nvSpPr>
          <p:spPr>
            <a:xfrm>
              <a:off x="6294505" y="3816633"/>
              <a:ext cx="22883" cy="27306"/>
            </a:xfrm>
            <a:custGeom>
              <a:avLst/>
              <a:gdLst/>
              <a:ahLst/>
              <a:cxnLst/>
              <a:rect l="l" t="t" r="r" b="b"/>
              <a:pathLst>
                <a:path w="44" h="45" extrusionOk="0">
                  <a:moveTo>
                    <a:pt x="44" y="31"/>
                  </a:moveTo>
                  <a:lnTo>
                    <a:pt x="37" y="45"/>
                  </a:lnTo>
                  <a:lnTo>
                    <a:pt x="19" y="23"/>
                  </a:lnTo>
                  <a:lnTo>
                    <a:pt x="0" y="0"/>
                  </a:lnTo>
                  <a:lnTo>
                    <a:pt x="35" y="6"/>
                  </a:lnTo>
                  <a:lnTo>
                    <a:pt x="44" y="31"/>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77" name="Google Shape;2177;g7826bb8c5e_0_4294"/>
            <p:cNvSpPr/>
            <p:nvPr/>
          </p:nvSpPr>
          <p:spPr>
            <a:xfrm>
              <a:off x="6370783" y="3861688"/>
              <a:ext cx="17798" cy="32768"/>
            </a:xfrm>
            <a:custGeom>
              <a:avLst/>
              <a:gdLst/>
              <a:ahLst/>
              <a:cxnLst/>
              <a:rect l="l" t="t" r="r" b="b"/>
              <a:pathLst>
                <a:path w="35" h="52" extrusionOk="0">
                  <a:moveTo>
                    <a:pt x="21" y="8"/>
                  </a:moveTo>
                  <a:lnTo>
                    <a:pt x="35" y="44"/>
                  </a:lnTo>
                  <a:lnTo>
                    <a:pt x="25" y="46"/>
                  </a:lnTo>
                  <a:lnTo>
                    <a:pt x="23" y="52"/>
                  </a:lnTo>
                  <a:lnTo>
                    <a:pt x="8" y="21"/>
                  </a:lnTo>
                  <a:lnTo>
                    <a:pt x="0" y="0"/>
                  </a:lnTo>
                  <a:lnTo>
                    <a:pt x="21" y="8"/>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78" name="Google Shape;2178;g7826bb8c5e_0_4294"/>
            <p:cNvSpPr/>
            <p:nvPr/>
          </p:nvSpPr>
          <p:spPr>
            <a:xfrm>
              <a:off x="6349170" y="3839844"/>
              <a:ext cx="15256" cy="16383"/>
            </a:xfrm>
            <a:custGeom>
              <a:avLst/>
              <a:gdLst/>
              <a:ahLst/>
              <a:cxnLst/>
              <a:rect l="l" t="t" r="r" b="b"/>
              <a:pathLst>
                <a:path w="31" h="27" extrusionOk="0">
                  <a:moveTo>
                    <a:pt x="31" y="27"/>
                  </a:moveTo>
                  <a:lnTo>
                    <a:pt x="6" y="12"/>
                  </a:lnTo>
                  <a:lnTo>
                    <a:pt x="0" y="15"/>
                  </a:lnTo>
                  <a:lnTo>
                    <a:pt x="2" y="0"/>
                  </a:lnTo>
                  <a:lnTo>
                    <a:pt x="29" y="21"/>
                  </a:lnTo>
                  <a:lnTo>
                    <a:pt x="31" y="27"/>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79" name="Google Shape;2179;g7826bb8c5e_0_4294"/>
            <p:cNvSpPr/>
            <p:nvPr/>
          </p:nvSpPr>
          <p:spPr>
            <a:xfrm>
              <a:off x="6352985" y="3867150"/>
              <a:ext cx="12713" cy="42325"/>
            </a:xfrm>
            <a:custGeom>
              <a:avLst/>
              <a:gdLst/>
              <a:ahLst/>
              <a:cxnLst/>
              <a:rect l="l" t="t" r="r" b="b"/>
              <a:pathLst>
                <a:path w="19" h="69" extrusionOk="0">
                  <a:moveTo>
                    <a:pt x="19" y="0"/>
                  </a:moveTo>
                  <a:lnTo>
                    <a:pt x="19" y="19"/>
                  </a:lnTo>
                  <a:lnTo>
                    <a:pt x="10" y="44"/>
                  </a:lnTo>
                  <a:lnTo>
                    <a:pt x="0" y="69"/>
                  </a:lnTo>
                  <a:lnTo>
                    <a:pt x="10" y="34"/>
                  </a:lnTo>
                  <a:lnTo>
                    <a:pt x="19" y="0"/>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80" name="Google Shape;2180;g7826bb8c5e_0_4294"/>
            <p:cNvSpPr/>
            <p:nvPr/>
          </p:nvSpPr>
          <p:spPr>
            <a:xfrm>
              <a:off x="5882608" y="3656892"/>
              <a:ext cx="152555" cy="337230"/>
            </a:xfrm>
            <a:custGeom>
              <a:avLst/>
              <a:gdLst/>
              <a:ahLst/>
              <a:cxnLst/>
              <a:rect l="l" t="t" r="r" b="b"/>
              <a:pathLst>
                <a:path w="292" h="553" extrusionOk="0">
                  <a:moveTo>
                    <a:pt x="104" y="423"/>
                  </a:moveTo>
                  <a:lnTo>
                    <a:pt x="95" y="394"/>
                  </a:lnTo>
                  <a:lnTo>
                    <a:pt x="102" y="361"/>
                  </a:lnTo>
                  <a:lnTo>
                    <a:pt x="110" y="328"/>
                  </a:lnTo>
                  <a:lnTo>
                    <a:pt x="112" y="297"/>
                  </a:lnTo>
                  <a:lnTo>
                    <a:pt x="112" y="266"/>
                  </a:lnTo>
                  <a:lnTo>
                    <a:pt x="141" y="262"/>
                  </a:lnTo>
                  <a:lnTo>
                    <a:pt x="143" y="287"/>
                  </a:lnTo>
                  <a:lnTo>
                    <a:pt x="170" y="293"/>
                  </a:lnTo>
                  <a:lnTo>
                    <a:pt x="203" y="314"/>
                  </a:lnTo>
                  <a:lnTo>
                    <a:pt x="215" y="332"/>
                  </a:lnTo>
                  <a:lnTo>
                    <a:pt x="203" y="299"/>
                  </a:lnTo>
                  <a:lnTo>
                    <a:pt x="190" y="268"/>
                  </a:lnTo>
                  <a:lnTo>
                    <a:pt x="211" y="229"/>
                  </a:lnTo>
                  <a:lnTo>
                    <a:pt x="246" y="229"/>
                  </a:lnTo>
                  <a:lnTo>
                    <a:pt x="283" y="227"/>
                  </a:lnTo>
                  <a:lnTo>
                    <a:pt x="292" y="208"/>
                  </a:lnTo>
                  <a:lnTo>
                    <a:pt x="283" y="175"/>
                  </a:lnTo>
                  <a:lnTo>
                    <a:pt x="254" y="134"/>
                  </a:lnTo>
                  <a:lnTo>
                    <a:pt x="248" y="107"/>
                  </a:lnTo>
                  <a:lnTo>
                    <a:pt x="207" y="74"/>
                  </a:lnTo>
                  <a:lnTo>
                    <a:pt x="192" y="84"/>
                  </a:lnTo>
                  <a:lnTo>
                    <a:pt x="176" y="92"/>
                  </a:lnTo>
                  <a:lnTo>
                    <a:pt x="157" y="84"/>
                  </a:lnTo>
                  <a:lnTo>
                    <a:pt x="128" y="107"/>
                  </a:lnTo>
                  <a:lnTo>
                    <a:pt x="124" y="66"/>
                  </a:lnTo>
                  <a:lnTo>
                    <a:pt x="122" y="28"/>
                  </a:lnTo>
                  <a:lnTo>
                    <a:pt x="97" y="28"/>
                  </a:lnTo>
                  <a:lnTo>
                    <a:pt x="93" y="4"/>
                  </a:lnTo>
                  <a:lnTo>
                    <a:pt x="81" y="0"/>
                  </a:lnTo>
                  <a:lnTo>
                    <a:pt x="62" y="4"/>
                  </a:lnTo>
                  <a:lnTo>
                    <a:pt x="48" y="20"/>
                  </a:lnTo>
                  <a:lnTo>
                    <a:pt x="15" y="28"/>
                  </a:lnTo>
                  <a:lnTo>
                    <a:pt x="9" y="68"/>
                  </a:lnTo>
                  <a:lnTo>
                    <a:pt x="0" y="68"/>
                  </a:lnTo>
                  <a:lnTo>
                    <a:pt x="27" y="109"/>
                  </a:lnTo>
                  <a:lnTo>
                    <a:pt x="54" y="150"/>
                  </a:lnTo>
                  <a:lnTo>
                    <a:pt x="64" y="154"/>
                  </a:lnTo>
                  <a:lnTo>
                    <a:pt x="54" y="175"/>
                  </a:lnTo>
                  <a:lnTo>
                    <a:pt x="50" y="192"/>
                  </a:lnTo>
                  <a:lnTo>
                    <a:pt x="50" y="214"/>
                  </a:lnTo>
                  <a:lnTo>
                    <a:pt x="68" y="237"/>
                  </a:lnTo>
                  <a:lnTo>
                    <a:pt x="85" y="262"/>
                  </a:lnTo>
                  <a:lnTo>
                    <a:pt x="95" y="295"/>
                  </a:lnTo>
                  <a:lnTo>
                    <a:pt x="104" y="332"/>
                  </a:lnTo>
                  <a:lnTo>
                    <a:pt x="93" y="355"/>
                  </a:lnTo>
                  <a:lnTo>
                    <a:pt x="81" y="380"/>
                  </a:lnTo>
                  <a:lnTo>
                    <a:pt x="79" y="386"/>
                  </a:lnTo>
                  <a:lnTo>
                    <a:pt x="75" y="425"/>
                  </a:lnTo>
                  <a:lnTo>
                    <a:pt x="70" y="462"/>
                  </a:lnTo>
                  <a:lnTo>
                    <a:pt x="75" y="456"/>
                  </a:lnTo>
                  <a:lnTo>
                    <a:pt x="95" y="477"/>
                  </a:lnTo>
                  <a:lnTo>
                    <a:pt x="112" y="497"/>
                  </a:lnTo>
                  <a:lnTo>
                    <a:pt x="120" y="506"/>
                  </a:lnTo>
                  <a:lnTo>
                    <a:pt x="135" y="530"/>
                  </a:lnTo>
                  <a:lnTo>
                    <a:pt x="137" y="524"/>
                  </a:lnTo>
                  <a:lnTo>
                    <a:pt x="164" y="537"/>
                  </a:lnTo>
                  <a:lnTo>
                    <a:pt x="166" y="553"/>
                  </a:lnTo>
                  <a:lnTo>
                    <a:pt x="190" y="553"/>
                  </a:lnTo>
                  <a:lnTo>
                    <a:pt x="203" y="537"/>
                  </a:lnTo>
                  <a:lnTo>
                    <a:pt x="184" y="514"/>
                  </a:lnTo>
                  <a:lnTo>
                    <a:pt x="159" y="510"/>
                  </a:lnTo>
                  <a:lnTo>
                    <a:pt x="141" y="489"/>
                  </a:lnTo>
                  <a:lnTo>
                    <a:pt x="133" y="462"/>
                  </a:lnTo>
                  <a:lnTo>
                    <a:pt x="122" y="425"/>
                  </a:lnTo>
                  <a:lnTo>
                    <a:pt x="104" y="423"/>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81" name="Google Shape;2181;g7826bb8c5e_0_4294"/>
            <p:cNvSpPr/>
            <p:nvPr/>
          </p:nvSpPr>
          <p:spPr>
            <a:xfrm>
              <a:off x="5953800" y="3589993"/>
              <a:ext cx="152555" cy="335864"/>
            </a:xfrm>
            <a:custGeom>
              <a:avLst/>
              <a:gdLst/>
              <a:ahLst/>
              <a:cxnLst/>
              <a:rect l="l" t="t" r="r" b="b"/>
              <a:pathLst>
                <a:path w="293" h="552" extrusionOk="0">
                  <a:moveTo>
                    <a:pt x="101" y="114"/>
                  </a:moveTo>
                  <a:lnTo>
                    <a:pt x="92" y="103"/>
                  </a:lnTo>
                  <a:lnTo>
                    <a:pt x="72" y="87"/>
                  </a:lnTo>
                  <a:lnTo>
                    <a:pt x="57" y="95"/>
                  </a:lnTo>
                  <a:lnTo>
                    <a:pt x="31" y="74"/>
                  </a:lnTo>
                  <a:lnTo>
                    <a:pt x="28" y="56"/>
                  </a:lnTo>
                  <a:lnTo>
                    <a:pt x="0" y="31"/>
                  </a:lnTo>
                  <a:lnTo>
                    <a:pt x="8" y="23"/>
                  </a:lnTo>
                  <a:lnTo>
                    <a:pt x="26" y="29"/>
                  </a:lnTo>
                  <a:lnTo>
                    <a:pt x="33" y="23"/>
                  </a:lnTo>
                  <a:lnTo>
                    <a:pt x="47" y="21"/>
                  </a:lnTo>
                  <a:lnTo>
                    <a:pt x="55" y="23"/>
                  </a:lnTo>
                  <a:lnTo>
                    <a:pt x="61" y="21"/>
                  </a:lnTo>
                  <a:lnTo>
                    <a:pt x="72" y="21"/>
                  </a:lnTo>
                  <a:lnTo>
                    <a:pt x="92" y="0"/>
                  </a:lnTo>
                  <a:lnTo>
                    <a:pt x="105" y="2"/>
                  </a:lnTo>
                  <a:lnTo>
                    <a:pt x="146" y="13"/>
                  </a:lnTo>
                  <a:lnTo>
                    <a:pt x="150" y="39"/>
                  </a:lnTo>
                  <a:lnTo>
                    <a:pt x="165" y="50"/>
                  </a:lnTo>
                  <a:lnTo>
                    <a:pt x="198" y="64"/>
                  </a:lnTo>
                  <a:lnTo>
                    <a:pt x="179" y="77"/>
                  </a:lnTo>
                  <a:lnTo>
                    <a:pt x="161" y="87"/>
                  </a:lnTo>
                  <a:lnTo>
                    <a:pt x="161" y="91"/>
                  </a:lnTo>
                  <a:lnTo>
                    <a:pt x="150" y="122"/>
                  </a:lnTo>
                  <a:lnTo>
                    <a:pt x="136" y="157"/>
                  </a:lnTo>
                  <a:lnTo>
                    <a:pt x="161" y="190"/>
                  </a:lnTo>
                  <a:lnTo>
                    <a:pt x="169" y="209"/>
                  </a:lnTo>
                  <a:lnTo>
                    <a:pt x="190" y="231"/>
                  </a:lnTo>
                  <a:lnTo>
                    <a:pt x="212" y="252"/>
                  </a:lnTo>
                  <a:lnTo>
                    <a:pt x="239" y="273"/>
                  </a:lnTo>
                  <a:lnTo>
                    <a:pt x="262" y="298"/>
                  </a:lnTo>
                  <a:lnTo>
                    <a:pt x="278" y="349"/>
                  </a:lnTo>
                  <a:lnTo>
                    <a:pt x="293" y="401"/>
                  </a:lnTo>
                  <a:lnTo>
                    <a:pt x="289" y="415"/>
                  </a:lnTo>
                  <a:lnTo>
                    <a:pt x="289" y="428"/>
                  </a:lnTo>
                  <a:lnTo>
                    <a:pt x="285" y="444"/>
                  </a:lnTo>
                  <a:lnTo>
                    <a:pt x="262" y="463"/>
                  </a:lnTo>
                  <a:lnTo>
                    <a:pt x="239" y="485"/>
                  </a:lnTo>
                  <a:lnTo>
                    <a:pt x="216" y="479"/>
                  </a:lnTo>
                  <a:lnTo>
                    <a:pt x="216" y="488"/>
                  </a:lnTo>
                  <a:lnTo>
                    <a:pt x="216" y="500"/>
                  </a:lnTo>
                  <a:lnTo>
                    <a:pt x="210" y="504"/>
                  </a:lnTo>
                  <a:lnTo>
                    <a:pt x="210" y="519"/>
                  </a:lnTo>
                  <a:lnTo>
                    <a:pt x="196" y="521"/>
                  </a:lnTo>
                  <a:lnTo>
                    <a:pt x="171" y="549"/>
                  </a:lnTo>
                  <a:lnTo>
                    <a:pt x="155" y="552"/>
                  </a:lnTo>
                  <a:lnTo>
                    <a:pt x="157" y="506"/>
                  </a:lnTo>
                  <a:lnTo>
                    <a:pt x="136" y="488"/>
                  </a:lnTo>
                  <a:lnTo>
                    <a:pt x="155" y="475"/>
                  </a:lnTo>
                  <a:lnTo>
                    <a:pt x="165" y="469"/>
                  </a:lnTo>
                  <a:lnTo>
                    <a:pt x="190" y="473"/>
                  </a:lnTo>
                  <a:lnTo>
                    <a:pt x="181" y="444"/>
                  </a:lnTo>
                  <a:lnTo>
                    <a:pt x="198" y="434"/>
                  </a:lnTo>
                  <a:lnTo>
                    <a:pt x="229" y="419"/>
                  </a:lnTo>
                  <a:lnTo>
                    <a:pt x="227" y="388"/>
                  </a:lnTo>
                  <a:lnTo>
                    <a:pt x="223" y="359"/>
                  </a:lnTo>
                  <a:lnTo>
                    <a:pt x="223" y="324"/>
                  </a:lnTo>
                  <a:lnTo>
                    <a:pt x="218" y="295"/>
                  </a:lnTo>
                  <a:lnTo>
                    <a:pt x="208" y="281"/>
                  </a:lnTo>
                  <a:lnTo>
                    <a:pt x="210" y="273"/>
                  </a:lnTo>
                  <a:lnTo>
                    <a:pt x="181" y="250"/>
                  </a:lnTo>
                  <a:lnTo>
                    <a:pt x="165" y="227"/>
                  </a:lnTo>
                  <a:lnTo>
                    <a:pt x="144" y="202"/>
                  </a:lnTo>
                  <a:lnTo>
                    <a:pt x="124" y="176"/>
                  </a:lnTo>
                  <a:lnTo>
                    <a:pt x="80" y="145"/>
                  </a:lnTo>
                  <a:lnTo>
                    <a:pt x="86" y="134"/>
                  </a:lnTo>
                  <a:lnTo>
                    <a:pt x="105" y="128"/>
                  </a:lnTo>
                  <a:lnTo>
                    <a:pt x="101" y="114"/>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82" name="Google Shape;2182;g7826bb8c5e_0_4294"/>
            <p:cNvSpPr/>
            <p:nvPr/>
          </p:nvSpPr>
          <p:spPr>
            <a:xfrm>
              <a:off x="5067712" y="3523093"/>
              <a:ext cx="12713" cy="35498"/>
            </a:xfrm>
            <a:custGeom>
              <a:avLst/>
              <a:gdLst/>
              <a:ahLst/>
              <a:cxnLst/>
              <a:rect l="l" t="t" r="r" b="b"/>
              <a:pathLst>
                <a:path w="23" h="58" extrusionOk="0">
                  <a:moveTo>
                    <a:pt x="14" y="57"/>
                  </a:moveTo>
                  <a:lnTo>
                    <a:pt x="10" y="58"/>
                  </a:lnTo>
                  <a:lnTo>
                    <a:pt x="0" y="51"/>
                  </a:lnTo>
                  <a:lnTo>
                    <a:pt x="0" y="18"/>
                  </a:lnTo>
                  <a:lnTo>
                    <a:pt x="12" y="0"/>
                  </a:lnTo>
                  <a:lnTo>
                    <a:pt x="23" y="31"/>
                  </a:lnTo>
                  <a:lnTo>
                    <a:pt x="14" y="57"/>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83" name="Google Shape;2183;g7826bb8c5e_0_4294"/>
            <p:cNvSpPr/>
            <p:nvPr/>
          </p:nvSpPr>
          <p:spPr>
            <a:xfrm>
              <a:off x="4916430" y="3209072"/>
              <a:ext cx="358503" cy="335864"/>
            </a:xfrm>
            <a:custGeom>
              <a:avLst/>
              <a:gdLst/>
              <a:ahLst/>
              <a:cxnLst/>
              <a:rect l="l" t="t" r="r" b="b"/>
              <a:pathLst>
                <a:path w="683" h="550" extrusionOk="0">
                  <a:moveTo>
                    <a:pt x="95" y="250"/>
                  </a:moveTo>
                  <a:lnTo>
                    <a:pt x="78" y="225"/>
                  </a:lnTo>
                  <a:lnTo>
                    <a:pt x="74" y="203"/>
                  </a:lnTo>
                  <a:lnTo>
                    <a:pt x="86" y="168"/>
                  </a:lnTo>
                  <a:lnTo>
                    <a:pt x="86" y="151"/>
                  </a:lnTo>
                  <a:lnTo>
                    <a:pt x="62" y="139"/>
                  </a:lnTo>
                  <a:lnTo>
                    <a:pt x="31" y="97"/>
                  </a:lnTo>
                  <a:lnTo>
                    <a:pt x="12" y="69"/>
                  </a:lnTo>
                  <a:lnTo>
                    <a:pt x="4" y="31"/>
                  </a:lnTo>
                  <a:lnTo>
                    <a:pt x="0" y="11"/>
                  </a:lnTo>
                  <a:lnTo>
                    <a:pt x="14" y="0"/>
                  </a:lnTo>
                  <a:lnTo>
                    <a:pt x="18" y="3"/>
                  </a:lnTo>
                  <a:lnTo>
                    <a:pt x="22" y="9"/>
                  </a:lnTo>
                  <a:lnTo>
                    <a:pt x="60" y="31"/>
                  </a:lnTo>
                  <a:lnTo>
                    <a:pt x="84" y="19"/>
                  </a:lnTo>
                  <a:lnTo>
                    <a:pt x="117" y="0"/>
                  </a:lnTo>
                  <a:lnTo>
                    <a:pt x="126" y="21"/>
                  </a:lnTo>
                  <a:lnTo>
                    <a:pt x="122" y="29"/>
                  </a:lnTo>
                  <a:lnTo>
                    <a:pt x="152" y="46"/>
                  </a:lnTo>
                  <a:lnTo>
                    <a:pt x="169" y="81"/>
                  </a:lnTo>
                  <a:lnTo>
                    <a:pt x="206" y="97"/>
                  </a:lnTo>
                  <a:lnTo>
                    <a:pt x="235" y="106"/>
                  </a:lnTo>
                  <a:lnTo>
                    <a:pt x="266" y="118"/>
                  </a:lnTo>
                  <a:lnTo>
                    <a:pt x="293" y="112"/>
                  </a:lnTo>
                  <a:lnTo>
                    <a:pt x="316" y="108"/>
                  </a:lnTo>
                  <a:lnTo>
                    <a:pt x="322" y="102"/>
                  </a:lnTo>
                  <a:lnTo>
                    <a:pt x="316" y="89"/>
                  </a:lnTo>
                  <a:lnTo>
                    <a:pt x="326" y="89"/>
                  </a:lnTo>
                  <a:lnTo>
                    <a:pt x="349" y="66"/>
                  </a:lnTo>
                  <a:lnTo>
                    <a:pt x="386" y="62"/>
                  </a:lnTo>
                  <a:lnTo>
                    <a:pt x="415" y="58"/>
                  </a:lnTo>
                  <a:lnTo>
                    <a:pt x="468" y="77"/>
                  </a:lnTo>
                  <a:lnTo>
                    <a:pt x="495" y="95"/>
                  </a:lnTo>
                  <a:lnTo>
                    <a:pt x="522" y="112"/>
                  </a:lnTo>
                  <a:lnTo>
                    <a:pt x="549" y="116"/>
                  </a:lnTo>
                  <a:lnTo>
                    <a:pt x="563" y="155"/>
                  </a:lnTo>
                  <a:lnTo>
                    <a:pt x="557" y="197"/>
                  </a:lnTo>
                  <a:lnTo>
                    <a:pt x="553" y="203"/>
                  </a:lnTo>
                  <a:lnTo>
                    <a:pt x="553" y="223"/>
                  </a:lnTo>
                  <a:lnTo>
                    <a:pt x="566" y="232"/>
                  </a:lnTo>
                  <a:lnTo>
                    <a:pt x="563" y="240"/>
                  </a:lnTo>
                  <a:lnTo>
                    <a:pt x="570" y="273"/>
                  </a:lnTo>
                  <a:lnTo>
                    <a:pt x="576" y="304"/>
                  </a:lnTo>
                  <a:lnTo>
                    <a:pt x="607" y="316"/>
                  </a:lnTo>
                  <a:lnTo>
                    <a:pt x="615" y="329"/>
                  </a:lnTo>
                  <a:lnTo>
                    <a:pt x="592" y="374"/>
                  </a:lnTo>
                  <a:lnTo>
                    <a:pt x="615" y="399"/>
                  </a:lnTo>
                  <a:lnTo>
                    <a:pt x="636" y="424"/>
                  </a:lnTo>
                  <a:lnTo>
                    <a:pt x="663" y="436"/>
                  </a:lnTo>
                  <a:lnTo>
                    <a:pt x="673" y="475"/>
                  </a:lnTo>
                  <a:lnTo>
                    <a:pt x="683" y="479"/>
                  </a:lnTo>
                  <a:lnTo>
                    <a:pt x="683" y="496"/>
                  </a:lnTo>
                  <a:lnTo>
                    <a:pt x="654" y="508"/>
                  </a:lnTo>
                  <a:lnTo>
                    <a:pt x="642" y="521"/>
                  </a:lnTo>
                  <a:lnTo>
                    <a:pt x="640" y="550"/>
                  </a:lnTo>
                  <a:lnTo>
                    <a:pt x="605" y="544"/>
                  </a:lnTo>
                  <a:lnTo>
                    <a:pt x="568" y="541"/>
                  </a:lnTo>
                  <a:lnTo>
                    <a:pt x="533" y="535"/>
                  </a:lnTo>
                  <a:lnTo>
                    <a:pt x="497" y="529"/>
                  </a:lnTo>
                  <a:lnTo>
                    <a:pt x="483" y="502"/>
                  </a:lnTo>
                  <a:lnTo>
                    <a:pt x="469" y="477"/>
                  </a:lnTo>
                  <a:lnTo>
                    <a:pt x="442" y="488"/>
                  </a:lnTo>
                  <a:lnTo>
                    <a:pt x="415" y="498"/>
                  </a:lnTo>
                  <a:lnTo>
                    <a:pt x="367" y="486"/>
                  </a:lnTo>
                  <a:lnTo>
                    <a:pt x="336" y="469"/>
                  </a:lnTo>
                  <a:lnTo>
                    <a:pt x="307" y="449"/>
                  </a:lnTo>
                  <a:lnTo>
                    <a:pt x="281" y="426"/>
                  </a:lnTo>
                  <a:lnTo>
                    <a:pt x="266" y="401"/>
                  </a:lnTo>
                  <a:lnTo>
                    <a:pt x="237" y="360"/>
                  </a:lnTo>
                  <a:lnTo>
                    <a:pt x="221" y="362"/>
                  </a:lnTo>
                  <a:lnTo>
                    <a:pt x="208" y="352"/>
                  </a:lnTo>
                  <a:lnTo>
                    <a:pt x="206" y="349"/>
                  </a:lnTo>
                  <a:lnTo>
                    <a:pt x="198" y="366"/>
                  </a:lnTo>
                  <a:lnTo>
                    <a:pt x="192" y="370"/>
                  </a:lnTo>
                  <a:lnTo>
                    <a:pt x="183" y="356"/>
                  </a:lnTo>
                  <a:lnTo>
                    <a:pt x="171" y="329"/>
                  </a:lnTo>
                  <a:lnTo>
                    <a:pt x="159" y="329"/>
                  </a:lnTo>
                  <a:lnTo>
                    <a:pt x="161" y="300"/>
                  </a:lnTo>
                  <a:lnTo>
                    <a:pt x="148" y="283"/>
                  </a:lnTo>
                  <a:lnTo>
                    <a:pt x="121" y="267"/>
                  </a:lnTo>
                  <a:lnTo>
                    <a:pt x="95" y="25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84" name="Google Shape;2184;g7826bb8c5e_0_4294"/>
            <p:cNvSpPr/>
            <p:nvPr/>
          </p:nvSpPr>
          <p:spPr>
            <a:xfrm>
              <a:off x="4845238" y="3265051"/>
              <a:ext cx="172895" cy="189777"/>
            </a:xfrm>
            <a:custGeom>
              <a:avLst/>
              <a:gdLst/>
              <a:ahLst/>
              <a:cxnLst/>
              <a:rect l="l" t="t" r="r" b="b"/>
              <a:pathLst>
                <a:path w="329" h="312" extrusionOk="0">
                  <a:moveTo>
                    <a:pt x="215" y="134"/>
                  </a:moveTo>
                  <a:lnTo>
                    <a:pt x="211" y="112"/>
                  </a:lnTo>
                  <a:lnTo>
                    <a:pt x="223" y="77"/>
                  </a:lnTo>
                  <a:lnTo>
                    <a:pt x="223" y="60"/>
                  </a:lnTo>
                  <a:lnTo>
                    <a:pt x="199" y="48"/>
                  </a:lnTo>
                  <a:lnTo>
                    <a:pt x="168" y="6"/>
                  </a:lnTo>
                  <a:lnTo>
                    <a:pt x="151" y="7"/>
                  </a:lnTo>
                  <a:lnTo>
                    <a:pt x="141" y="0"/>
                  </a:lnTo>
                  <a:lnTo>
                    <a:pt x="101" y="2"/>
                  </a:lnTo>
                  <a:lnTo>
                    <a:pt x="93" y="7"/>
                  </a:lnTo>
                  <a:lnTo>
                    <a:pt x="64" y="37"/>
                  </a:lnTo>
                  <a:lnTo>
                    <a:pt x="64" y="71"/>
                  </a:lnTo>
                  <a:lnTo>
                    <a:pt x="66" y="108"/>
                  </a:lnTo>
                  <a:lnTo>
                    <a:pt x="33" y="130"/>
                  </a:lnTo>
                  <a:lnTo>
                    <a:pt x="0" y="149"/>
                  </a:lnTo>
                  <a:lnTo>
                    <a:pt x="21" y="192"/>
                  </a:lnTo>
                  <a:lnTo>
                    <a:pt x="52" y="207"/>
                  </a:lnTo>
                  <a:lnTo>
                    <a:pt x="83" y="221"/>
                  </a:lnTo>
                  <a:lnTo>
                    <a:pt x="114" y="234"/>
                  </a:lnTo>
                  <a:lnTo>
                    <a:pt x="147" y="250"/>
                  </a:lnTo>
                  <a:lnTo>
                    <a:pt x="176" y="277"/>
                  </a:lnTo>
                  <a:lnTo>
                    <a:pt x="209" y="308"/>
                  </a:lnTo>
                  <a:lnTo>
                    <a:pt x="269" y="312"/>
                  </a:lnTo>
                  <a:lnTo>
                    <a:pt x="283" y="279"/>
                  </a:lnTo>
                  <a:lnTo>
                    <a:pt x="310" y="277"/>
                  </a:lnTo>
                  <a:lnTo>
                    <a:pt x="329" y="279"/>
                  </a:lnTo>
                  <a:lnTo>
                    <a:pt x="320" y="265"/>
                  </a:lnTo>
                  <a:lnTo>
                    <a:pt x="308" y="238"/>
                  </a:lnTo>
                  <a:lnTo>
                    <a:pt x="296" y="238"/>
                  </a:lnTo>
                  <a:lnTo>
                    <a:pt x="298" y="209"/>
                  </a:lnTo>
                  <a:lnTo>
                    <a:pt x="285" y="192"/>
                  </a:lnTo>
                  <a:lnTo>
                    <a:pt x="258" y="176"/>
                  </a:lnTo>
                  <a:lnTo>
                    <a:pt x="232" y="159"/>
                  </a:lnTo>
                  <a:lnTo>
                    <a:pt x="215" y="13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85" name="Google Shape;2185;g7826bb8c5e_0_4294"/>
            <p:cNvSpPr/>
            <p:nvPr/>
          </p:nvSpPr>
          <p:spPr>
            <a:xfrm>
              <a:off x="4986349" y="3431617"/>
              <a:ext cx="33054" cy="36863"/>
            </a:xfrm>
            <a:custGeom>
              <a:avLst/>
              <a:gdLst/>
              <a:ahLst/>
              <a:cxnLst/>
              <a:rect l="l" t="t" r="r" b="b"/>
              <a:pathLst>
                <a:path w="62" h="56" extrusionOk="0">
                  <a:moveTo>
                    <a:pt x="51" y="16"/>
                  </a:moveTo>
                  <a:lnTo>
                    <a:pt x="41" y="17"/>
                  </a:lnTo>
                  <a:lnTo>
                    <a:pt x="43" y="25"/>
                  </a:lnTo>
                  <a:lnTo>
                    <a:pt x="62" y="56"/>
                  </a:lnTo>
                  <a:lnTo>
                    <a:pt x="35" y="50"/>
                  </a:lnTo>
                  <a:lnTo>
                    <a:pt x="29" y="39"/>
                  </a:lnTo>
                  <a:lnTo>
                    <a:pt x="0" y="35"/>
                  </a:lnTo>
                  <a:lnTo>
                    <a:pt x="14" y="2"/>
                  </a:lnTo>
                  <a:lnTo>
                    <a:pt x="41" y="0"/>
                  </a:lnTo>
                  <a:lnTo>
                    <a:pt x="51" y="16"/>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86" name="Google Shape;2186;g7826bb8c5e_0_4294"/>
            <p:cNvSpPr/>
            <p:nvPr/>
          </p:nvSpPr>
          <p:spPr>
            <a:xfrm>
              <a:off x="5554616" y="3422060"/>
              <a:ext cx="143655" cy="91476"/>
            </a:xfrm>
            <a:custGeom>
              <a:avLst/>
              <a:gdLst/>
              <a:ahLst/>
              <a:cxnLst/>
              <a:rect l="l" t="t" r="r" b="b"/>
              <a:pathLst>
                <a:path w="277" h="151" extrusionOk="0">
                  <a:moveTo>
                    <a:pt x="157" y="120"/>
                  </a:moveTo>
                  <a:lnTo>
                    <a:pt x="116" y="114"/>
                  </a:lnTo>
                  <a:lnTo>
                    <a:pt x="83" y="106"/>
                  </a:lnTo>
                  <a:lnTo>
                    <a:pt x="42" y="85"/>
                  </a:lnTo>
                  <a:lnTo>
                    <a:pt x="2" y="64"/>
                  </a:lnTo>
                  <a:lnTo>
                    <a:pt x="0" y="40"/>
                  </a:lnTo>
                  <a:lnTo>
                    <a:pt x="19" y="9"/>
                  </a:lnTo>
                  <a:lnTo>
                    <a:pt x="21" y="13"/>
                  </a:lnTo>
                  <a:lnTo>
                    <a:pt x="35" y="0"/>
                  </a:lnTo>
                  <a:lnTo>
                    <a:pt x="62" y="15"/>
                  </a:lnTo>
                  <a:lnTo>
                    <a:pt x="104" y="48"/>
                  </a:lnTo>
                  <a:lnTo>
                    <a:pt x="118" y="44"/>
                  </a:lnTo>
                  <a:lnTo>
                    <a:pt x="130" y="56"/>
                  </a:lnTo>
                  <a:lnTo>
                    <a:pt x="159" y="69"/>
                  </a:lnTo>
                  <a:lnTo>
                    <a:pt x="164" y="77"/>
                  </a:lnTo>
                  <a:lnTo>
                    <a:pt x="197" y="91"/>
                  </a:lnTo>
                  <a:lnTo>
                    <a:pt x="226" y="95"/>
                  </a:lnTo>
                  <a:lnTo>
                    <a:pt x="267" y="98"/>
                  </a:lnTo>
                  <a:lnTo>
                    <a:pt x="277" y="151"/>
                  </a:lnTo>
                  <a:lnTo>
                    <a:pt x="240" y="149"/>
                  </a:lnTo>
                  <a:lnTo>
                    <a:pt x="197" y="145"/>
                  </a:lnTo>
                  <a:lnTo>
                    <a:pt x="174" y="137"/>
                  </a:lnTo>
                  <a:lnTo>
                    <a:pt x="157" y="12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87" name="Google Shape;2187;g7826bb8c5e_0_4294"/>
            <p:cNvSpPr/>
            <p:nvPr/>
          </p:nvSpPr>
          <p:spPr>
            <a:xfrm>
              <a:off x="5227894" y="3270512"/>
              <a:ext cx="255530" cy="307193"/>
            </a:xfrm>
            <a:custGeom>
              <a:avLst/>
              <a:gdLst/>
              <a:ahLst/>
              <a:cxnLst/>
              <a:rect l="l" t="t" r="r" b="b"/>
              <a:pathLst>
                <a:path w="494" h="505" extrusionOk="0">
                  <a:moveTo>
                    <a:pt x="203" y="441"/>
                  </a:moveTo>
                  <a:lnTo>
                    <a:pt x="215" y="460"/>
                  </a:lnTo>
                  <a:lnTo>
                    <a:pt x="226" y="466"/>
                  </a:lnTo>
                  <a:lnTo>
                    <a:pt x="246" y="495"/>
                  </a:lnTo>
                  <a:lnTo>
                    <a:pt x="269" y="505"/>
                  </a:lnTo>
                  <a:lnTo>
                    <a:pt x="286" y="499"/>
                  </a:lnTo>
                  <a:lnTo>
                    <a:pt x="286" y="485"/>
                  </a:lnTo>
                  <a:lnTo>
                    <a:pt x="314" y="485"/>
                  </a:lnTo>
                  <a:lnTo>
                    <a:pt x="347" y="481"/>
                  </a:lnTo>
                  <a:lnTo>
                    <a:pt x="358" y="483"/>
                  </a:lnTo>
                  <a:lnTo>
                    <a:pt x="341" y="433"/>
                  </a:lnTo>
                  <a:lnTo>
                    <a:pt x="329" y="433"/>
                  </a:lnTo>
                  <a:lnTo>
                    <a:pt x="321" y="406"/>
                  </a:lnTo>
                  <a:lnTo>
                    <a:pt x="296" y="392"/>
                  </a:lnTo>
                  <a:lnTo>
                    <a:pt x="316" y="346"/>
                  </a:lnTo>
                  <a:lnTo>
                    <a:pt x="327" y="349"/>
                  </a:lnTo>
                  <a:lnTo>
                    <a:pt x="358" y="349"/>
                  </a:lnTo>
                  <a:lnTo>
                    <a:pt x="380" y="316"/>
                  </a:lnTo>
                  <a:lnTo>
                    <a:pt x="401" y="285"/>
                  </a:lnTo>
                  <a:lnTo>
                    <a:pt x="416" y="256"/>
                  </a:lnTo>
                  <a:lnTo>
                    <a:pt x="430" y="231"/>
                  </a:lnTo>
                  <a:lnTo>
                    <a:pt x="424" y="202"/>
                  </a:lnTo>
                  <a:lnTo>
                    <a:pt x="445" y="187"/>
                  </a:lnTo>
                  <a:lnTo>
                    <a:pt x="430" y="175"/>
                  </a:lnTo>
                  <a:lnTo>
                    <a:pt x="418" y="161"/>
                  </a:lnTo>
                  <a:lnTo>
                    <a:pt x="403" y="152"/>
                  </a:lnTo>
                  <a:lnTo>
                    <a:pt x="395" y="132"/>
                  </a:lnTo>
                  <a:lnTo>
                    <a:pt x="397" y="121"/>
                  </a:lnTo>
                  <a:lnTo>
                    <a:pt x="380" y="103"/>
                  </a:lnTo>
                  <a:lnTo>
                    <a:pt x="381" y="92"/>
                  </a:lnTo>
                  <a:lnTo>
                    <a:pt x="428" y="97"/>
                  </a:lnTo>
                  <a:lnTo>
                    <a:pt x="465" y="86"/>
                  </a:lnTo>
                  <a:lnTo>
                    <a:pt x="494" y="59"/>
                  </a:lnTo>
                  <a:lnTo>
                    <a:pt x="451" y="47"/>
                  </a:lnTo>
                  <a:lnTo>
                    <a:pt x="428" y="35"/>
                  </a:lnTo>
                  <a:lnTo>
                    <a:pt x="412" y="10"/>
                  </a:lnTo>
                  <a:lnTo>
                    <a:pt x="376" y="0"/>
                  </a:lnTo>
                  <a:lnTo>
                    <a:pt x="337" y="10"/>
                  </a:lnTo>
                  <a:lnTo>
                    <a:pt x="300" y="18"/>
                  </a:lnTo>
                  <a:lnTo>
                    <a:pt x="283" y="41"/>
                  </a:lnTo>
                  <a:lnTo>
                    <a:pt x="300" y="74"/>
                  </a:lnTo>
                  <a:lnTo>
                    <a:pt x="292" y="101"/>
                  </a:lnTo>
                  <a:lnTo>
                    <a:pt x="286" y="119"/>
                  </a:lnTo>
                  <a:lnTo>
                    <a:pt x="257" y="121"/>
                  </a:lnTo>
                  <a:lnTo>
                    <a:pt x="277" y="142"/>
                  </a:lnTo>
                  <a:lnTo>
                    <a:pt x="252" y="163"/>
                  </a:lnTo>
                  <a:lnTo>
                    <a:pt x="248" y="206"/>
                  </a:lnTo>
                  <a:lnTo>
                    <a:pt x="217" y="204"/>
                  </a:lnTo>
                  <a:lnTo>
                    <a:pt x="209" y="214"/>
                  </a:lnTo>
                  <a:lnTo>
                    <a:pt x="178" y="227"/>
                  </a:lnTo>
                  <a:lnTo>
                    <a:pt x="172" y="256"/>
                  </a:lnTo>
                  <a:lnTo>
                    <a:pt x="172" y="274"/>
                  </a:lnTo>
                  <a:lnTo>
                    <a:pt x="137" y="282"/>
                  </a:lnTo>
                  <a:lnTo>
                    <a:pt x="102" y="289"/>
                  </a:lnTo>
                  <a:lnTo>
                    <a:pt x="54" y="291"/>
                  </a:lnTo>
                  <a:lnTo>
                    <a:pt x="27" y="282"/>
                  </a:lnTo>
                  <a:lnTo>
                    <a:pt x="0" y="274"/>
                  </a:lnTo>
                  <a:lnTo>
                    <a:pt x="23" y="299"/>
                  </a:lnTo>
                  <a:lnTo>
                    <a:pt x="44" y="324"/>
                  </a:lnTo>
                  <a:lnTo>
                    <a:pt x="71" y="336"/>
                  </a:lnTo>
                  <a:lnTo>
                    <a:pt x="81" y="375"/>
                  </a:lnTo>
                  <a:lnTo>
                    <a:pt x="91" y="379"/>
                  </a:lnTo>
                  <a:lnTo>
                    <a:pt x="91" y="396"/>
                  </a:lnTo>
                  <a:lnTo>
                    <a:pt x="62" y="408"/>
                  </a:lnTo>
                  <a:lnTo>
                    <a:pt x="50" y="421"/>
                  </a:lnTo>
                  <a:lnTo>
                    <a:pt x="48" y="450"/>
                  </a:lnTo>
                  <a:lnTo>
                    <a:pt x="79" y="450"/>
                  </a:lnTo>
                  <a:lnTo>
                    <a:pt x="108" y="448"/>
                  </a:lnTo>
                  <a:lnTo>
                    <a:pt x="135" y="446"/>
                  </a:lnTo>
                  <a:lnTo>
                    <a:pt x="168" y="444"/>
                  </a:lnTo>
                  <a:lnTo>
                    <a:pt x="203" y="44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88" name="Google Shape;2188;g7826bb8c5e_0_4294"/>
            <p:cNvSpPr/>
            <p:nvPr/>
          </p:nvSpPr>
          <p:spPr>
            <a:xfrm>
              <a:off x="4617677" y="3394754"/>
              <a:ext cx="194507" cy="229371"/>
            </a:xfrm>
            <a:custGeom>
              <a:avLst/>
              <a:gdLst/>
              <a:ahLst/>
              <a:cxnLst/>
              <a:rect l="l" t="t" r="r" b="b"/>
              <a:pathLst>
                <a:path w="370" h="376" extrusionOk="0">
                  <a:moveTo>
                    <a:pt x="294" y="138"/>
                  </a:moveTo>
                  <a:lnTo>
                    <a:pt x="273" y="103"/>
                  </a:lnTo>
                  <a:lnTo>
                    <a:pt x="252" y="68"/>
                  </a:lnTo>
                  <a:lnTo>
                    <a:pt x="246" y="72"/>
                  </a:lnTo>
                  <a:lnTo>
                    <a:pt x="259" y="99"/>
                  </a:lnTo>
                  <a:lnTo>
                    <a:pt x="273" y="128"/>
                  </a:lnTo>
                  <a:lnTo>
                    <a:pt x="288" y="155"/>
                  </a:lnTo>
                  <a:lnTo>
                    <a:pt x="304" y="182"/>
                  </a:lnTo>
                  <a:lnTo>
                    <a:pt x="317" y="211"/>
                  </a:lnTo>
                  <a:lnTo>
                    <a:pt x="333" y="238"/>
                  </a:lnTo>
                  <a:lnTo>
                    <a:pt x="352" y="264"/>
                  </a:lnTo>
                  <a:lnTo>
                    <a:pt x="370" y="291"/>
                  </a:lnTo>
                  <a:lnTo>
                    <a:pt x="366" y="293"/>
                  </a:lnTo>
                  <a:lnTo>
                    <a:pt x="368" y="324"/>
                  </a:lnTo>
                  <a:lnTo>
                    <a:pt x="356" y="337"/>
                  </a:lnTo>
                  <a:lnTo>
                    <a:pt x="347" y="333"/>
                  </a:lnTo>
                  <a:lnTo>
                    <a:pt x="341" y="357"/>
                  </a:lnTo>
                  <a:lnTo>
                    <a:pt x="323" y="359"/>
                  </a:lnTo>
                  <a:lnTo>
                    <a:pt x="316" y="376"/>
                  </a:lnTo>
                  <a:lnTo>
                    <a:pt x="275" y="372"/>
                  </a:lnTo>
                  <a:lnTo>
                    <a:pt x="234" y="366"/>
                  </a:lnTo>
                  <a:lnTo>
                    <a:pt x="232" y="359"/>
                  </a:lnTo>
                  <a:lnTo>
                    <a:pt x="228" y="366"/>
                  </a:lnTo>
                  <a:lnTo>
                    <a:pt x="201" y="366"/>
                  </a:lnTo>
                  <a:lnTo>
                    <a:pt x="176" y="366"/>
                  </a:lnTo>
                  <a:lnTo>
                    <a:pt x="151" y="366"/>
                  </a:lnTo>
                  <a:lnTo>
                    <a:pt x="124" y="366"/>
                  </a:lnTo>
                  <a:lnTo>
                    <a:pt x="98" y="366"/>
                  </a:lnTo>
                  <a:lnTo>
                    <a:pt x="73" y="366"/>
                  </a:lnTo>
                  <a:lnTo>
                    <a:pt x="46" y="366"/>
                  </a:lnTo>
                  <a:lnTo>
                    <a:pt x="21" y="366"/>
                  </a:lnTo>
                  <a:lnTo>
                    <a:pt x="19" y="332"/>
                  </a:lnTo>
                  <a:lnTo>
                    <a:pt x="17" y="295"/>
                  </a:lnTo>
                  <a:lnTo>
                    <a:pt x="15" y="260"/>
                  </a:lnTo>
                  <a:lnTo>
                    <a:pt x="13" y="225"/>
                  </a:lnTo>
                  <a:lnTo>
                    <a:pt x="11" y="188"/>
                  </a:lnTo>
                  <a:lnTo>
                    <a:pt x="7" y="153"/>
                  </a:lnTo>
                  <a:lnTo>
                    <a:pt x="5" y="116"/>
                  </a:lnTo>
                  <a:lnTo>
                    <a:pt x="3" y="81"/>
                  </a:lnTo>
                  <a:lnTo>
                    <a:pt x="2" y="52"/>
                  </a:lnTo>
                  <a:lnTo>
                    <a:pt x="0" y="23"/>
                  </a:lnTo>
                  <a:lnTo>
                    <a:pt x="5" y="0"/>
                  </a:lnTo>
                  <a:lnTo>
                    <a:pt x="27" y="0"/>
                  </a:lnTo>
                  <a:lnTo>
                    <a:pt x="77" y="14"/>
                  </a:lnTo>
                  <a:lnTo>
                    <a:pt x="126" y="27"/>
                  </a:lnTo>
                  <a:lnTo>
                    <a:pt x="172" y="14"/>
                  </a:lnTo>
                  <a:lnTo>
                    <a:pt x="193" y="2"/>
                  </a:lnTo>
                  <a:lnTo>
                    <a:pt x="184" y="8"/>
                  </a:lnTo>
                  <a:lnTo>
                    <a:pt x="197" y="4"/>
                  </a:lnTo>
                  <a:lnTo>
                    <a:pt x="226" y="12"/>
                  </a:lnTo>
                  <a:lnTo>
                    <a:pt x="236" y="19"/>
                  </a:lnTo>
                  <a:lnTo>
                    <a:pt x="252" y="21"/>
                  </a:lnTo>
                  <a:lnTo>
                    <a:pt x="298" y="12"/>
                  </a:lnTo>
                  <a:lnTo>
                    <a:pt x="312" y="46"/>
                  </a:lnTo>
                  <a:lnTo>
                    <a:pt x="327" y="81"/>
                  </a:lnTo>
                  <a:lnTo>
                    <a:pt x="319" y="112"/>
                  </a:lnTo>
                  <a:lnTo>
                    <a:pt x="314" y="143"/>
                  </a:lnTo>
                  <a:lnTo>
                    <a:pt x="294" y="138"/>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89" name="Google Shape;2189;g7826bb8c5e_0_4294"/>
            <p:cNvSpPr/>
            <p:nvPr/>
          </p:nvSpPr>
          <p:spPr>
            <a:xfrm>
              <a:off x="5367736" y="3307374"/>
              <a:ext cx="480548" cy="630771"/>
            </a:xfrm>
            <a:custGeom>
              <a:avLst/>
              <a:gdLst/>
              <a:ahLst/>
              <a:cxnLst/>
              <a:rect l="l" t="t" r="r" b="b"/>
              <a:pathLst>
                <a:path w="921" h="1041" extrusionOk="0">
                  <a:moveTo>
                    <a:pt x="225" y="0"/>
                  </a:moveTo>
                  <a:lnTo>
                    <a:pt x="196" y="27"/>
                  </a:lnTo>
                  <a:lnTo>
                    <a:pt x="159" y="38"/>
                  </a:lnTo>
                  <a:lnTo>
                    <a:pt x="112" y="33"/>
                  </a:lnTo>
                  <a:lnTo>
                    <a:pt x="111" y="44"/>
                  </a:lnTo>
                  <a:lnTo>
                    <a:pt x="128" y="62"/>
                  </a:lnTo>
                  <a:lnTo>
                    <a:pt x="126" y="73"/>
                  </a:lnTo>
                  <a:lnTo>
                    <a:pt x="134" y="93"/>
                  </a:lnTo>
                  <a:lnTo>
                    <a:pt x="149" y="102"/>
                  </a:lnTo>
                  <a:lnTo>
                    <a:pt x="161" y="116"/>
                  </a:lnTo>
                  <a:lnTo>
                    <a:pt x="176" y="128"/>
                  </a:lnTo>
                  <a:lnTo>
                    <a:pt x="155" y="143"/>
                  </a:lnTo>
                  <a:lnTo>
                    <a:pt x="161" y="172"/>
                  </a:lnTo>
                  <a:lnTo>
                    <a:pt x="147" y="197"/>
                  </a:lnTo>
                  <a:lnTo>
                    <a:pt x="132" y="226"/>
                  </a:lnTo>
                  <a:lnTo>
                    <a:pt x="111" y="257"/>
                  </a:lnTo>
                  <a:lnTo>
                    <a:pt x="89" y="290"/>
                  </a:lnTo>
                  <a:lnTo>
                    <a:pt x="58" y="290"/>
                  </a:lnTo>
                  <a:lnTo>
                    <a:pt x="47" y="287"/>
                  </a:lnTo>
                  <a:lnTo>
                    <a:pt x="27" y="333"/>
                  </a:lnTo>
                  <a:lnTo>
                    <a:pt x="52" y="347"/>
                  </a:lnTo>
                  <a:lnTo>
                    <a:pt x="60" y="374"/>
                  </a:lnTo>
                  <a:lnTo>
                    <a:pt x="72" y="374"/>
                  </a:lnTo>
                  <a:lnTo>
                    <a:pt x="89" y="424"/>
                  </a:lnTo>
                  <a:lnTo>
                    <a:pt x="78" y="422"/>
                  </a:lnTo>
                  <a:lnTo>
                    <a:pt x="45" y="426"/>
                  </a:lnTo>
                  <a:lnTo>
                    <a:pt x="17" y="426"/>
                  </a:lnTo>
                  <a:lnTo>
                    <a:pt x="17" y="440"/>
                  </a:lnTo>
                  <a:lnTo>
                    <a:pt x="0" y="446"/>
                  </a:lnTo>
                  <a:lnTo>
                    <a:pt x="2" y="447"/>
                  </a:lnTo>
                  <a:lnTo>
                    <a:pt x="16" y="444"/>
                  </a:lnTo>
                  <a:lnTo>
                    <a:pt x="8" y="451"/>
                  </a:lnTo>
                  <a:lnTo>
                    <a:pt x="39" y="482"/>
                  </a:lnTo>
                  <a:lnTo>
                    <a:pt x="78" y="475"/>
                  </a:lnTo>
                  <a:lnTo>
                    <a:pt x="74" y="482"/>
                  </a:lnTo>
                  <a:lnTo>
                    <a:pt x="50" y="500"/>
                  </a:lnTo>
                  <a:lnTo>
                    <a:pt x="33" y="496"/>
                  </a:lnTo>
                  <a:lnTo>
                    <a:pt x="62" y="529"/>
                  </a:lnTo>
                  <a:lnTo>
                    <a:pt x="91" y="560"/>
                  </a:lnTo>
                  <a:lnTo>
                    <a:pt x="138" y="546"/>
                  </a:lnTo>
                  <a:lnTo>
                    <a:pt x="140" y="521"/>
                  </a:lnTo>
                  <a:lnTo>
                    <a:pt x="142" y="506"/>
                  </a:lnTo>
                  <a:lnTo>
                    <a:pt x="159" y="506"/>
                  </a:lnTo>
                  <a:lnTo>
                    <a:pt x="153" y="515"/>
                  </a:lnTo>
                  <a:lnTo>
                    <a:pt x="153" y="523"/>
                  </a:lnTo>
                  <a:lnTo>
                    <a:pt x="171" y="523"/>
                  </a:lnTo>
                  <a:lnTo>
                    <a:pt x="159" y="535"/>
                  </a:lnTo>
                  <a:lnTo>
                    <a:pt x="163" y="552"/>
                  </a:lnTo>
                  <a:lnTo>
                    <a:pt x="165" y="579"/>
                  </a:lnTo>
                  <a:lnTo>
                    <a:pt x="175" y="616"/>
                  </a:lnTo>
                  <a:lnTo>
                    <a:pt x="176" y="628"/>
                  </a:lnTo>
                  <a:lnTo>
                    <a:pt x="180" y="636"/>
                  </a:lnTo>
                  <a:lnTo>
                    <a:pt x="190" y="682"/>
                  </a:lnTo>
                  <a:lnTo>
                    <a:pt x="204" y="719"/>
                  </a:lnTo>
                  <a:lnTo>
                    <a:pt x="215" y="756"/>
                  </a:lnTo>
                  <a:lnTo>
                    <a:pt x="223" y="765"/>
                  </a:lnTo>
                  <a:lnTo>
                    <a:pt x="240" y="808"/>
                  </a:lnTo>
                  <a:lnTo>
                    <a:pt x="260" y="853"/>
                  </a:lnTo>
                  <a:lnTo>
                    <a:pt x="273" y="884"/>
                  </a:lnTo>
                  <a:lnTo>
                    <a:pt x="289" y="915"/>
                  </a:lnTo>
                  <a:lnTo>
                    <a:pt x="304" y="946"/>
                  </a:lnTo>
                  <a:lnTo>
                    <a:pt x="316" y="973"/>
                  </a:lnTo>
                  <a:lnTo>
                    <a:pt x="330" y="1002"/>
                  </a:lnTo>
                  <a:lnTo>
                    <a:pt x="343" y="1031"/>
                  </a:lnTo>
                  <a:lnTo>
                    <a:pt x="364" y="1041"/>
                  </a:lnTo>
                  <a:lnTo>
                    <a:pt x="382" y="1021"/>
                  </a:lnTo>
                  <a:lnTo>
                    <a:pt x="401" y="1002"/>
                  </a:lnTo>
                  <a:lnTo>
                    <a:pt x="421" y="998"/>
                  </a:lnTo>
                  <a:lnTo>
                    <a:pt x="407" y="985"/>
                  </a:lnTo>
                  <a:lnTo>
                    <a:pt x="427" y="957"/>
                  </a:lnTo>
                  <a:lnTo>
                    <a:pt x="436" y="955"/>
                  </a:lnTo>
                  <a:lnTo>
                    <a:pt x="432" y="928"/>
                  </a:lnTo>
                  <a:lnTo>
                    <a:pt x="430" y="901"/>
                  </a:lnTo>
                  <a:lnTo>
                    <a:pt x="436" y="870"/>
                  </a:lnTo>
                  <a:lnTo>
                    <a:pt x="442" y="839"/>
                  </a:lnTo>
                  <a:lnTo>
                    <a:pt x="436" y="804"/>
                  </a:lnTo>
                  <a:lnTo>
                    <a:pt x="432" y="762"/>
                  </a:lnTo>
                  <a:lnTo>
                    <a:pt x="450" y="748"/>
                  </a:lnTo>
                  <a:lnTo>
                    <a:pt x="454" y="744"/>
                  </a:lnTo>
                  <a:lnTo>
                    <a:pt x="461" y="744"/>
                  </a:lnTo>
                  <a:lnTo>
                    <a:pt x="471" y="729"/>
                  </a:lnTo>
                  <a:lnTo>
                    <a:pt x="498" y="719"/>
                  </a:lnTo>
                  <a:lnTo>
                    <a:pt x="502" y="694"/>
                  </a:lnTo>
                  <a:lnTo>
                    <a:pt x="533" y="661"/>
                  </a:lnTo>
                  <a:lnTo>
                    <a:pt x="566" y="628"/>
                  </a:lnTo>
                  <a:lnTo>
                    <a:pt x="591" y="603"/>
                  </a:lnTo>
                  <a:lnTo>
                    <a:pt x="613" y="589"/>
                  </a:lnTo>
                  <a:lnTo>
                    <a:pt x="632" y="562"/>
                  </a:lnTo>
                  <a:lnTo>
                    <a:pt x="632" y="533"/>
                  </a:lnTo>
                  <a:lnTo>
                    <a:pt x="663" y="511"/>
                  </a:lnTo>
                  <a:lnTo>
                    <a:pt x="671" y="527"/>
                  </a:lnTo>
                  <a:lnTo>
                    <a:pt x="680" y="529"/>
                  </a:lnTo>
                  <a:lnTo>
                    <a:pt x="688" y="525"/>
                  </a:lnTo>
                  <a:lnTo>
                    <a:pt x="698" y="527"/>
                  </a:lnTo>
                  <a:lnTo>
                    <a:pt x="696" y="515"/>
                  </a:lnTo>
                  <a:lnTo>
                    <a:pt x="686" y="486"/>
                  </a:lnTo>
                  <a:lnTo>
                    <a:pt x="677" y="457"/>
                  </a:lnTo>
                  <a:lnTo>
                    <a:pt x="673" y="436"/>
                  </a:lnTo>
                  <a:lnTo>
                    <a:pt x="649" y="415"/>
                  </a:lnTo>
                  <a:lnTo>
                    <a:pt x="657" y="399"/>
                  </a:lnTo>
                  <a:lnTo>
                    <a:pt x="671" y="393"/>
                  </a:lnTo>
                  <a:lnTo>
                    <a:pt x="646" y="368"/>
                  </a:lnTo>
                  <a:lnTo>
                    <a:pt x="646" y="341"/>
                  </a:lnTo>
                  <a:lnTo>
                    <a:pt x="667" y="351"/>
                  </a:lnTo>
                  <a:lnTo>
                    <a:pt x="679" y="360"/>
                  </a:lnTo>
                  <a:lnTo>
                    <a:pt x="686" y="354"/>
                  </a:lnTo>
                  <a:lnTo>
                    <a:pt x="700" y="385"/>
                  </a:lnTo>
                  <a:lnTo>
                    <a:pt x="735" y="389"/>
                  </a:lnTo>
                  <a:lnTo>
                    <a:pt x="770" y="393"/>
                  </a:lnTo>
                  <a:lnTo>
                    <a:pt x="787" y="405"/>
                  </a:lnTo>
                  <a:lnTo>
                    <a:pt x="781" y="420"/>
                  </a:lnTo>
                  <a:lnTo>
                    <a:pt x="758" y="438"/>
                  </a:lnTo>
                  <a:lnTo>
                    <a:pt x="764" y="469"/>
                  </a:lnTo>
                  <a:lnTo>
                    <a:pt x="772" y="477"/>
                  </a:lnTo>
                  <a:lnTo>
                    <a:pt x="785" y="447"/>
                  </a:lnTo>
                  <a:lnTo>
                    <a:pt x="799" y="480"/>
                  </a:lnTo>
                  <a:lnTo>
                    <a:pt x="810" y="513"/>
                  </a:lnTo>
                  <a:lnTo>
                    <a:pt x="812" y="513"/>
                  </a:lnTo>
                  <a:lnTo>
                    <a:pt x="824" y="513"/>
                  </a:lnTo>
                  <a:lnTo>
                    <a:pt x="824" y="473"/>
                  </a:lnTo>
                  <a:lnTo>
                    <a:pt x="826" y="442"/>
                  </a:lnTo>
                  <a:lnTo>
                    <a:pt x="847" y="442"/>
                  </a:lnTo>
                  <a:lnTo>
                    <a:pt x="863" y="395"/>
                  </a:lnTo>
                  <a:lnTo>
                    <a:pt x="863" y="378"/>
                  </a:lnTo>
                  <a:lnTo>
                    <a:pt x="865" y="345"/>
                  </a:lnTo>
                  <a:lnTo>
                    <a:pt x="896" y="312"/>
                  </a:lnTo>
                  <a:lnTo>
                    <a:pt x="921" y="318"/>
                  </a:lnTo>
                  <a:lnTo>
                    <a:pt x="913" y="306"/>
                  </a:lnTo>
                  <a:lnTo>
                    <a:pt x="917" y="294"/>
                  </a:lnTo>
                  <a:lnTo>
                    <a:pt x="921" y="277"/>
                  </a:lnTo>
                  <a:lnTo>
                    <a:pt x="886" y="265"/>
                  </a:lnTo>
                  <a:lnTo>
                    <a:pt x="888" y="248"/>
                  </a:lnTo>
                  <a:lnTo>
                    <a:pt x="874" y="244"/>
                  </a:lnTo>
                  <a:lnTo>
                    <a:pt x="876" y="238"/>
                  </a:lnTo>
                  <a:lnTo>
                    <a:pt x="863" y="234"/>
                  </a:lnTo>
                  <a:lnTo>
                    <a:pt x="845" y="244"/>
                  </a:lnTo>
                  <a:lnTo>
                    <a:pt x="818" y="240"/>
                  </a:lnTo>
                  <a:lnTo>
                    <a:pt x="795" y="261"/>
                  </a:lnTo>
                  <a:lnTo>
                    <a:pt x="772" y="283"/>
                  </a:lnTo>
                  <a:lnTo>
                    <a:pt x="741" y="294"/>
                  </a:lnTo>
                  <a:lnTo>
                    <a:pt x="750" y="306"/>
                  </a:lnTo>
                  <a:lnTo>
                    <a:pt x="762" y="325"/>
                  </a:lnTo>
                  <a:lnTo>
                    <a:pt x="731" y="327"/>
                  </a:lnTo>
                  <a:lnTo>
                    <a:pt x="700" y="331"/>
                  </a:lnTo>
                  <a:lnTo>
                    <a:pt x="661" y="327"/>
                  </a:lnTo>
                  <a:lnTo>
                    <a:pt x="655" y="312"/>
                  </a:lnTo>
                  <a:lnTo>
                    <a:pt x="640" y="281"/>
                  </a:lnTo>
                  <a:lnTo>
                    <a:pt x="626" y="290"/>
                  </a:lnTo>
                  <a:lnTo>
                    <a:pt x="636" y="343"/>
                  </a:lnTo>
                  <a:lnTo>
                    <a:pt x="599" y="341"/>
                  </a:lnTo>
                  <a:lnTo>
                    <a:pt x="556" y="337"/>
                  </a:lnTo>
                  <a:lnTo>
                    <a:pt x="533" y="329"/>
                  </a:lnTo>
                  <a:lnTo>
                    <a:pt x="516" y="312"/>
                  </a:lnTo>
                  <a:lnTo>
                    <a:pt x="475" y="306"/>
                  </a:lnTo>
                  <a:lnTo>
                    <a:pt x="442" y="298"/>
                  </a:lnTo>
                  <a:lnTo>
                    <a:pt x="401" y="277"/>
                  </a:lnTo>
                  <a:lnTo>
                    <a:pt x="361" y="256"/>
                  </a:lnTo>
                  <a:lnTo>
                    <a:pt x="359" y="232"/>
                  </a:lnTo>
                  <a:lnTo>
                    <a:pt x="378" y="201"/>
                  </a:lnTo>
                  <a:lnTo>
                    <a:pt x="347" y="180"/>
                  </a:lnTo>
                  <a:lnTo>
                    <a:pt x="308" y="159"/>
                  </a:lnTo>
                  <a:lnTo>
                    <a:pt x="291" y="153"/>
                  </a:lnTo>
                  <a:lnTo>
                    <a:pt x="277" y="112"/>
                  </a:lnTo>
                  <a:lnTo>
                    <a:pt x="297" y="114"/>
                  </a:lnTo>
                  <a:lnTo>
                    <a:pt x="302" y="100"/>
                  </a:lnTo>
                  <a:lnTo>
                    <a:pt x="281" y="71"/>
                  </a:lnTo>
                  <a:lnTo>
                    <a:pt x="281" y="58"/>
                  </a:lnTo>
                  <a:lnTo>
                    <a:pt x="279" y="54"/>
                  </a:lnTo>
                  <a:lnTo>
                    <a:pt x="277" y="48"/>
                  </a:lnTo>
                  <a:lnTo>
                    <a:pt x="271" y="40"/>
                  </a:lnTo>
                  <a:lnTo>
                    <a:pt x="266" y="33"/>
                  </a:lnTo>
                  <a:lnTo>
                    <a:pt x="266" y="23"/>
                  </a:lnTo>
                  <a:lnTo>
                    <a:pt x="262" y="13"/>
                  </a:lnTo>
                  <a:lnTo>
                    <a:pt x="250" y="9"/>
                  </a:lnTo>
                  <a:lnTo>
                    <a:pt x="235" y="3"/>
                  </a:lnTo>
                  <a:lnTo>
                    <a:pt x="225"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90" name="Google Shape;2190;g7826bb8c5e_0_4294"/>
            <p:cNvSpPr/>
            <p:nvPr/>
          </p:nvSpPr>
          <p:spPr>
            <a:xfrm>
              <a:off x="4775315" y="3357890"/>
              <a:ext cx="20340" cy="87380"/>
            </a:xfrm>
            <a:custGeom>
              <a:avLst/>
              <a:gdLst/>
              <a:ahLst/>
              <a:cxnLst/>
              <a:rect l="l" t="t" r="r" b="b"/>
              <a:pathLst>
                <a:path w="39" h="143" extrusionOk="0">
                  <a:moveTo>
                    <a:pt x="29" y="143"/>
                  </a:moveTo>
                  <a:lnTo>
                    <a:pt x="14" y="108"/>
                  </a:lnTo>
                  <a:lnTo>
                    <a:pt x="0" y="74"/>
                  </a:lnTo>
                  <a:lnTo>
                    <a:pt x="10" y="41"/>
                  </a:lnTo>
                  <a:lnTo>
                    <a:pt x="21" y="6"/>
                  </a:lnTo>
                  <a:lnTo>
                    <a:pt x="37" y="0"/>
                  </a:lnTo>
                  <a:lnTo>
                    <a:pt x="39" y="19"/>
                  </a:lnTo>
                  <a:lnTo>
                    <a:pt x="37" y="50"/>
                  </a:lnTo>
                  <a:lnTo>
                    <a:pt x="35" y="81"/>
                  </a:lnTo>
                  <a:lnTo>
                    <a:pt x="33" y="110"/>
                  </a:lnTo>
                  <a:lnTo>
                    <a:pt x="31" y="141"/>
                  </a:lnTo>
                  <a:lnTo>
                    <a:pt x="29" y="143"/>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91" name="Google Shape;2191;g7826bb8c5e_0_4294"/>
            <p:cNvSpPr/>
            <p:nvPr/>
          </p:nvSpPr>
          <p:spPr>
            <a:xfrm>
              <a:off x="4790571" y="3355160"/>
              <a:ext cx="67379" cy="96936"/>
            </a:xfrm>
            <a:custGeom>
              <a:avLst/>
              <a:gdLst/>
              <a:ahLst/>
              <a:cxnLst/>
              <a:rect l="l" t="t" r="r" b="b"/>
              <a:pathLst>
                <a:path w="128" h="159" extrusionOk="0">
                  <a:moveTo>
                    <a:pt x="49" y="41"/>
                  </a:moveTo>
                  <a:lnTo>
                    <a:pt x="8" y="23"/>
                  </a:lnTo>
                  <a:lnTo>
                    <a:pt x="6" y="54"/>
                  </a:lnTo>
                  <a:lnTo>
                    <a:pt x="4" y="85"/>
                  </a:lnTo>
                  <a:lnTo>
                    <a:pt x="2" y="114"/>
                  </a:lnTo>
                  <a:lnTo>
                    <a:pt x="0" y="145"/>
                  </a:lnTo>
                  <a:lnTo>
                    <a:pt x="0" y="153"/>
                  </a:lnTo>
                  <a:lnTo>
                    <a:pt x="37" y="159"/>
                  </a:lnTo>
                  <a:lnTo>
                    <a:pt x="56" y="134"/>
                  </a:lnTo>
                  <a:lnTo>
                    <a:pt x="80" y="128"/>
                  </a:lnTo>
                  <a:lnTo>
                    <a:pt x="93" y="109"/>
                  </a:lnTo>
                  <a:lnTo>
                    <a:pt x="58" y="72"/>
                  </a:lnTo>
                  <a:lnTo>
                    <a:pt x="93" y="56"/>
                  </a:lnTo>
                  <a:lnTo>
                    <a:pt x="128" y="43"/>
                  </a:lnTo>
                  <a:lnTo>
                    <a:pt x="107" y="0"/>
                  </a:lnTo>
                  <a:lnTo>
                    <a:pt x="78" y="19"/>
                  </a:lnTo>
                  <a:lnTo>
                    <a:pt x="49" y="4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92" name="Google Shape;2192;g7826bb8c5e_0_4294"/>
            <p:cNvSpPr/>
            <p:nvPr/>
          </p:nvSpPr>
          <p:spPr>
            <a:xfrm>
              <a:off x="5096952" y="3549033"/>
              <a:ext cx="130942" cy="193873"/>
            </a:xfrm>
            <a:custGeom>
              <a:avLst/>
              <a:gdLst/>
              <a:ahLst/>
              <a:cxnLst/>
              <a:rect l="l" t="t" r="r" b="b"/>
              <a:pathLst>
                <a:path w="251" h="318" extrusionOk="0">
                  <a:moveTo>
                    <a:pt x="251" y="97"/>
                  </a:moveTo>
                  <a:lnTo>
                    <a:pt x="225" y="74"/>
                  </a:lnTo>
                  <a:lnTo>
                    <a:pt x="200" y="50"/>
                  </a:lnTo>
                  <a:lnTo>
                    <a:pt x="173" y="39"/>
                  </a:lnTo>
                  <a:lnTo>
                    <a:pt x="144" y="27"/>
                  </a:lnTo>
                  <a:lnTo>
                    <a:pt x="126" y="0"/>
                  </a:lnTo>
                  <a:lnTo>
                    <a:pt x="117" y="8"/>
                  </a:lnTo>
                  <a:lnTo>
                    <a:pt x="113" y="0"/>
                  </a:lnTo>
                  <a:lnTo>
                    <a:pt x="119" y="33"/>
                  </a:lnTo>
                  <a:lnTo>
                    <a:pt x="103" y="41"/>
                  </a:lnTo>
                  <a:lnTo>
                    <a:pt x="95" y="85"/>
                  </a:lnTo>
                  <a:lnTo>
                    <a:pt x="115" y="112"/>
                  </a:lnTo>
                  <a:lnTo>
                    <a:pt x="107" y="151"/>
                  </a:lnTo>
                  <a:lnTo>
                    <a:pt x="99" y="188"/>
                  </a:lnTo>
                  <a:lnTo>
                    <a:pt x="74" y="198"/>
                  </a:lnTo>
                  <a:lnTo>
                    <a:pt x="51" y="207"/>
                  </a:lnTo>
                  <a:lnTo>
                    <a:pt x="28" y="217"/>
                  </a:lnTo>
                  <a:lnTo>
                    <a:pt x="2" y="227"/>
                  </a:lnTo>
                  <a:lnTo>
                    <a:pt x="0" y="242"/>
                  </a:lnTo>
                  <a:lnTo>
                    <a:pt x="22" y="279"/>
                  </a:lnTo>
                  <a:lnTo>
                    <a:pt x="45" y="318"/>
                  </a:lnTo>
                  <a:lnTo>
                    <a:pt x="72" y="310"/>
                  </a:lnTo>
                  <a:lnTo>
                    <a:pt x="97" y="304"/>
                  </a:lnTo>
                  <a:lnTo>
                    <a:pt x="117" y="287"/>
                  </a:lnTo>
                  <a:lnTo>
                    <a:pt x="126" y="269"/>
                  </a:lnTo>
                  <a:lnTo>
                    <a:pt x="156" y="260"/>
                  </a:lnTo>
                  <a:lnTo>
                    <a:pt x="169" y="233"/>
                  </a:lnTo>
                  <a:lnTo>
                    <a:pt x="194" y="221"/>
                  </a:lnTo>
                  <a:lnTo>
                    <a:pt x="192" y="178"/>
                  </a:lnTo>
                  <a:lnTo>
                    <a:pt x="204" y="171"/>
                  </a:lnTo>
                  <a:lnTo>
                    <a:pt x="214" y="169"/>
                  </a:lnTo>
                  <a:lnTo>
                    <a:pt x="231" y="132"/>
                  </a:lnTo>
                  <a:lnTo>
                    <a:pt x="251" y="97"/>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93" name="Google Shape;2193;g7826bb8c5e_0_4294"/>
            <p:cNvSpPr/>
            <p:nvPr/>
          </p:nvSpPr>
          <p:spPr>
            <a:xfrm>
              <a:off x="5154160" y="3520361"/>
              <a:ext cx="6356" cy="12289"/>
            </a:xfrm>
            <a:custGeom>
              <a:avLst/>
              <a:gdLst/>
              <a:ahLst/>
              <a:cxnLst/>
              <a:rect l="l" t="t" r="r" b="b"/>
              <a:pathLst>
                <a:path w="10" h="20" extrusionOk="0">
                  <a:moveTo>
                    <a:pt x="10" y="0"/>
                  </a:moveTo>
                  <a:lnTo>
                    <a:pt x="0" y="14"/>
                  </a:lnTo>
                  <a:lnTo>
                    <a:pt x="10" y="20"/>
                  </a:lnTo>
                  <a:lnTo>
                    <a:pt x="10"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94" name="Google Shape;2194;g7826bb8c5e_0_4294"/>
            <p:cNvSpPr/>
            <p:nvPr/>
          </p:nvSpPr>
          <p:spPr>
            <a:xfrm>
              <a:off x="4786758" y="3381101"/>
              <a:ext cx="371217" cy="385016"/>
            </a:xfrm>
            <a:custGeom>
              <a:avLst/>
              <a:gdLst/>
              <a:ahLst/>
              <a:cxnLst/>
              <a:rect l="l" t="t" r="r" b="b"/>
              <a:pathLst>
                <a:path w="708" h="632" extrusionOk="0">
                  <a:moveTo>
                    <a:pt x="173" y="432"/>
                  </a:moveTo>
                  <a:lnTo>
                    <a:pt x="159" y="382"/>
                  </a:lnTo>
                  <a:lnTo>
                    <a:pt x="148" y="353"/>
                  </a:lnTo>
                  <a:lnTo>
                    <a:pt x="136" y="322"/>
                  </a:lnTo>
                  <a:lnTo>
                    <a:pt x="115" y="304"/>
                  </a:lnTo>
                  <a:lnTo>
                    <a:pt x="93" y="285"/>
                  </a:lnTo>
                  <a:lnTo>
                    <a:pt x="76" y="246"/>
                  </a:lnTo>
                  <a:lnTo>
                    <a:pt x="43" y="201"/>
                  </a:lnTo>
                  <a:lnTo>
                    <a:pt x="10" y="157"/>
                  </a:lnTo>
                  <a:lnTo>
                    <a:pt x="0" y="155"/>
                  </a:lnTo>
                  <a:lnTo>
                    <a:pt x="6" y="110"/>
                  </a:lnTo>
                  <a:lnTo>
                    <a:pt x="43" y="116"/>
                  </a:lnTo>
                  <a:lnTo>
                    <a:pt x="62" y="91"/>
                  </a:lnTo>
                  <a:lnTo>
                    <a:pt x="86" y="85"/>
                  </a:lnTo>
                  <a:lnTo>
                    <a:pt x="99" y="66"/>
                  </a:lnTo>
                  <a:lnTo>
                    <a:pt x="64" y="29"/>
                  </a:lnTo>
                  <a:lnTo>
                    <a:pt x="99" y="13"/>
                  </a:lnTo>
                  <a:lnTo>
                    <a:pt x="134" y="0"/>
                  </a:lnTo>
                  <a:lnTo>
                    <a:pt x="165" y="15"/>
                  </a:lnTo>
                  <a:lnTo>
                    <a:pt x="196" y="29"/>
                  </a:lnTo>
                  <a:lnTo>
                    <a:pt x="227" y="42"/>
                  </a:lnTo>
                  <a:lnTo>
                    <a:pt x="260" y="58"/>
                  </a:lnTo>
                  <a:lnTo>
                    <a:pt x="289" y="85"/>
                  </a:lnTo>
                  <a:lnTo>
                    <a:pt x="322" y="116"/>
                  </a:lnTo>
                  <a:lnTo>
                    <a:pt x="382" y="120"/>
                  </a:lnTo>
                  <a:lnTo>
                    <a:pt x="411" y="124"/>
                  </a:lnTo>
                  <a:lnTo>
                    <a:pt x="417" y="135"/>
                  </a:lnTo>
                  <a:lnTo>
                    <a:pt x="444" y="141"/>
                  </a:lnTo>
                  <a:lnTo>
                    <a:pt x="464" y="170"/>
                  </a:lnTo>
                  <a:lnTo>
                    <a:pt x="477" y="182"/>
                  </a:lnTo>
                  <a:lnTo>
                    <a:pt x="508" y="211"/>
                  </a:lnTo>
                  <a:lnTo>
                    <a:pt x="510" y="234"/>
                  </a:lnTo>
                  <a:lnTo>
                    <a:pt x="526" y="259"/>
                  </a:lnTo>
                  <a:lnTo>
                    <a:pt x="539" y="285"/>
                  </a:lnTo>
                  <a:lnTo>
                    <a:pt x="549" y="292"/>
                  </a:lnTo>
                  <a:lnTo>
                    <a:pt x="553" y="291"/>
                  </a:lnTo>
                  <a:lnTo>
                    <a:pt x="559" y="291"/>
                  </a:lnTo>
                  <a:lnTo>
                    <a:pt x="559" y="302"/>
                  </a:lnTo>
                  <a:lnTo>
                    <a:pt x="562" y="304"/>
                  </a:lnTo>
                  <a:lnTo>
                    <a:pt x="561" y="310"/>
                  </a:lnTo>
                  <a:lnTo>
                    <a:pt x="572" y="320"/>
                  </a:lnTo>
                  <a:lnTo>
                    <a:pt x="584" y="353"/>
                  </a:lnTo>
                  <a:lnTo>
                    <a:pt x="634" y="360"/>
                  </a:lnTo>
                  <a:lnTo>
                    <a:pt x="683" y="370"/>
                  </a:lnTo>
                  <a:lnTo>
                    <a:pt x="688" y="362"/>
                  </a:lnTo>
                  <a:lnTo>
                    <a:pt x="708" y="389"/>
                  </a:lnTo>
                  <a:lnTo>
                    <a:pt x="700" y="428"/>
                  </a:lnTo>
                  <a:lnTo>
                    <a:pt x="692" y="465"/>
                  </a:lnTo>
                  <a:lnTo>
                    <a:pt x="667" y="475"/>
                  </a:lnTo>
                  <a:lnTo>
                    <a:pt x="644" y="484"/>
                  </a:lnTo>
                  <a:lnTo>
                    <a:pt x="621" y="494"/>
                  </a:lnTo>
                  <a:lnTo>
                    <a:pt x="595" y="504"/>
                  </a:lnTo>
                  <a:lnTo>
                    <a:pt x="570" y="512"/>
                  </a:lnTo>
                  <a:lnTo>
                    <a:pt x="543" y="517"/>
                  </a:lnTo>
                  <a:lnTo>
                    <a:pt x="516" y="525"/>
                  </a:lnTo>
                  <a:lnTo>
                    <a:pt x="491" y="531"/>
                  </a:lnTo>
                  <a:lnTo>
                    <a:pt x="471" y="556"/>
                  </a:lnTo>
                  <a:lnTo>
                    <a:pt x="454" y="581"/>
                  </a:lnTo>
                  <a:lnTo>
                    <a:pt x="435" y="607"/>
                  </a:lnTo>
                  <a:lnTo>
                    <a:pt x="417" y="632"/>
                  </a:lnTo>
                  <a:lnTo>
                    <a:pt x="413" y="593"/>
                  </a:lnTo>
                  <a:lnTo>
                    <a:pt x="382" y="579"/>
                  </a:lnTo>
                  <a:lnTo>
                    <a:pt x="351" y="566"/>
                  </a:lnTo>
                  <a:lnTo>
                    <a:pt x="314" y="562"/>
                  </a:lnTo>
                  <a:lnTo>
                    <a:pt x="309" y="593"/>
                  </a:lnTo>
                  <a:lnTo>
                    <a:pt x="297" y="605"/>
                  </a:lnTo>
                  <a:lnTo>
                    <a:pt x="279" y="576"/>
                  </a:lnTo>
                  <a:lnTo>
                    <a:pt x="264" y="548"/>
                  </a:lnTo>
                  <a:lnTo>
                    <a:pt x="237" y="506"/>
                  </a:lnTo>
                  <a:lnTo>
                    <a:pt x="210" y="463"/>
                  </a:lnTo>
                  <a:lnTo>
                    <a:pt x="173" y="432"/>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95" name="Google Shape;2195;g7826bb8c5e_0_4294"/>
            <p:cNvSpPr/>
            <p:nvPr/>
          </p:nvSpPr>
          <p:spPr>
            <a:xfrm>
              <a:off x="5079154" y="3528553"/>
              <a:ext cx="82634" cy="77823"/>
            </a:xfrm>
            <a:custGeom>
              <a:avLst/>
              <a:gdLst/>
              <a:ahLst/>
              <a:cxnLst/>
              <a:rect l="l" t="t" r="r" b="b"/>
              <a:pathLst>
                <a:path w="158" h="128" extrusionOk="0">
                  <a:moveTo>
                    <a:pt x="0" y="68"/>
                  </a:moveTo>
                  <a:lnTo>
                    <a:pt x="11" y="78"/>
                  </a:lnTo>
                  <a:lnTo>
                    <a:pt x="23" y="111"/>
                  </a:lnTo>
                  <a:lnTo>
                    <a:pt x="73" y="118"/>
                  </a:lnTo>
                  <a:lnTo>
                    <a:pt x="122" y="128"/>
                  </a:lnTo>
                  <a:lnTo>
                    <a:pt x="127" y="120"/>
                  </a:lnTo>
                  <a:lnTo>
                    <a:pt x="135" y="76"/>
                  </a:lnTo>
                  <a:lnTo>
                    <a:pt x="151" y="68"/>
                  </a:lnTo>
                  <a:lnTo>
                    <a:pt x="145" y="35"/>
                  </a:lnTo>
                  <a:lnTo>
                    <a:pt x="149" y="43"/>
                  </a:lnTo>
                  <a:lnTo>
                    <a:pt x="158" y="35"/>
                  </a:lnTo>
                  <a:lnTo>
                    <a:pt x="153" y="6"/>
                  </a:lnTo>
                  <a:lnTo>
                    <a:pt x="143" y="0"/>
                  </a:lnTo>
                  <a:lnTo>
                    <a:pt x="114" y="33"/>
                  </a:lnTo>
                  <a:lnTo>
                    <a:pt x="83" y="68"/>
                  </a:lnTo>
                  <a:lnTo>
                    <a:pt x="31" y="70"/>
                  </a:lnTo>
                  <a:lnTo>
                    <a:pt x="11" y="68"/>
                  </a:lnTo>
                  <a:lnTo>
                    <a:pt x="1" y="62"/>
                  </a:lnTo>
                  <a:lnTo>
                    <a:pt x="0" y="68"/>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96" name="Google Shape;2196;g7826bb8c5e_0_4294"/>
            <p:cNvSpPr/>
            <p:nvPr/>
          </p:nvSpPr>
          <p:spPr>
            <a:xfrm>
              <a:off x="4940583" y="3688294"/>
              <a:ext cx="179252" cy="146086"/>
            </a:xfrm>
            <a:custGeom>
              <a:avLst/>
              <a:gdLst/>
              <a:ahLst/>
              <a:cxnLst/>
              <a:rect l="l" t="t" r="r" b="b"/>
              <a:pathLst>
                <a:path w="341" h="240" extrusionOk="0">
                  <a:moveTo>
                    <a:pt x="12" y="89"/>
                  </a:moveTo>
                  <a:lnTo>
                    <a:pt x="0" y="101"/>
                  </a:lnTo>
                  <a:lnTo>
                    <a:pt x="0" y="145"/>
                  </a:lnTo>
                  <a:lnTo>
                    <a:pt x="13" y="192"/>
                  </a:lnTo>
                  <a:lnTo>
                    <a:pt x="29" y="240"/>
                  </a:lnTo>
                  <a:lnTo>
                    <a:pt x="72" y="236"/>
                  </a:lnTo>
                  <a:lnTo>
                    <a:pt x="114" y="213"/>
                  </a:lnTo>
                  <a:lnTo>
                    <a:pt x="149" y="201"/>
                  </a:lnTo>
                  <a:lnTo>
                    <a:pt x="184" y="190"/>
                  </a:lnTo>
                  <a:lnTo>
                    <a:pt x="209" y="178"/>
                  </a:lnTo>
                  <a:lnTo>
                    <a:pt x="234" y="167"/>
                  </a:lnTo>
                  <a:lnTo>
                    <a:pt x="260" y="155"/>
                  </a:lnTo>
                  <a:lnTo>
                    <a:pt x="285" y="141"/>
                  </a:lnTo>
                  <a:lnTo>
                    <a:pt x="310" y="130"/>
                  </a:lnTo>
                  <a:lnTo>
                    <a:pt x="312" y="114"/>
                  </a:lnTo>
                  <a:lnTo>
                    <a:pt x="341" y="91"/>
                  </a:lnTo>
                  <a:lnTo>
                    <a:pt x="318" y="52"/>
                  </a:lnTo>
                  <a:lnTo>
                    <a:pt x="296" y="15"/>
                  </a:lnTo>
                  <a:lnTo>
                    <a:pt x="298" y="0"/>
                  </a:lnTo>
                  <a:lnTo>
                    <a:pt x="273" y="8"/>
                  </a:lnTo>
                  <a:lnTo>
                    <a:pt x="246" y="13"/>
                  </a:lnTo>
                  <a:lnTo>
                    <a:pt x="219" y="21"/>
                  </a:lnTo>
                  <a:lnTo>
                    <a:pt x="194" y="27"/>
                  </a:lnTo>
                  <a:lnTo>
                    <a:pt x="174" y="52"/>
                  </a:lnTo>
                  <a:lnTo>
                    <a:pt x="157" y="77"/>
                  </a:lnTo>
                  <a:lnTo>
                    <a:pt x="138" y="103"/>
                  </a:lnTo>
                  <a:lnTo>
                    <a:pt x="120" y="128"/>
                  </a:lnTo>
                  <a:lnTo>
                    <a:pt x="116" y="89"/>
                  </a:lnTo>
                  <a:lnTo>
                    <a:pt x="85" y="75"/>
                  </a:lnTo>
                  <a:lnTo>
                    <a:pt x="54" y="62"/>
                  </a:lnTo>
                  <a:lnTo>
                    <a:pt x="17" y="58"/>
                  </a:lnTo>
                  <a:lnTo>
                    <a:pt x="12" y="89"/>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97" name="Google Shape;2197;g7826bb8c5e_0_4294"/>
            <p:cNvSpPr/>
            <p:nvPr/>
          </p:nvSpPr>
          <p:spPr>
            <a:xfrm>
              <a:off x="5594026" y="3898552"/>
              <a:ext cx="38138" cy="90110"/>
            </a:xfrm>
            <a:custGeom>
              <a:avLst/>
              <a:gdLst/>
              <a:ahLst/>
              <a:cxnLst/>
              <a:rect l="l" t="t" r="r" b="b"/>
              <a:pathLst>
                <a:path w="74" h="147" extrusionOk="0">
                  <a:moveTo>
                    <a:pt x="18" y="6"/>
                  </a:moveTo>
                  <a:lnTo>
                    <a:pt x="31" y="25"/>
                  </a:lnTo>
                  <a:lnTo>
                    <a:pt x="47" y="50"/>
                  </a:lnTo>
                  <a:lnTo>
                    <a:pt x="60" y="79"/>
                  </a:lnTo>
                  <a:lnTo>
                    <a:pt x="74" y="108"/>
                  </a:lnTo>
                  <a:lnTo>
                    <a:pt x="56" y="137"/>
                  </a:lnTo>
                  <a:lnTo>
                    <a:pt x="23" y="147"/>
                  </a:lnTo>
                  <a:lnTo>
                    <a:pt x="4" y="97"/>
                  </a:lnTo>
                  <a:lnTo>
                    <a:pt x="0" y="62"/>
                  </a:lnTo>
                  <a:lnTo>
                    <a:pt x="4" y="64"/>
                  </a:lnTo>
                  <a:lnTo>
                    <a:pt x="8" y="37"/>
                  </a:lnTo>
                  <a:lnTo>
                    <a:pt x="12" y="11"/>
                  </a:lnTo>
                  <a:lnTo>
                    <a:pt x="14" y="8"/>
                  </a:lnTo>
                  <a:lnTo>
                    <a:pt x="6" y="0"/>
                  </a:lnTo>
                  <a:lnTo>
                    <a:pt x="18" y="6"/>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98" name="Google Shape;2198;g7826bb8c5e_0_4294"/>
            <p:cNvSpPr/>
            <p:nvPr/>
          </p:nvSpPr>
          <p:spPr>
            <a:xfrm>
              <a:off x="4709209" y="4151133"/>
              <a:ext cx="33054" cy="38229"/>
            </a:xfrm>
            <a:custGeom>
              <a:avLst/>
              <a:gdLst/>
              <a:ahLst/>
              <a:cxnLst/>
              <a:rect l="l" t="t" r="r" b="b"/>
              <a:pathLst>
                <a:path w="66" h="62" extrusionOk="0">
                  <a:moveTo>
                    <a:pt x="23" y="11"/>
                  </a:moveTo>
                  <a:lnTo>
                    <a:pt x="8" y="38"/>
                  </a:lnTo>
                  <a:lnTo>
                    <a:pt x="0" y="62"/>
                  </a:lnTo>
                  <a:lnTo>
                    <a:pt x="2" y="62"/>
                  </a:lnTo>
                  <a:lnTo>
                    <a:pt x="4" y="62"/>
                  </a:lnTo>
                  <a:lnTo>
                    <a:pt x="33" y="60"/>
                  </a:lnTo>
                  <a:lnTo>
                    <a:pt x="37" y="48"/>
                  </a:lnTo>
                  <a:lnTo>
                    <a:pt x="56" y="50"/>
                  </a:lnTo>
                  <a:lnTo>
                    <a:pt x="66" y="46"/>
                  </a:lnTo>
                  <a:lnTo>
                    <a:pt x="53" y="0"/>
                  </a:lnTo>
                  <a:lnTo>
                    <a:pt x="33" y="11"/>
                  </a:lnTo>
                  <a:lnTo>
                    <a:pt x="23" y="1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199" name="Google Shape;2199;g7826bb8c5e_0_4294"/>
            <p:cNvSpPr/>
            <p:nvPr/>
          </p:nvSpPr>
          <p:spPr>
            <a:xfrm>
              <a:off x="5491051" y="4082867"/>
              <a:ext cx="1271" cy="2730"/>
            </a:xfrm>
            <a:custGeom>
              <a:avLst/>
              <a:gdLst/>
              <a:ahLst/>
              <a:cxnLst/>
              <a:rect l="l" t="t" r="r" b="b"/>
              <a:pathLst>
                <a:path w="3" h="4" extrusionOk="0">
                  <a:moveTo>
                    <a:pt x="3" y="2"/>
                  </a:moveTo>
                  <a:lnTo>
                    <a:pt x="1" y="4"/>
                  </a:lnTo>
                  <a:lnTo>
                    <a:pt x="0" y="2"/>
                  </a:lnTo>
                  <a:lnTo>
                    <a:pt x="1" y="0"/>
                  </a:lnTo>
                  <a:lnTo>
                    <a:pt x="3" y="2"/>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00" name="Google Shape;2200;g7826bb8c5e_0_4294"/>
            <p:cNvSpPr/>
            <p:nvPr/>
          </p:nvSpPr>
          <p:spPr>
            <a:xfrm>
              <a:off x="5496136" y="4134748"/>
              <a:ext cx="1271" cy="4096"/>
            </a:xfrm>
            <a:custGeom>
              <a:avLst/>
              <a:gdLst/>
              <a:ahLst/>
              <a:cxnLst/>
              <a:rect l="l" t="t" r="r" b="b"/>
              <a:pathLst>
                <a:path w="4" h="3" extrusionOk="0">
                  <a:moveTo>
                    <a:pt x="0" y="0"/>
                  </a:moveTo>
                  <a:lnTo>
                    <a:pt x="4" y="2"/>
                  </a:lnTo>
                  <a:lnTo>
                    <a:pt x="2" y="3"/>
                  </a:lnTo>
                  <a:lnTo>
                    <a:pt x="0"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01" name="Google Shape;2201;g7826bb8c5e_0_4294"/>
            <p:cNvSpPr/>
            <p:nvPr/>
          </p:nvSpPr>
          <p:spPr>
            <a:xfrm>
              <a:off x="5492322" y="4123827"/>
              <a:ext cx="0" cy="2730"/>
            </a:xfrm>
            <a:custGeom>
              <a:avLst/>
              <a:gdLst/>
              <a:ahLst/>
              <a:cxnLst/>
              <a:rect l="l" t="t" r="r" b="b"/>
              <a:pathLst>
                <a:path w="2" h="4" extrusionOk="0">
                  <a:moveTo>
                    <a:pt x="0" y="0"/>
                  </a:moveTo>
                  <a:lnTo>
                    <a:pt x="0" y="4"/>
                  </a:lnTo>
                  <a:lnTo>
                    <a:pt x="0" y="2"/>
                  </a:lnTo>
                  <a:lnTo>
                    <a:pt x="0"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02" name="Google Shape;2202;g7826bb8c5e_0_4294"/>
            <p:cNvSpPr/>
            <p:nvPr/>
          </p:nvSpPr>
          <p:spPr>
            <a:xfrm>
              <a:off x="5483424" y="4141575"/>
              <a:ext cx="1271" cy="1364"/>
            </a:xfrm>
            <a:custGeom>
              <a:avLst/>
              <a:gdLst/>
              <a:ahLst/>
              <a:cxnLst/>
              <a:rect l="l" t="t" r="r" b="b"/>
              <a:pathLst>
                <a:path w="2" h="2" extrusionOk="0">
                  <a:moveTo>
                    <a:pt x="2" y="0"/>
                  </a:moveTo>
                  <a:lnTo>
                    <a:pt x="0" y="2"/>
                  </a:lnTo>
                  <a:lnTo>
                    <a:pt x="0" y="0"/>
                  </a:lnTo>
                  <a:lnTo>
                    <a:pt x="2"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03" name="Google Shape;2203;g7826bb8c5e_0_4294"/>
            <p:cNvSpPr/>
            <p:nvPr/>
          </p:nvSpPr>
          <p:spPr>
            <a:xfrm>
              <a:off x="5485966" y="4147037"/>
              <a:ext cx="2542" cy="1364"/>
            </a:xfrm>
            <a:custGeom>
              <a:avLst/>
              <a:gdLst/>
              <a:ahLst/>
              <a:cxnLst/>
              <a:rect l="l" t="t" r="r" b="b"/>
              <a:pathLst>
                <a:path w="2" h="4" extrusionOk="0">
                  <a:moveTo>
                    <a:pt x="2" y="4"/>
                  </a:moveTo>
                  <a:lnTo>
                    <a:pt x="2" y="0"/>
                  </a:lnTo>
                  <a:lnTo>
                    <a:pt x="0" y="2"/>
                  </a:lnTo>
                  <a:lnTo>
                    <a:pt x="2" y="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04" name="Google Shape;2204;g7826bb8c5e_0_4294"/>
            <p:cNvSpPr/>
            <p:nvPr/>
          </p:nvSpPr>
          <p:spPr>
            <a:xfrm>
              <a:off x="5485966" y="3995487"/>
              <a:ext cx="2542" cy="1366"/>
            </a:xfrm>
            <a:custGeom>
              <a:avLst/>
              <a:gdLst/>
              <a:ahLst/>
              <a:cxnLst/>
              <a:rect l="l" t="t" r="r" b="b"/>
              <a:pathLst>
                <a:path w="2" h="4" extrusionOk="0">
                  <a:moveTo>
                    <a:pt x="2" y="2"/>
                  </a:moveTo>
                  <a:lnTo>
                    <a:pt x="0" y="0"/>
                  </a:lnTo>
                  <a:lnTo>
                    <a:pt x="0" y="4"/>
                  </a:lnTo>
                  <a:lnTo>
                    <a:pt x="2" y="2"/>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05" name="Google Shape;2205;g7826bb8c5e_0_4294"/>
            <p:cNvSpPr/>
            <p:nvPr/>
          </p:nvSpPr>
          <p:spPr>
            <a:xfrm>
              <a:off x="5489780" y="4141575"/>
              <a:ext cx="1272" cy="4096"/>
            </a:xfrm>
            <a:custGeom>
              <a:avLst/>
              <a:gdLst/>
              <a:ahLst/>
              <a:cxnLst/>
              <a:rect l="l" t="t" r="r" b="b"/>
              <a:pathLst>
                <a:path w="2" h="4" extrusionOk="0">
                  <a:moveTo>
                    <a:pt x="0" y="4"/>
                  </a:moveTo>
                  <a:lnTo>
                    <a:pt x="2" y="0"/>
                  </a:lnTo>
                  <a:lnTo>
                    <a:pt x="0" y="0"/>
                  </a:lnTo>
                  <a:lnTo>
                    <a:pt x="0" y="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06" name="Google Shape;2206;g7826bb8c5e_0_4294"/>
            <p:cNvSpPr/>
            <p:nvPr/>
          </p:nvSpPr>
          <p:spPr>
            <a:xfrm>
              <a:off x="5496136" y="4077406"/>
              <a:ext cx="1271" cy="1366"/>
            </a:xfrm>
            <a:custGeom>
              <a:avLst/>
              <a:gdLst/>
              <a:ahLst/>
              <a:cxnLst/>
              <a:rect l="l" t="t" r="r" b="b"/>
              <a:pathLst>
                <a:path w="4" h="2" extrusionOk="0">
                  <a:moveTo>
                    <a:pt x="4" y="2"/>
                  </a:moveTo>
                  <a:lnTo>
                    <a:pt x="2" y="0"/>
                  </a:lnTo>
                  <a:lnTo>
                    <a:pt x="0" y="2"/>
                  </a:lnTo>
                  <a:lnTo>
                    <a:pt x="4" y="2"/>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07" name="Google Shape;2207;g7826bb8c5e_0_4294"/>
            <p:cNvSpPr/>
            <p:nvPr/>
          </p:nvSpPr>
          <p:spPr>
            <a:xfrm>
              <a:off x="5483424" y="3966817"/>
              <a:ext cx="0" cy="1364"/>
            </a:xfrm>
            <a:custGeom>
              <a:avLst/>
              <a:gdLst/>
              <a:ahLst/>
              <a:cxnLst/>
              <a:rect l="l" t="t" r="r" b="b"/>
              <a:pathLst>
                <a:path w="2" h="4" extrusionOk="0">
                  <a:moveTo>
                    <a:pt x="0" y="0"/>
                  </a:moveTo>
                  <a:lnTo>
                    <a:pt x="0" y="0"/>
                  </a:lnTo>
                  <a:lnTo>
                    <a:pt x="0" y="4"/>
                  </a:lnTo>
                  <a:lnTo>
                    <a:pt x="0"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08" name="Google Shape;2208;g7826bb8c5e_0_4294"/>
            <p:cNvSpPr/>
            <p:nvPr/>
          </p:nvSpPr>
          <p:spPr>
            <a:xfrm>
              <a:off x="5489780" y="4086963"/>
              <a:ext cx="0" cy="1364"/>
            </a:xfrm>
            <a:custGeom>
              <a:avLst/>
              <a:gdLst/>
              <a:ahLst/>
              <a:cxnLst/>
              <a:rect l="l" t="t" r="r" b="b"/>
              <a:pathLst>
                <a:path w="2" h="4" extrusionOk="0">
                  <a:moveTo>
                    <a:pt x="0" y="2"/>
                  </a:moveTo>
                  <a:lnTo>
                    <a:pt x="0" y="0"/>
                  </a:lnTo>
                  <a:lnTo>
                    <a:pt x="0" y="4"/>
                  </a:lnTo>
                  <a:lnTo>
                    <a:pt x="0" y="2"/>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09" name="Google Shape;2209;g7826bb8c5e_0_4294"/>
            <p:cNvSpPr/>
            <p:nvPr/>
          </p:nvSpPr>
          <p:spPr>
            <a:xfrm>
              <a:off x="5492322" y="4073310"/>
              <a:ext cx="1272" cy="1364"/>
            </a:xfrm>
            <a:custGeom>
              <a:avLst/>
              <a:gdLst/>
              <a:ahLst/>
              <a:cxnLst/>
              <a:rect l="l" t="t" r="r" b="b"/>
              <a:pathLst>
                <a:path w="2" h="2" extrusionOk="0">
                  <a:moveTo>
                    <a:pt x="2" y="2"/>
                  </a:moveTo>
                  <a:lnTo>
                    <a:pt x="0" y="0"/>
                  </a:lnTo>
                  <a:lnTo>
                    <a:pt x="0" y="2"/>
                  </a:lnTo>
                  <a:lnTo>
                    <a:pt x="2" y="2"/>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10" name="Google Shape;2210;g7826bb8c5e_0_4294"/>
            <p:cNvSpPr/>
            <p:nvPr/>
          </p:nvSpPr>
          <p:spPr>
            <a:xfrm>
              <a:off x="5489780" y="3995487"/>
              <a:ext cx="1272" cy="1366"/>
            </a:xfrm>
            <a:custGeom>
              <a:avLst/>
              <a:gdLst/>
              <a:ahLst/>
              <a:cxnLst/>
              <a:rect l="l" t="t" r="r" b="b"/>
              <a:pathLst>
                <a:path w="2" h="4" extrusionOk="0">
                  <a:moveTo>
                    <a:pt x="0" y="0"/>
                  </a:moveTo>
                  <a:lnTo>
                    <a:pt x="2" y="2"/>
                  </a:lnTo>
                  <a:lnTo>
                    <a:pt x="0" y="4"/>
                  </a:lnTo>
                  <a:lnTo>
                    <a:pt x="0"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11" name="Google Shape;2211;g7826bb8c5e_0_4294"/>
            <p:cNvSpPr/>
            <p:nvPr/>
          </p:nvSpPr>
          <p:spPr>
            <a:xfrm>
              <a:off x="5480882" y="3972279"/>
              <a:ext cx="2542" cy="1364"/>
            </a:xfrm>
            <a:custGeom>
              <a:avLst/>
              <a:gdLst/>
              <a:ahLst/>
              <a:cxnLst/>
              <a:rect l="l" t="t" r="r" b="b"/>
              <a:pathLst>
                <a:path w="6" h="2" extrusionOk="0">
                  <a:moveTo>
                    <a:pt x="6" y="2"/>
                  </a:moveTo>
                  <a:lnTo>
                    <a:pt x="4" y="0"/>
                  </a:lnTo>
                  <a:lnTo>
                    <a:pt x="0" y="2"/>
                  </a:lnTo>
                  <a:lnTo>
                    <a:pt x="6" y="2"/>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12" name="Google Shape;2212;g7826bb8c5e_0_4294"/>
            <p:cNvSpPr/>
            <p:nvPr/>
          </p:nvSpPr>
          <p:spPr>
            <a:xfrm>
              <a:off x="5475796" y="4063753"/>
              <a:ext cx="2542" cy="1366"/>
            </a:xfrm>
            <a:custGeom>
              <a:avLst/>
              <a:gdLst/>
              <a:ahLst/>
              <a:cxnLst/>
              <a:rect l="l" t="t" r="r" b="b"/>
              <a:pathLst>
                <a:path w="4" h="2" extrusionOk="0">
                  <a:moveTo>
                    <a:pt x="4" y="2"/>
                  </a:moveTo>
                  <a:lnTo>
                    <a:pt x="4" y="0"/>
                  </a:lnTo>
                  <a:lnTo>
                    <a:pt x="0" y="0"/>
                  </a:lnTo>
                  <a:lnTo>
                    <a:pt x="4" y="2"/>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13" name="Google Shape;2213;g7826bb8c5e_0_4294"/>
            <p:cNvSpPr/>
            <p:nvPr/>
          </p:nvSpPr>
          <p:spPr>
            <a:xfrm>
              <a:off x="5480882" y="3964085"/>
              <a:ext cx="0" cy="1364"/>
            </a:xfrm>
            <a:custGeom>
              <a:avLst/>
              <a:gdLst/>
              <a:ahLst/>
              <a:cxnLst/>
              <a:rect l="l" t="t" r="r" b="b"/>
              <a:pathLst>
                <a:path w="2" h="2" extrusionOk="0">
                  <a:moveTo>
                    <a:pt x="0" y="2"/>
                  </a:moveTo>
                  <a:lnTo>
                    <a:pt x="0" y="0"/>
                  </a:lnTo>
                  <a:lnTo>
                    <a:pt x="0" y="0"/>
                  </a:lnTo>
                  <a:lnTo>
                    <a:pt x="0" y="2"/>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14" name="Google Shape;2214;g7826bb8c5e_0_4294"/>
            <p:cNvSpPr/>
            <p:nvPr/>
          </p:nvSpPr>
          <p:spPr>
            <a:xfrm>
              <a:off x="5489780" y="4056927"/>
              <a:ext cx="1272" cy="1364"/>
            </a:xfrm>
            <a:custGeom>
              <a:avLst/>
              <a:gdLst/>
              <a:ahLst/>
              <a:cxnLst/>
              <a:rect l="l" t="t" r="r" b="b"/>
              <a:pathLst>
                <a:path w="2" h="2" extrusionOk="0">
                  <a:moveTo>
                    <a:pt x="0" y="2"/>
                  </a:moveTo>
                  <a:lnTo>
                    <a:pt x="2" y="0"/>
                  </a:lnTo>
                  <a:lnTo>
                    <a:pt x="0" y="0"/>
                  </a:lnTo>
                  <a:lnTo>
                    <a:pt x="0" y="2"/>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15" name="Google Shape;2215;g7826bb8c5e_0_4294"/>
            <p:cNvSpPr/>
            <p:nvPr/>
          </p:nvSpPr>
          <p:spPr>
            <a:xfrm>
              <a:off x="5492322" y="4112903"/>
              <a:ext cx="0" cy="2730"/>
            </a:xfrm>
            <a:custGeom>
              <a:avLst/>
              <a:gdLst/>
              <a:ahLst/>
              <a:cxnLst/>
              <a:rect l="l" t="t" r="r" b="b"/>
              <a:pathLst>
                <a:path w="2" h="4" extrusionOk="0">
                  <a:moveTo>
                    <a:pt x="0" y="0"/>
                  </a:moveTo>
                  <a:lnTo>
                    <a:pt x="0" y="4"/>
                  </a:lnTo>
                  <a:lnTo>
                    <a:pt x="0" y="4"/>
                  </a:lnTo>
                  <a:lnTo>
                    <a:pt x="0"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16" name="Google Shape;2216;g7826bb8c5e_0_4294"/>
            <p:cNvSpPr/>
            <p:nvPr/>
          </p:nvSpPr>
          <p:spPr>
            <a:xfrm>
              <a:off x="5480882" y="3966817"/>
              <a:ext cx="1271" cy="2730"/>
            </a:xfrm>
            <a:custGeom>
              <a:avLst/>
              <a:gdLst/>
              <a:ahLst/>
              <a:cxnLst/>
              <a:rect l="l" t="t" r="r" b="b"/>
              <a:pathLst>
                <a:path w="2" h="4" extrusionOk="0">
                  <a:moveTo>
                    <a:pt x="0" y="0"/>
                  </a:moveTo>
                  <a:lnTo>
                    <a:pt x="2" y="2"/>
                  </a:lnTo>
                  <a:lnTo>
                    <a:pt x="0" y="4"/>
                  </a:lnTo>
                  <a:lnTo>
                    <a:pt x="0"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17" name="Google Shape;2217;g7826bb8c5e_0_4294"/>
            <p:cNvSpPr/>
            <p:nvPr/>
          </p:nvSpPr>
          <p:spPr>
            <a:xfrm>
              <a:off x="5491051" y="4067848"/>
              <a:ext cx="1271" cy="2730"/>
            </a:xfrm>
            <a:custGeom>
              <a:avLst/>
              <a:gdLst/>
              <a:ahLst/>
              <a:cxnLst/>
              <a:rect l="l" t="t" r="r" b="b"/>
              <a:pathLst>
                <a:path w="1" h="4" extrusionOk="0">
                  <a:moveTo>
                    <a:pt x="1" y="0"/>
                  </a:moveTo>
                  <a:lnTo>
                    <a:pt x="0" y="4"/>
                  </a:lnTo>
                  <a:lnTo>
                    <a:pt x="0" y="0"/>
                  </a:lnTo>
                  <a:lnTo>
                    <a:pt x="1"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18" name="Google Shape;2218;g7826bb8c5e_0_4294"/>
            <p:cNvSpPr/>
            <p:nvPr/>
          </p:nvSpPr>
          <p:spPr>
            <a:xfrm>
              <a:off x="5489780" y="4021429"/>
              <a:ext cx="1272" cy="0"/>
            </a:xfrm>
            <a:custGeom>
              <a:avLst/>
              <a:gdLst/>
              <a:ahLst/>
              <a:cxnLst/>
              <a:rect l="l" t="t" r="r" b="b"/>
              <a:pathLst>
                <a:path w="2" h="1" extrusionOk="0">
                  <a:moveTo>
                    <a:pt x="2" y="0"/>
                  </a:moveTo>
                  <a:lnTo>
                    <a:pt x="2" y="0"/>
                  </a:lnTo>
                  <a:lnTo>
                    <a:pt x="0" y="0"/>
                  </a:lnTo>
                  <a:lnTo>
                    <a:pt x="2"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19" name="Google Shape;2219;g7826bb8c5e_0_4294"/>
            <p:cNvSpPr/>
            <p:nvPr/>
          </p:nvSpPr>
          <p:spPr>
            <a:xfrm>
              <a:off x="5169415" y="4233051"/>
              <a:ext cx="3814" cy="6827"/>
            </a:xfrm>
            <a:custGeom>
              <a:avLst/>
              <a:gdLst/>
              <a:ahLst/>
              <a:cxnLst/>
              <a:rect l="l" t="t" r="r" b="b"/>
              <a:pathLst>
                <a:path w="4" h="7" extrusionOk="0">
                  <a:moveTo>
                    <a:pt x="4" y="7"/>
                  </a:moveTo>
                  <a:lnTo>
                    <a:pt x="2" y="0"/>
                  </a:lnTo>
                  <a:lnTo>
                    <a:pt x="0" y="0"/>
                  </a:lnTo>
                  <a:lnTo>
                    <a:pt x="4" y="7"/>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20" name="Google Shape;2220;g7826bb8c5e_0_4294"/>
            <p:cNvSpPr/>
            <p:nvPr/>
          </p:nvSpPr>
          <p:spPr>
            <a:xfrm>
              <a:off x="5007962" y="4343642"/>
              <a:ext cx="3813" cy="1364"/>
            </a:xfrm>
            <a:custGeom>
              <a:avLst/>
              <a:gdLst/>
              <a:ahLst/>
              <a:cxnLst/>
              <a:rect l="l" t="t" r="r" b="b"/>
              <a:pathLst>
                <a:path w="10" h="2" extrusionOk="0">
                  <a:moveTo>
                    <a:pt x="10" y="0"/>
                  </a:moveTo>
                  <a:lnTo>
                    <a:pt x="8" y="0"/>
                  </a:lnTo>
                  <a:lnTo>
                    <a:pt x="0" y="2"/>
                  </a:lnTo>
                  <a:lnTo>
                    <a:pt x="10"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21" name="Google Shape;2221;g7826bb8c5e_0_4294"/>
            <p:cNvSpPr/>
            <p:nvPr/>
          </p:nvSpPr>
          <p:spPr>
            <a:xfrm>
              <a:off x="5062627" y="3521727"/>
              <a:ext cx="0" cy="6826"/>
            </a:xfrm>
            <a:custGeom>
              <a:avLst/>
              <a:gdLst/>
              <a:ahLst/>
              <a:cxnLst/>
              <a:rect l="l" t="t" r="r" b="b"/>
              <a:pathLst>
                <a:path w="2" h="10" extrusionOk="0">
                  <a:moveTo>
                    <a:pt x="0" y="0"/>
                  </a:moveTo>
                  <a:lnTo>
                    <a:pt x="0" y="10"/>
                  </a:lnTo>
                  <a:lnTo>
                    <a:pt x="0" y="4"/>
                  </a:lnTo>
                  <a:lnTo>
                    <a:pt x="0"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22" name="Google Shape;2222;g7826bb8c5e_0_4294"/>
            <p:cNvSpPr/>
            <p:nvPr/>
          </p:nvSpPr>
          <p:spPr>
            <a:xfrm>
              <a:off x="4438424" y="3583165"/>
              <a:ext cx="177980" cy="369997"/>
            </a:xfrm>
            <a:custGeom>
              <a:avLst/>
              <a:gdLst/>
              <a:ahLst/>
              <a:cxnLst/>
              <a:rect l="l" t="t" r="r" b="b"/>
              <a:pathLst>
                <a:path w="345" h="607" extrusionOk="0">
                  <a:moveTo>
                    <a:pt x="339" y="151"/>
                  </a:moveTo>
                  <a:lnTo>
                    <a:pt x="306" y="132"/>
                  </a:lnTo>
                  <a:lnTo>
                    <a:pt x="271" y="115"/>
                  </a:lnTo>
                  <a:lnTo>
                    <a:pt x="238" y="95"/>
                  </a:lnTo>
                  <a:lnTo>
                    <a:pt x="205" y="76"/>
                  </a:lnTo>
                  <a:lnTo>
                    <a:pt x="170" y="56"/>
                  </a:lnTo>
                  <a:lnTo>
                    <a:pt x="137" y="37"/>
                  </a:lnTo>
                  <a:lnTo>
                    <a:pt x="104" y="20"/>
                  </a:lnTo>
                  <a:lnTo>
                    <a:pt x="71" y="0"/>
                  </a:lnTo>
                  <a:lnTo>
                    <a:pt x="38" y="20"/>
                  </a:lnTo>
                  <a:lnTo>
                    <a:pt x="42" y="47"/>
                  </a:lnTo>
                  <a:lnTo>
                    <a:pt x="46" y="76"/>
                  </a:lnTo>
                  <a:lnTo>
                    <a:pt x="73" y="120"/>
                  </a:lnTo>
                  <a:lnTo>
                    <a:pt x="66" y="136"/>
                  </a:lnTo>
                  <a:lnTo>
                    <a:pt x="64" y="165"/>
                  </a:lnTo>
                  <a:lnTo>
                    <a:pt x="64" y="192"/>
                  </a:lnTo>
                  <a:lnTo>
                    <a:pt x="62" y="221"/>
                  </a:lnTo>
                  <a:lnTo>
                    <a:pt x="60" y="250"/>
                  </a:lnTo>
                  <a:lnTo>
                    <a:pt x="44" y="274"/>
                  </a:lnTo>
                  <a:lnTo>
                    <a:pt x="29" y="297"/>
                  </a:lnTo>
                  <a:lnTo>
                    <a:pt x="15" y="318"/>
                  </a:lnTo>
                  <a:lnTo>
                    <a:pt x="0" y="341"/>
                  </a:lnTo>
                  <a:lnTo>
                    <a:pt x="0" y="372"/>
                  </a:lnTo>
                  <a:lnTo>
                    <a:pt x="15" y="396"/>
                  </a:lnTo>
                  <a:lnTo>
                    <a:pt x="29" y="396"/>
                  </a:lnTo>
                  <a:lnTo>
                    <a:pt x="44" y="433"/>
                  </a:lnTo>
                  <a:lnTo>
                    <a:pt x="48" y="475"/>
                  </a:lnTo>
                  <a:lnTo>
                    <a:pt x="71" y="514"/>
                  </a:lnTo>
                  <a:lnTo>
                    <a:pt x="33" y="514"/>
                  </a:lnTo>
                  <a:lnTo>
                    <a:pt x="15" y="524"/>
                  </a:lnTo>
                  <a:lnTo>
                    <a:pt x="44" y="559"/>
                  </a:lnTo>
                  <a:lnTo>
                    <a:pt x="66" y="607"/>
                  </a:lnTo>
                  <a:lnTo>
                    <a:pt x="97" y="597"/>
                  </a:lnTo>
                  <a:lnTo>
                    <a:pt x="104" y="601"/>
                  </a:lnTo>
                  <a:lnTo>
                    <a:pt x="122" y="599"/>
                  </a:lnTo>
                  <a:lnTo>
                    <a:pt x="168" y="588"/>
                  </a:lnTo>
                  <a:lnTo>
                    <a:pt x="184" y="570"/>
                  </a:lnTo>
                  <a:lnTo>
                    <a:pt x="178" y="557"/>
                  </a:lnTo>
                  <a:lnTo>
                    <a:pt x="226" y="547"/>
                  </a:lnTo>
                  <a:lnTo>
                    <a:pt x="254" y="518"/>
                  </a:lnTo>
                  <a:lnTo>
                    <a:pt x="279" y="487"/>
                  </a:lnTo>
                  <a:lnTo>
                    <a:pt x="310" y="479"/>
                  </a:lnTo>
                  <a:lnTo>
                    <a:pt x="308" y="458"/>
                  </a:lnTo>
                  <a:lnTo>
                    <a:pt x="302" y="436"/>
                  </a:lnTo>
                  <a:lnTo>
                    <a:pt x="286" y="409"/>
                  </a:lnTo>
                  <a:lnTo>
                    <a:pt x="275" y="407"/>
                  </a:lnTo>
                  <a:lnTo>
                    <a:pt x="286" y="378"/>
                  </a:lnTo>
                  <a:lnTo>
                    <a:pt x="290" y="361"/>
                  </a:lnTo>
                  <a:lnTo>
                    <a:pt x="294" y="351"/>
                  </a:lnTo>
                  <a:lnTo>
                    <a:pt x="294" y="338"/>
                  </a:lnTo>
                  <a:lnTo>
                    <a:pt x="310" y="307"/>
                  </a:lnTo>
                  <a:lnTo>
                    <a:pt x="321" y="297"/>
                  </a:lnTo>
                  <a:lnTo>
                    <a:pt x="345" y="297"/>
                  </a:lnTo>
                  <a:lnTo>
                    <a:pt x="343" y="260"/>
                  </a:lnTo>
                  <a:lnTo>
                    <a:pt x="341" y="225"/>
                  </a:lnTo>
                  <a:lnTo>
                    <a:pt x="341" y="188"/>
                  </a:lnTo>
                  <a:lnTo>
                    <a:pt x="339" y="15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23" name="Google Shape;2223;g7826bb8c5e_0_4294"/>
            <p:cNvSpPr/>
            <p:nvPr/>
          </p:nvSpPr>
          <p:spPr>
            <a:xfrm>
              <a:off x="4930413" y="3835748"/>
              <a:ext cx="24154" cy="36863"/>
            </a:xfrm>
            <a:custGeom>
              <a:avLst/>
              <a:gdLst/>
              <a:ahLst/>
              <a:cxnLst/>
              <a:rect l="l" t="t" r="r" b="b"/>
              <a:pathLst>
                <a:path w="46" h="60" extrusionOk="0">
                  <a:moveTo>
                    <a:pt x="0" y="58"/>
                  </a:moveTo>
                  <a:lnTo>
                    <a:pt x="38" y="60"/>
                  </a:lnTo>
                  <a:lnTo>
                    <a:pt x="46" y="43"/>
                  </a:lnTo>
                  <a:lnTo>
                    <a:pt x="33" y="0"/>
                  </a:lnTo>
                  <a:lnTo>
                    <a:pt x="21" y="4"/>
                  </a:lnTo>
                  <a:lnTo>
                    <a:pt x="0" y="58"/>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24" name="Google Shape;2224;g7826bb8c5e_0_4294"/>
            <p:cNvSpPr/>
            <p:nvPr/>
          </p:nvSpPr>
          <p:spPr>
            <a:xfrm>
              <a:off x="4831253" y="3711504"/>
              <a:ext cx="116959" cy="132435"/>
            </a:xfrm>
            <a:custGeom>
              <a:avLst/>
              <a:gdLst/>
              <a:ahLst/>
              <a:cxnLst/>
              <a:rect l="l" t="t" r="r" b="b"/>
              <a:pathLst>
                <a:path w="221" h="217" extrusionOk="0">
                  <a:moveTo>
                    <a:pt x="0" y="166"/>
                  </a:moveTo>
                  <a:lnTo>
                    <a:pt x="3" y="137"/>
                  </a:lnTo>
                  <a:lnTo>
                    <a:pt x="7" y="85"/>
                  </a:lnTo>
                  <a:lnTo>
                    <a:pt x="21" y="36"/>
                  </a:lnTo>
                  <a:lnTo>
                    <a:pt x="42" y="21"/>
                  </a:lnTo>
                  <a:lnTo>
                    <a:pt x="62" y="3"/>
                  </a:lnTo>
                  <a:lnTo>
                    <a:pt x="67" y="0"/>
                  </a:lnTo>
                  <a:lnTo>
                    <a:pt x="77" y="27"/>
                  </a:lnTo>
                  <a:lnTo>
                    <a:pt x="87" y="54"/>
                  </a:lnTo>
                  <a:lnTo>
                    <a:pt x="98" y="81"/>
                  </a:lnTo>
                  <a:lnTo>
                    <a:pt x="108" y="108"/>
                  </a:lnTo>
                  <a:lnTo>
                    <a:pt x="110" y="98"/>
                  </a:lnTo>
                  <a:lnTo>
                    <a:pt x="120" y="104"/>
                  </a:lnTo>
                  <a:lnTo>
                    <a:pt x="147" y="124"/>
                  </a:lnTo>
                  <a:lnTo>
                    <a:pt x="184" y="161"/>
                  </a:lnTo>
                  <a:lnTo>
                    <a:pt x="221" y="197"/>
                  </a:lnTo>
                  <a:lnTo>
                    <a:pt x="221" y="203"/>
                  </a:lnTo>
                  <a:lnTo>
                    <a:pt x="219" y="205"/>
                  </a:lnTo>
                  <a:lnTo>
                    <a:pt x="207" y="209"/>
                  </a:lnTo>
                  <a:lnTo>
                    <a:pt x="190" y="217"/>
                  </a:lnTo>
                  <a:lnTo>
                    <a:pt x="188" y="209"/>
                  </a:lnTo>
                  <a:lnTo>
                    <a:pt x="158" y="197"/>
                  </a:lnTo>
                  <a:lnTo>
                    <a:pt x="139" y="176"/>
                  </a:lnTo>
                  <a:lnTo>
                    <a:pt x="127" y="162"/>
                  </a:lnTo>
                  <a:lnTo>
                    <a:pt x="106" y="153"/>
                  </a:lnTo>
                  <a:lnTo>
                    <a:pt x="89" y="147"/>
                  </a:lnTo>
                  <a:lnTo>
                    <a:pt x="67" y="151"/>
                  </a:lnTo>
                  <a:lnTo>
                    <a:pt x="50" y="131"/>
                  </a:lnTo>
                  <a:lnTo>
                    <a:pt x="46" y="164"/>
                  </a:lnTo>
                  <a:lnTo>
                    <a:pt x="31" y="151"/>
                  </a:lnTo>
                  <a:lnTo>
                    <a:pt x="17" y="168"/>
                  </a:lnTo>
                  <a:lnTo>
                    <a:pt x="0" y="166"/>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25" name="Google Shape;2225;g7826bb8c5e_0_4294"/>
            <p:cNvSpPr/>
            <p:nvPr/>
          </p:nvSpPr>
          <p:spPr>
            <a:xfrm>
              <a:off x="4776588" y="3792057"/>
              <a:ext cx="263156" cy="255311"/>
            </a:xfrm>
            <a:custGeom>
              <a:avLst/>
              <a:gdLst/>
              <a:ahLst/>
              <a:cxnLst/>
              <a:rect l="l" t="t" r="r" b="b"/>
              <a:pathLst>
                <a:path w="500" h="419" extrusionOk="0">
                  <a:moveTo>
                    <a:pt x="169" y="411"/>
                  </a:moveTo>
                  <a:lnTo>
                    <a:pt x="128" y="382"/>
                  </a:lnTo>
                  <a:lnTo>
                    <a:pt x="99" y="377"/>
                  </a:lnTo>
                  <a:lnTo>
                    <a:pt x="91" y="347"/>
                  </a:lnTo>
                  <a:lnTo>
                    <a:pt x="72" y="338"/>
                  </a:lnTo>
                  <a:lnTo>
                    <a:pt x="58" y="313"/>
                  </a:lnTo>
                  <a:lnTo>
                    <a:pt x="44" y="287"/>
                  </a:lnTo>
                  <a:lnTo>
                    <a:pt x="11" y="258"/>
                  </a:lnTo>
                  <a:lnTo>
                    <a:pt x="0" y="249"/>
                  </a:lnTo>
                  <a:lnTo>
                    <a:pt x="11" y="231"/>
                  </a:lnTo>
                  <a:lnTo>
                    <a:pt x="35" y="227"/>
                  </a:lnTo>
                  <a:lnTo>
                    <a:pt x="41" y="185"/>
                  </a:lnTo>
                  <a:lnTo>
                    <a:pt x="44" y="142"/>
                  </a:lnTo>
                  <a:lnTo>
                    <a:pt x="62" y="140"/>
                  </a:lnTo>
                  <a:lnTo>
                    <a:pt x="70" y="97"/>
                  </a:lnTo>
                  <a:lnTo>
                    <a:pt x="105" y="35"/>
                  </a:lnTo>
                  <a:lnTo>
                    <a:pt x="122" y="37"/>
                  </a:lnTo>
                  <a:lnTo>
                    <a:pt x="136" y="20"/>
                  </a:lnTo>
                  <a:lnTo>
                    <a:pt x="151" y="33"/>
                  </a:lnTo>
                  <a:lnTo>
                    <a:pt x="155" y="0"/>
                  </a:lnTo>
                  <a:lnTo>
                    <a:pt x="172" y="20"/>
                  </a:lnTo>
                  <a:lnTo>
                    <a:pt x="194" y="16"/>
                  </a:lnTo>
                  <a:lnTo>
                    <a:pt x="211" y="22"/>
                  </a:lnTo>
                  <a:lnTo>
                    <a:pt x="232" y="31"/>
                  </a:lnTo>
                  <a:lnTo>
                    <a:pt x="244" y="45"/>
                  </a:lnTo>
                  <a:lnTo>
                    <a:pt x="263" y="66"/>
                  </a:lnTo>
                  <a:lnTo>
                    <a:pt x="293" y="78"/>
                  </a:lnTo>
                  <a:lnTo>
                    <a:pt x="295" y="86"/>
                  </a:lnTo>
                  <a:lnTo>
                    <a:pt x="312" y="78"/>
                  </a:lnTo>
                  <a:lnTo>
                    <a:pt x="291" y="132"/>
                  </a:lnTo>
                  <a:lnTo>
                    <a:pt x="329" y="134"/>
                  </a:lnTo>
                  <a:lnTo>
                    <a:pt x="324" y="156"/>
                  </a:lnTo>
                  <a:lnTo>
                    <a:pt x="345" y="183"/>
                  </a:lnTo>
                  <a:lnTo>
                    <a:pt x="366" y="210"/>
                  </a:lnTo>
                  <a:lnTo>
                    <a:pt x="391" y="220"/>
                  </a:lnTo>
                  <a:lnTo>
                    <a:pt x="417" y="229"/>
                  </a:lnTo>
                  <a:lnTo>
                    <a:pt x="442" y="239"/>
                  </a:lnTo>
                  <a:lnTo>
                    <a:pt x="467" y="249"/>
                  </a:lnTo>
                  <a:lnTo>
                    <a:pt x="500" y="249"/>
                  </a:lnTo>
                  <a:lnTo>
                    <a:pt x="477" y="278"/>
                  </a:lnTo>
                  <a:lnTo>
                    <a:pt x="452" y="307"/>
                  </a:lnTo>
                  <a:lnTo>
                    <a:pt x="426" y="338"/>
                  </a:lnTo>
                  <a:lnTo>
                    <a:pt x="401" y="367"/>
                  </a:lnTo>
                  <a:lnTo>
                    <a:pt x="376" y="369"/>
                  </a:lnTo>
                  <a:lnTo>
                    <a:pt x="349" y="371"/>
                  </a:lnTo>
                  <a:lnTo>
                    <a:pt x="316" y="394"/>
                  </a:lnTo>
                  <a:lnTo>
                    <a:pt x="300" y="402"/>
                  </a:lnTo>
                  <a:lnTo>
                    <a:pt x="267" y="396"/>
                  </a:lnTo>
                  <a:lnTo>
                    <a:pt x="232" y="406"/>
                  </a:lnTo>
                  <a:lnTo>
                    <a:pt x="215" y="419"/>
                  </a:lnTo>
                  <a:lnTo>
                    <a:pt x="169" y="411"/>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26" name="Google Shape;2226;g7826bb8c5e_0_4294"/>
            <p:cNvSpPr/>
            <p:nvPr/>
          </p:nvSpPr>
          <p:spPr>
            <a:xfrm>
              <a:off x="4917701" y="3852131"/>
              <a:ext cx="177980" cy="314021"/>
            </a:xfrm>
            <a:custGeom>
              <a:avLst/>
              <a:gdLst/>
              <a:ahLst/>
              <a:cxnLst/>
              <a:rect l="l" t="t" r="r" b="b"/>
              <a:pathLst>
                <a:path w="338" h="518" extrusionOk="0">
                  <a:moveTo>
                    <a:pt x="326" y="70"/>
                  </a:moveTo>
                  <a:lnTo>
                    <a:pt x="316" y="113"/>
                  </a:lnTo>
                  <a:lnTo>
                    <a:pt x="293" y="157"/>
                  </a:lnTo>
                  <a:lnTo>
                    <a:pt x="272" y="204"/>
                  </a:lnTo>
                  <a:lnTo>
                    <a:pt x="248" y="248"/>
                  </a:lnTo>
                  <a:lnTo>
                    <a:pt x="225" y="295"/>
                  </a:lnTo>
                  <a:lnTo>
                    <a:pt x="206" y="316"/>
                  </a:lnTo>
                  <a:lnTo>
                    <a:pt x="186" y="336"/>
                  </a:lnTo>
                  <a:lnTo>
                    <a:pt x="165" y="357"/>
                  </a:lnTo>
                  <a:lnTo>
                    <a:pt x="146" y="378"/>
                  </a:lnTo>
                  <a:lnTo>
                    <a:pt x="122" y="402"/>
                  </a:lnTo>
                  <a:lnTo>
                    <a:pt x="99" y="425"/>
                  </a:lnTo>
                  <a:lnTo>
                    <a:pt x="76" y="448"/>
                  </a:lnTo>
                  <a:lnTo>
                    <a:pt x="51" y="471"/>
                  </a:lnTo>
                  <a:lnTo>
                    <a:pt x="35" y="495"/>
                  </a:lnTo>
                  <a:lnTo>
                    <a:pt x="20" y="518"/>
                  </a:lnTo>
                  <a:lnTo>
                    <a:pt x="2" y="487"/>
                  </a:lnTo>
                  <a:lnTo>
                    <a:pt x="2" y="452"/>
                  </a:lnTo>
                  <a:lnTo>
                    <a:pt x="2" y="417"/>
                  </a:lnTo>
                  <a:lnTo>
                    <a:pt x="0" y="382"/>
                  </a:lnTo>
                  <a:lnTo>
                    <a:pt x="0" y="345"/>
                  </a:lnTo>
                  <a:lnTo>
                    <a:pt x="16" y="324"/>
                  </a:lnTo>
                  <a:lnTo>
                    <a:pt x="31" y="303"/>
                  </a:lnTo>
                  <a:lnTo>
                    <a:pt x="47" y="295"/>
                  </a:lnTo>
                  <a:lnTo>
                    <a:pt x="80" y="272"/>
                  </a:lnTo>
                  <a:lnTo>
                    <a:pt x="107" y="270"/>
                  </a:lnTo>
                  <a:lnTo>
                    <a:pt x="132" y="268"/>
                  </a:lnTo>
                  <a:lnTo>
                    <a:pt x="157" y="239"/>
                  </a:lnTo>
                  <a:lnTo>
                    <a:pt x="183" y="208"/>
                  </a:lnTo>
                  <a:lnTo>
                    <a:pt x="208" y="179"/>
                  </a:lnTo>
                  <a:lnTo>
                    <a:pt x="231" y="150"/>
                  </a:lnTo>
                  <a:lnTo>
                    <a:pt x="198" y="150"/>
                  </a:lnTo>
                  <a:lnTo>
                    <a:pt x="173" y="140"/>
                  </a:lnTo>
                  <a:lnTo>
                    <a:pt x="148" y="130"/>
                  </a:lnTo>
                  <a:lnTo>
                    <a:pt x="122" y="121"/>
                  </a:lnTo>
                  <a:lnTo>
                    <a:pt x="97" y="111"/>
                  </a:lnTo>
                  <a:lnTo>
                    <a:pt x="76" y="84"/>
                  </a:lnTo>
                  <a:lnTo>
                    <a:pt x="55" y="57"/>
                  </a:lnTo>
                  <a:lnTo>
                    <a:pt x="60" y="35"/>
                  </a:lnTo>
                  <a:lnTo>
                    <a:pt x="68" y="18"/>
                  </a:lnTo>
                  <a:lnTo>
                    <a:pt x="89" y="37"/>
                  </a:lnTo>
                  <a:lnTo>
                    <a:pt x="111" y="57"/>
                  </a:lnTo>
                  <a:lnTo>
                    <a:pt x="153" y="41"/>
                  </a:lnTo>
                  <a:lnTo>
                    <a:pt x="184" y="45"/>
                  </a:lnTo>
                  <a:lnTo>
                    <a:pt x="215" y="29"/>
                  </a:lnTo>
                  <a:lnTo>
                    <a:pt x="262" y="20"/>
                  </a:lnTo>
                  <a:lnTo>
                    <a:pt x="309" y="10"/>
                  </a:lnTo>
                  <a:lnTo>
                    <a:pt x="326" y="0"/>
                  </a:lnTo>
                  <a:lnTo>
                    <a:pt x="336" y="10"/>
                  </a:lnTo>
                  <a:lnTo>
                    <a:pt x="334" y="57"/>
                  </a:lnTo>
                  <a:lnTo>
                    <a:pt x="338" y="58"/>
                  </a:lnTo>
                  <a:lnTo>
                    <a:pt x="326" y="7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27" name="Google Shape;2227;g7826bb8c5e_0_4294"/>
            <p:cNvSpPr/>
            <p:nvPr/>
          </p:nvSpPr>
          <p:spPr>
            <a:xfrm>
              <a:off x="4580810" y="3592724"/>
              <a:ext cx="284768" cy="454646"/>
            </a:xfrm>
            <a:custGeom>
              <a:avLst/>
              <a:gdLst/>
              <a:ahLst/>
              <a:cxnLst/>
              <a:rect l="l" t="t" r="r" b="b"/>
              <a:pathLst>
                <a:path w="545" h="748" extrusionOk="0">
                  <a:moveTo>
                    <a:pt x="64" y="137"/>
                  </a:moveTo>
                  <a:lnTo>
                    <a:pt x="64" y="118"/>
                  </a:lnTo>
                  <a:lnTo>
                    <a:pt x="97" y="118"/>
                  </a:lnTo>
                  <a:lnTo>
                    <a:pt x="95" y="81"/>
                  </a:lnTo>
                  <a:lnTo>
                    <a:pt x="93" y="42"/>
                  </a:lnTo>
                  <a:lnTo>
                    <a:pt x="118" y="42"/>
                  </a:lnTo>
                  <a:lnTo>
                    <a:pt x="145" y="42"/>
                  </a:lnTo>
                  <a:lnTo>
                    <a:pt x="170" y="42"/>
                  </a:lnTo>
                  <a:lnTo>
                    <a:pt x="196" y="42"/>
                  </a:lnTo>
                  <a:lnTo>
                    <a:pt x="223" y="42"/>
                  </a:lnTo>
                  <a:lnTo>
                    <a:pt x="248" y="42"/>
                  </a:lnTo>
                  <a:lnTo>
                    <a:pt x="273" y="42"/>
                  </a:lnTo>
                  <a:lnTo>
                    <a:pt x="300" y="42"/>
                  </a:lnTo>
                  <a:lnTo>
                    <a:pt x="304" y="35"/>
                  </a:lnTo>
                  <a:lnTo>
                    <a:pt x="306" y="42"/>
                  </a:lnTo>
                  <a:lnTo>
                    <a:pt x="347" y="48"/>
                  </a:lnTo>
                  <a:lnTo>
                    <a:pt x="388" y="52"/>
                  </a:lnTo>
                  <a:lnTo>
                    <a:pt x="395" y="35"/>
                  </a:lnTo>
                  <a:lnTo>
                    <a:pt x="413" y="33"/>
                  </a:lnTo>
                  <a:lnTo>
                    <a:pt x="419" y="9"/>
                  </a:lnTo>
                  <a:lnTo>
                    <a:pt x="428" y="13"/>
                  </a:lnTo>
                  <a:lnTo>
                    <a:pt x="440" y="0"/>
                  </a:lnTo>
                  <a:lnTo>
                    <a:pt x="463" y="25"/>
                  </a:lnTo>
                  <a:lnTo>
                    <a:pt x="484" y="48"/>
                  </a:lnTo>
                  <a:lnTo>
                    <a:pt x="496" y="75"/>
                  </a:lnTo>
                  <a:lnTo>
                    <a:pt x="504" y="122"/>
                  </a:lnTo>
                  <a:lnTo>
                    <a:pt x="514" y="166"/>
                  </a:lnTo>
                  <a:lnTo>
                    <a:pt x="545" y="199"/>
                  </a:lnTo>
                  <a:lnTo>
                    <a:pt x="525" y="217"/>
                  </a:lnTo>
                  <a:lnTo>
                    <a:pt x="504" y="232"/>
                  </a:lnTo>
                  <a:lnTo>
                    <a:pt x="490" y="281"/>
                  </a:lnTo>
                  <a:lnTo>
                    <a:pt x="486" y="333"/>
                  </a:lnTo>
                  <a:lnTo>
                    <a:pt x="483" y="362"/>
                  </a:lnTo>
                  <a:lnTo>
                    <a:pt x="448" y="424"/>
                  </a:lnTo>
                  <a:lnTo>
                    <a:pt x="440" y="467"/>
                  </a:lnTo>
                  <a:lnTo>
                    <a:pt x="422" y="469"/>
                  </a:lnTo>
                  <a:lnTo>
                    <a:pt x="419" y="512"/>
                  </a:lnTo>
                  <a:lnTo>
                    <a:pt x="413" y="554"/>
                  </a:lnTo>
                  <a:lnTo>
                    <a:pt x="389" y="558"/>
                  </a:lnTo>
                  <a:lnTo>
                    <a:pt x="378" y="576"/>
                  </a:lnTo>
                  <a:lnTo>
                    <a:pt x="389" y="585"/>
                  </a:lnTo>
                  <a:lnTo>
                    <a:pt x="422" y="614"/>
                  </a:lnTo>
                  <a:lnTo>
                    <a:pt x="436" y="640"/>
                  </a:lnTo>
                  <a:lnTo>
                    <a:pt x="450" y="665"/>
                  </a:lnTo>
                  <a:lnTo>
                    <a:pt x="469" y="674"/>
                  </a:lnTo>
                  <a:lnTo>
                    <a:pt x="477" y="704"/>
                  </a:lnTo>
                  <a:lnTo>
                    <a:pt x="452" y="704"/>
                  </a:lnTo>
                  <a:lnTo>
                    <a:pt x="424" y="704"/>
                  </a:lnTo>
                  <a:lnTo>
                    <a:pt x="413" y="719"/>
                  </a:lnTo>
                  <a:lnTo>
                    <a:pt x="397" y="737"/>
                  </a:lnTo>
                  <a:lnTo>
                    <a:pt x="358" y="737"/>
                  </a:lnTo>
                  <a:lnTo>
                    <a:pt x="343" y="742"/>
                  </a:lnTo>
                  <a:lnTo>
                    <a:pt x="335" y="738"/>
                  </a:lnTo>
                  <a:lnTo>
                    <a:pt x="310" y="740"/>
                  </a:lnTo>
                  <a:lnTo>
                    <a:pt x="308" y="748"/>
                  </a:lnTo>
                  <a:lnTo>
                    <a:pt x="285" y="725"/>
                  </a:lnTo>
                  <a:lnTo>
                    <a:pt x="260" y="702"/>
                  </a:lnTo>
                  <a:lnTo>
                    <a:pt x="246" y="711"/>
                  </a:lnTo>
                  <a:lnTo>
                    <a:pt x="229" y="713"/>
                  </a:lnTo>
                  <a:lnTo>
                    <a:pt x="201" y="698"/>
                  </a:lnTo>
                  <a:lnTo>
                    <a:pt x="192" y="690"/>
                  </a:lnTo>
                  <a:lnTo>
                    <a:pt x="188" y="676"/>
                  </a:lnTo>
                  <a:lnTo>
                    <a:pt x="169" y="651"/>
                  </a:lnTo>
                  <a:lnTo>
                    <a:pt x="155" y="632"/>
                  </a:lnTo>
                  <a:lnTo>
                    <a:pt x="126" y="603"/>
                  </a:lnTo>
                  <a:lnTo>
                    <a:pt x="118" y="587"/>
                  </a:lnTo>
                  <a:lnTo>
                    <a:pt x="89" y="566"/>
                  </a:lnTo>
                  <a:lnTo>
                    <a:pt x="83" y="554"/>
                  </a:lnTo>
                  <a:lnTo>
                    <a:pt x="58" y="548"/>
                  </a:lnTo>
                  <a:lnTo>
                    <a:pt x="64" y="512"/>
                  </a:lnTo>
                  <a:lnTo>
                    <a:pt x="50" y="488"/>
                  </a:lnTo>
                  <a:lnTo>
                    <a:pt x="35" y="465"/>
                  </a:lnTo>
                  <a:lnTo>
                    <a:pt x="33" y="444"/>
                  </a:lnTo>
                  <a:lnTo>
                    <a:pt x="27" y="422"/>
                  </a:lnTo>
                  <a:lnTo>
                    <a:pt x="11" y="395"/>
                  </a:lnTo>
                  <a:lnTo>
                    <a:pt x="0" y="393"/>
                  </a:lnTo>
                  <a:lnTo>
                    <a:pt x="11" y="364"/>
                  </a:lnTo>
                  <a:lnTo>
                    <a:pt x="15" y="347"/>
                  </a:lnTo>
                  <a:lnTo>
                    <a:pt x="19" y="337"/>
                  </a:lnTo>
                  <a:lnTo>
                    <a:pt x="19" y="324"/>
                  </a:lnTo>
                  <a:lnTo>
                    <a:pt x="35" y="293"/>
                  </a:lnTo>
                  <a:lnTo>
                    <a:pt x="46" y="283"/>
                  </a:lnTo>
                  <a:lnTo>
                    <a:pt x="70" y="283"/>
                  </a:lnTo>
                  <a:lnTo>
                    <a:pt x="68" y="246"/>
                  </a:lnTo>
                  <a:lnTo>
                    <a:pt x="66" y="211"/>
                  </a:lnTo>
                  <a:lnTo>
                    <a:pt x="66" y="174"/>
                  </a:lnTo>
                  <a:lnTo>
                    <a:pt x="64" y="137"/>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28" name="Google Shape;2228;g7826bb8c5e_0_4294"/>
            <p:cNvSpPr/>
            <p:nvPr/>
          </p:nvSpPr>
          <p:spPr>
            <a:xfrm>
              <a:off x="4710481" y="4181169"/>
              <a:ext cx="30511" cy="47787"/>
            </a:xfrm>
            <a:custGeom>
              <a:avLst/>
              <a:gdLst/>
              <a:ahLst/>
              <a:cxnLst/>
              <a:rect l="l" t="t" r="r" b="b"/>
              <a:pathLst>
                <a:path w="60" h="80" extrusionOk="0">
                  <a:moveTo>
                    <a:pt x="52" y="22"/>
                  </a:moveTo>
                  <a:lnTo>
                    <a:pt x="52" y="2"/>
                  </a:lnTo>
                  <a:lnTo>
                    <a:pt x="33" y="0"/>
                  </a:lnTo>
                  <a:lnTo>
                    <a:pt x="29" y="12"/>
                  </a:lnTo>
                  <a:lnTo>
                    <a:pt x="0" y="14"/>
                  </a:lnTo>
                  <a:lnTo>
                    <a:pt x="0" y="16"/>
                  </a:lnTo>
                  <a:lnTo>
                    <a:pt x="0" y="18"/>
                  </a:lnTo>
                  <a:lnTo>
                    <a:pt x="6" y="49"/>
                  </a:lnTo>
                  <a:lnTo>
                    <a:pt x="12" y="80"/>
                  </a:lnTo>
                  <a:lnTo>
                    <a:pt x="21" y="80"/>
                  </a:lnTo>
                  <a:lnTo>
                    <a:pt x="41" y="56"/>
                  </a:lnTo>
                  <a:lnTo>
                    <a:pt x="60" y="33"/>
                  </a:lnTo>
                  <a:lnTo>
                    <a:pt x="52" y="22"/>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29" name="Google Shape;2229;g7826bb8c5e_0_4294"/>
            <p:cNvSpPr/>
            <p:nvPr/>
          </p:nvSpPr>
          <p:spPr>
            <a:xfrm>
              <a:off x="4396472" y="4046004"/>
              <a:ext cx="130944" cy="196605"/>
            </a:xfrm>
            <a:custGeom>
              <a:avLst/>
              <a:gdLst/>
              <a:ahLst/>
              <a:cxnLst/>
              <a:rect l="l" t="t" r="r" b="b"/>
              <a:pathLst>
                <a:path w="252" h="326" extrusionOk="0">
                  <a:moveTo>
                    <a:pt x="47" y="229"/>
                  </a:moveTo>
                  <a:lnTo>
                    <a:pt x="16" y="231"/>
                  </a:lnTo>
                  <a:lnTo>
                    <a:pt x="18" y="243"/>
                  </a:lnTo>
                  <a:lnTo>
                    <a:pt x="21" y="252"/>
                  </a:lnTo>
                  <a:lnTo>
                    <a:pt x="27" y="268"/>
                  </a:lnTo>
                  <a:lnTo>
                    <a:pt x="21" y="276"/>
                  </a:lnTo>
                  <a:lnTo>
                    <a:pt x="12" y="270"/>
                  </a:lnTo>
                  <a:lnTo>
                    <a:pt x="0" y="287"/>
                  </a:lnTo>
                  <a:lnTo>
                    <a:pt x="29" y="326"/>
                  </a:lnTo>
                  <a:lnTo>
                    <a:pt x="52" y="307"/>
                  </a:lnTo>
                  <a:lnTo>
                    <a:pt x="66" y="312"/>
                  </a:lnTo>
                  <a:lnTo>
                    <a:pt x="83" y="318"/>
                  </a:lnTo>
                  <a:lnTo>
                    <a:pt x="91" y="307"/>
                  </a:lnTo>
                  <a:lnTo>
                    <a:pt x="113" y="305"/>
                  </a:lnTo>
                  <a:lnTo>
                    <a:pt x="116" y="322"/>
                  </a:lnTo>
                  <a:lnTo>
                    <a:pt x="142" y="297"/>
                  </a:lnTo>
                  <a:lnTo>
                    <a:pt x="167" y="272"/>
                  </a:lnTo>
                  <a:lnTo>
                    <a:pt x="171" y="243"/>
                  </a:lnTo>
                  <a:lnTo>
                    <a:pt x="177" y="214"/>
                  </a:lnTo>
                  <a:lnTo>
                    <a:pt x="200" y="183"/>
                  </a:lnTo>
                  <a:lnTo>
                    <a:pt x="223" y="152"/>
                  </a:lnTo>
                  <a:lnTo>
                    <a:pt x="227" y="122"/>
                  </a:lnTo>
                  <a:lnTo>
                    <a:pt x="233" y="93"/>
                  </a:lnTo>
                  <a:lnTo>
                    <a:pt x="237" y="64"/>
                  </a:lnTo>
                  <a:lnTo>
                    <a:pt x="242" y="37"/>
                  </a:lnTo>
                  <a:lnTo>
                    <a:pt x="252" y="4"/>
                  </a:lnTo>
                  <a:lnTo>
                    <a:pt x="225" y="2"/>
                  </a:lnTo>
                  <a:lnTo>
                    <a:pt x="200" y="0"/>
                  </a:lnTo>
                  <a:lnTo>
                    <a:pt x="180" y="12"/>
                  </a:lnTo>
                  <a:lnTo>
                    <a:pt x="171" y="51"/>
                  </a:lnTo>
                  <a:lnTo>
                    <a:pt x="163" y="68"/>
                  </a:lnTo>
                  <a:lnTo>
                    <a:pt x="134" y="62"/>
                  </a:lnTo>
                  <a:lnTo>
                    <a:pt x="107" y="55"/>
                  </a:lnTo>
                  <a:lnTo>
                    <a:pt x="72" y="53"/>
                  </a:lnTo>
                  <a:lnTo>
                    <a:pt x="70" y="89"/>
                  </a:lnTo>
                  <a:lnTo>
                    <a:pt x="107" y="86"/>
                  </a:lnTo>
                  <a:lnTo>
                    <a:pt x="109" y="113"/>
                  </a:lnTo>
                  <a:lnTo>
                    <a:pt x="93" y="134"/>
                  </a:lnTo>
                  <a:lnTo>
                    <a:pt x="113" y="167"/>
                  </a:lnTo>
                  <a:lnTo>
                    <a:pt x="105" y="219"/>
                  </a:lnTo>
                  <a:lnTo>
                    <a:pt x="93" y="229"/>
                  </a:lnTo>
                  <a:lnTo>
                    <a:pt x="87" y="219"/>
                  </a:lnTo>
                  <a:lnTo>
                    <a:pt x="68" y="227"/>
                  </a:lnTo>
                  <a:lnTo>
                    <a:pt x="49" y="206"/>
                  </a:lnTo>
                  <a:lnTo>
                    <a:pt x="47" y="229"/>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30" name="Google Shape;2230;g7826bb8c5e_0_4294"/>
            <p:cNvSpPr/>
            <p:nvPr/>
          </p:nvSpPr>
          <p:spPr>
            <a:xfrm>
              <a:off x="4795657" y="4020064"/>
              <a:ext cx="141113" cy="215718"/>
            </a:xfrm>
            <a:custGeom>
              <a:avLst/>
              <a:gdLst/>
              <a:ahLst/>
              <a:cxnLst/>
              <a:rect l="l" t="t" r="r" b="b"/>
              <a:pathLst>
                <a:path w="267" h="354" extrusionOk="0">
                  <a:moveTo>
                    <a:pt x="122" y="290"/>
                  </a:moveTo>
                  <a:lnTo>
                    <a:pt x="93" y="271"/>
                  </a:lnTo>
                  <a:lnTo>
                    <a:pt x="62" y="252"/>
                  </a:lnTo>
                  <a:lnTo>
                    <a:pt x="31" y="232"/>
                  </a:lnTo>
                  <a:lnTo>
                    <a:pt x="0" y="215"/>
                  </a:lnTo>
                  <a:lnTo>
                    <a:pt x="0" y="172"/>
                  </a:lnTo>
                  <a:lnTo>
                    <a:pt x="23" y="133"/>
                  </a:lnTo>
                  <a:lnTo>
                    <a:pt x="37" y="104"/>
                  </a:lnTo>
                  <a:lnTo>
                    <a:pt x="25" y="75"/>
                  </a:lnTo>
                  <a:lnTo>
                    <a:pt x="15" y="46"/>
                  </a:lnTo>
                  <a:lnTo>
                    <a:pt x="2" y="15"/>
                  </a:lnTo>
                  <a:lnTo>
                    <a:pt x="13" y="0"/>
                  </a:lnTo>
                  <a:lnTo>
                    <a:pt x="41" y="0"/>
                  </a:lnTo>
                  <a:lnTo>
                    <a:pt x="66" y="0"/>
                  </a:lnTo>
                  <a:lnTo>
                    <a:pt x="95" y="5"/>
                  </a:lnTo>
                  <a:lnTo>
                    <a:pt x="136" y="34"/>
                  </a:lnTo>
                  <a:lnTo>
                    <a:pt x="182" y="42"/>
                  </a:lnTo>
                  <a:lnTo>
                    <a:pt x="199" y="29"/>
                  </a:lnTo>
                  <a:lnTo>
                    <a:pt x="234" y="19"/>
                  </a:lnTo>
                  <a:lnTo>
                    <a:pt x="267" y="25"/>
                  </a:lnTo>
                  <a:lnTo>
                    <a:pt x="252" y="46"/>
                  </a:lnTo>
                  <a:lnTo>
                    <a:pt x="236" y="67"/>
                  </a:lnTo>
                  <a:lnTo>
                    <a:pt x="236" y="104"/>
                  </a:lnTo>
                  <a:lnTo>
                    <a:pt x="238" y="139"/>
                  </a:lnTo>
                  <a:lnTo>
                    <a:pt x="238" y="174"/>
                  </a:lnTo>
                  <a:lnTo>
                    <a:pt x="238" y="209"/>
                  </a:lnTo>
                  <a:lnTo>
                    <a:pt x="256" y="240"/>
                  </a:lnTo>
                  <a:lnTo>
                    <a:pt x="236" y="250"/>
                  </a:lnTo>
                  <a:lnTo>
                    <a:pt x="225" y="273"/>
                  </a:lnTo>
                  <a:lnTo>
                    <a:pt x="209" y="287"/>
                  </a:lnTo>
                  <a:lnTo>
                    <a:pt x="194" y="319"/>
                  </a:lnTo>
                  <a:lnTo>
                    <a:pt x="180" y="352"/>
                  </a:lnTo>
                  <a:lnTo>
                    <a:pt x="176" y="354"/>
                  </a:lnTo>
                  <a:lnTo>
                    <a:pt x="151" y="329"/>
                  </a:lnTo>
                  <a:lnTo>
                    <a:pt x="126" y="304"/>
                  </a:lnTo>
                  <a:lnTo>
                    <a:pt x="122" y="290"/>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31" name="Google Shape;2231;g7826bb8c5e_0_4294"/>
            <p:cNvSpPr/>
            <p:nvPr/>
          </p:nvSpPr>
          <p:spPr>
            <a:xfrm>
              <a:off x="4245188" y="3809806"/>
              <a:ext cx="208491" cy="215718"/>
            </a:xfrm>
            <a:custGeom>
              <a:avLst/>
              <a:gdLst/>
              <a:ahLst/>
              <a:cxnLst/>
              <a:rect l="l" t="t" r="r" b="b"/>
              <a:pathLst>
                <a:path w="397" h="358" extrusionOk="0">
                  <a:moveTo>
                    <a:pt x="264" y="255"/>
                  </a:moveTo>
                  <a:lnTo>
                    <a:pt x="239" y="265"/>
                  </a:lnTo>
                  <a:lnTo>
                    <a:pt x="223" y="286"/>
                  </a:lnTo>
                  <a:lnTo>
                    <a:pt x="208" y="308"/>
                  </a:lnTo>
                  <a:lnTo>
                    <a:pt x="198" y="339"/>
                  </a:lnTo>
                  <a:lnTo>
                    <a:pt x="186" y="339"/>
                  </a:lnTo>
                  <a:lnTo>
                    <a:pt x="188" y="350"/>
                  </a:lnTo>
                  <a:lnTo>
                    <a:pt x="155" y="350"/>
                  </a:lnTo>
                  <a:lnTo>
                    <a:pt x="149" y="347"/>
                  </a:lnTo>
                  <a:lnTo>
                    <a:pt x="145" y="349"/>
                  </a:lnTo>
                  <a:lnTo>
                    <a:pt x="140" y="354"/>
                  </a:lnTo>
                  <a:lnTo>
                    <a:pt x="136" y="341"/>
                  </a:lnTo>
                  <a:lnTo>
                    <a:pt x="134" y="358"/>
                  </a:lnTo>
                  <a:lnTo>
                    <a:pt x="134" y="350"/>
                  </a:lnTo>
                  <a:lnTo>
                    <a:pt x="130" y="352"/>
                  </a:lnTo>
                  <a:lnTo>
                    <a:pt x="120" y="354"/>
                  </a:lnTo>
                  <a:lnTo>
                    <a:pt x="105" y="356"/>
                  </a:lnTo>
                  <a:lnTo>
                    <a:pt x="91" y="319"/>
                  </a:lnTo>
                  <a:lnTo>
                    <a:pt x="93" y="316"/>
                  </a:lnTo>
                  <a:lnTo>
                    <a:pt x="87" y="310"/>
                  </a:lnTo>
                  <a:lnTo>
                    <a:pt x="89" y="310"/>
                  </a:lnTo>
                  <a:lnTo>
                    <a:pt x="82" y="302"/>
                  </a:lnTo>
                  <a:lnTo>
                    <a:pt x="47" y="279"/>
                  </a:lnTo>
                  <a:lnTo>
                    <a:pt x="27" y="277"/>
                  </a:lnTo>
                  <a:lnTo>
                    <a:pt x="33" y="271"/>
                  </a:lnTo>
                  <a:lnTo>
                    <a:pt x="0" y="281"/>
                  </a:lnTo>
                  <a:lnTo>
                    <a:pt x="4" y="228"/>
                  </a:lnTo>
                  <a:lnTo>
                    <a:pt x="6" y="178"/>
                  </a:lnTo>
                  <a:lnTo>
                    <a:pt x="31" y="135"/>
                  </a:lnTo>
                  <a:lnTo>
                    <a:pt x="33" y="100"/>
                  </a:lnTo>
                  <a:lnTo>
                    <a:pt x="27" y="79"/>
                  </a:lnTo>
                  <a:lnTo>
                    <a:pt x="29" y="79"/>
                  </a:lnTo>
                  <a:lnTo>
                    <a:pt x="31" y="62"/>
                  </a:lnTo>
                  <a:lnTo>
                    <a:pt x="41" y="38"/>
                  </a:lnTo>
                  <a:lnTo>
                    <a:pt x="47" y="9"/>
                  </a:lnTo>
                  <a:lnTo>
                    <a:pt x="80" y="0"/>
                  </a:lnTo>
                  <a:lnTo>
                    <a:pt x="113" y="3"/>
                  </a:lnTo>
                  <a:lnTo>
                    <a:pt x="136" y="25"/>
                  </a:lnTo>
                  <a:lnTo>
                    <a:pt x="169" y="15"/>
                  </a:lnTo>
                  <a:lnTo>
                    <a:pt x="194" y="25"/>
                  </a:lnTo>
                  <a:lnTo>
                    <a:pt x="219" y="34"/>
                  </a:lnTo>
                  <a:lnTo>
                    <a:pt x="258" y="17"/>
                  </a:lnTo>
                  <a:lnTo>
                    <a:pt x="293" y="19"/>
                  </a:lnTo>
                  <a:lnTo>
                    <a:pt x="326" y="23"/>
                  </a:lnTo>
                  <a:lnTo>
                    <a:pt x="363" y="1"/>
                  </a:lnTo>
                  <a:lnTo>
                    <a:pt x="378" y="25"/>
                  </a:lnTo>
                  <a:lnTo>
                    <a:pt x="384" y="54"/>
                  </a:lnTo>
                  <a:lnTo>
                    <a:pt x="397" y="67"/>
                  </a:lnTo>
                  <a:lnTo>
                    <a:pt x="390" y="89"/>
                  </a:lnTo>
                  <a:lnTo>
                    <a:pt x="366" y="110"/>
                  </a:lnTo>
                  <a:lnTo>
                    <a:pt x="355" y="137"/>
                  </a:lnTo>
                  <a:lnTo>
                    <a:pt x="343" y="164"/>
                  </a:lnTo>
                  <a:lnTo>
                    <a:pt x="330" y="195"/>
                  </a:lnTo>
                  <a:lnTo>
                    <a:pt x="318" y="215"/>
                  </a:lnTo>
                  <a:lnTo>
                    <a:pt x="304" y="248"/>
                  </a:lnTo>
                  <a:lnTo>
                    <a:pt x="283" y="279"/>
                  </a:lnTo>
                  <a:lnTo>
                    <a:pt x="264" y="255"/>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32" name="Google Shape;2232;g7826bb8c5e_0_4294"/>
            <p:cNvSpPr/>
            <p:nvPr/>
          </p:nvSpPr>
          <p:spPr>
            <a:xfrm>
              <a:off x="4214678" y="3842574"/>
              <a:ext cx="50852" cy="140626"/>
            </a:xfrm>
            <a:custGeom>
              <a:avLst/>
              <a:gdLst/>
              <a:ahLst/>
              <a:cxnLst/>
              <a:rect l="l" t="t" r="r" b="b"/>
              <a:pathLst>
                <a:path w="97" h="232" extrusionOk="0">
                  <a:moveTo>
                    <a:pt x="6" y="50"/>
                  </a:moveTo>
                  <a:lnTo>
                    <a:pt x="4" y="50"/>
                  </a:lnTo>
                  <a:lnTo>
                    <a:pt x="0" y="66"/>
                  </a:lnTo>
                  <a:lnTo>
                    <a:pt x="18" y="89"/>
                  </a:lnTo>
                  <a:lnTo>
                    <a:pt x="23" y="118"/>
                  </a:lnTo>
                  <a:lnTo>
                    <a:pt x="23" y="147"/>
                  </a:lnTo>
                  <a:lnTo>
                    <a:pt x="25" y="176"/>
                  </a:lnTo>
                  <a:lnTo>
                    <a:pt x="27" y="203"/>
                  </a:lnTo>
                  <a:lnTo>
                    <a:pt x="27" y="232"/>
                  </a:lnTo>
                  <a:lnTo>
                    <a:pt x="64" y="227"/>
                  </a:lnTo>
                  <a:lnTo>
                    <a:pt x="68" y="174"/>
                  </a:lnTo>
                  <a:lnTo>
                    <a:pt x="70" y="124"/>
                  </a:lnTo>
                  <a:lnTo>
                    <a:pt x="95" y="81"/>
                  </a:lnTo>
                  <a:lnTo>
                    <a:pt x="97" y="46"/>
                  </a:lnTo>
                  <a:lnTo>
                    <a:pt x="91" y="25"/>
                  </a:lnTo>
                  <a:lnTo>
                    <a:pt x="93" y="25"/>
                  </a:lnTo>
                  <a:lnTo>
                    <a:pt x="64" y="0"/>
                  </a:lnTo>
                  <a:lnTo>
                    <a:pt x="54" y="11"/>
                  </a:lnTo>
                  <a:lnTo>
                    <a:pt x="52" y="17"/>
                  </a:lnTo>
                  <a:lnTo>
                    <a:pt x="52" y="21"/>
                  </a:lnTo>
                  <a:lnTo>
                    <a:pt x="27" y="37"/>
                  </a:lnTo>
                  <a:lnTo>
                    <a:pt x="6" y="5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33" name="Google Shape;2233;g7826bb8c5e_0_4294"/>
            <p:cNvSpPr/>
            <p:nvPr/>
          </p:nvSpPr>
          <p:spPr>
            <a:xfrm>
              <a:off x="4104075" y="3778404"/>
              <a:ext cx="138571" cy="128339"/>
            </a:xfrm>
            <a:custGeom>
              <a:avLst/>
              <a:gdLst/>
              <a:ahLst/>
              <a:cxnLst/>
              <a:rect l="l" t="t" r="r" b="b"/>
              <a:pathLst>
                <a:path w="263" h="213" extrusionOk="0">
                  <a:moveTo>
                    <a:pt x="217" y="155"/>
                  </a:moveTo>
                  <a:lnTo>
                    <a:pt x="205" y="155"/>
                  </a:lnTo>
                  <a:lnTo>
                    <a:pt x="178" y="149"/>
                  </a:lnTo>
                  <a:lnTo>
                    <a:pt x="170" y="153"/>
                  </a:lnTo>
                  <a:lnTo>
                    <a:pt x="130" y="153"/>
                  </a:lnTo>
                  <a:lnTo>
                    <a:pt x="89" y="155"/>
                  </a:lnTo>
                  <a:lnTo>
                    <a:pt x="91" y="184"/>
                  </a:lnTo>
                  <a:lnTo>
                    <a:pt x="95" y="213"/>
                  </a:lnTo>
                  <a:lnTo>
                    <a:pt x="64" y="196"/>
                  </a:lnTo>
                  <a:lnTo>
                    <a:pt x="33" y="206"/>
                  </a:lnTo>
                  <a:lnTo>
                    <a:pt x="13" y="182"/>
                  </a:lnTo>
                  <a:lnTo>
                    <a:pt x="0" y="177"/>
                  </a:lnTo>
                  <a:lnTo>
                    <a:pt x="8" y="126"/>
                  </a:lnTo>
                  <a:lnTo>
                    <a:pt x="17" y="118"/>
                  </a:lnTo>
                  <a:lnTo>
                    <a:pt x="37" y="101"/>
                  </a:lnTo>
                  <a:lnTo>
                    <a:pt x="42" y="85"/>
                  </a:lnTo>
                  <a:lnTo>
                    <a:pt x="48" y="64"/>
                  </a:lnTo>
                  <a:lnTo>
                    <a:pt x="70" y="72"/>
                  </a:lnTo>
                  <a:lnTo>
                    <a:pt x="75" y="58"/>
                  </a:lnTo>
                  <a:lnTo>
                    <a:pt x="81" y="54"/>
                  </a:lnTo>
                  <a:lnTo>
                    <a:pt x="95" y="37"/>
                  </a:lnTo>
                  <a:lnTo>
                    <a:pt x="114" y="35"/>
                  </a:lnTo>
                  <a:lnTo>
                    <a:pt x="118" y="21"/>
                  </a:lnTo>
                  <a:lnTo>
                    <a:pt x="161" y="0"/>
                  </a:lnTo>
                  <a:lnTo>
                    <a:pt x="192" y="4"/>
                  </a:lnTo>
                  <a:lnTo>
                    <a:pt x="196" y="37"/>
                  </a:lnTo>
                  <a:lnTo>
                    <a:pt x="223" y="64"/>
                  </a:lnTo>
                  <a:lnTo>
                    <a:pt x="217" y="66"/>
                  </a:lnTo>
                  <a:lnTo>
                    <a:pt x="217" y="78"/>
                  </a:lnTo>
                  <a:lnTo>
                    <a:pt x="236" y="93"/>
                  </a:lnTo>
                  <a:lnTo>
                    <a:pt x="248" y="91"/>
                  </a:lnTo>
                  <a:lnTo>
                    <a:pt x="256" y="103"/>
                  </a:lnTo>
                  <a:lnTo>
                    <a:pt x="263" y="120"/>
                  </a:lnTo>
                  <a:lnTo>
                    <a:pt x="263" y="122"/>
                  </a:lnTo>
                  <a:lnTo>
                    <a:pt x="263" y="126"/>
                  </a:lnTo>
                  <a:lnTo>
                    <a:pt x="238" y="142"/>
                  </a:lnTo>
                  <a:lnTo>
                    <a:pt x="217" y="155"/>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34" name="Google Shape;2234;g7826bb8c5e_0_4294"/>
            <p:cNvSpPr/>
            <p:nvPr/>
          </p:nvSpPr>
          <p:spPr>
            <a:xfrm>
              <a:off x="4348163" y="3824825"/>
              <a:ext cx="136028" cy="262138"/>
            </a:xfrm>
            <a:custGeom>
              <a:avLst/>
              <a:gdLst/>
              <a:ahLst/>
              <a:cxnLst/>
              <a:rect l="l" t="t" r="r" b="b"/>
              <a:pathLst>
                <a:path w="260" h="430" extrusionOk="0">
                  <a:moveTo>
                    <a:pt x="240" y="118"/>
                  </a:moveTo>
                  <a:lnTo>
                    <a:pt x="202" y="118"/>
                  </a:lnTo>
                  <a:lnTo>
                    <a:pt x="184" y="128"/>
                  </a:lnTo>
                  <a:lnTo>
                    <a:pt x="213" y="163"/>
                  </a:lnTo>
                  <a:lnTo>
                    <a:pt x="235" y="211"/>
                  </a:lnTo>
                  <a:lnTo>
                    <a:pt x="217" y="242"/>
                  </a:lnTo>
                  <a:lnTo>
                    <a:pt x="202" y="273"/>
                  </a:lnTo>
                  <a:lnTo>
                    <a:pt x="211" y="325"/>
                  </a:lnTo>
                  <a:lnTo>
                    <a:pt x="231" y="353"/>
                  </a:lnTo>
                  <a:lnTo>
                    <a:pt x="248" y="380"/>
                  </a:lnTo>
                  <a:lnTo>
                    <a:pt x="260" y="413"/>
                  </a:lnTo>
                  <a:lnTo>
                    <a:pt x="252" y="430"/>
                  </a:lnTo>
                  <a:lnTo>
                    <a:pt x="223" y="424"/>
                  </a:lnTo>
                  <a:lnTo>
                    <a:pt x="196" y="417"/>
                  </a:lnTo>
                  <a:lnTo>
                    <a:pt x="161" y="415"/>
                  </a:lnTo>
                  <a:lnTo>
                    <a:pt x="128" y="415"/>
                  </a:lnTo>
                  <a:lnTo>
                    <a:pt x="95" y="415"/>
                  </a:lnTo>
                  <a:lnTo>
                    <a:pt x="70" y="413"/>
                  </a:lnTo>
                  <a:lnTo>
                    <a:pt x="45" y="409"/>
                  </a:lnTo>
                  <a:lnTo>
                    <a:pt x="45" y="368"/>
                  </a:lnTo>
                  <a:lnTo>
                    <a:pt x="41" y="351"/>
                  </a:lnTo>
                  <a:lnTo>
                    <a:pt x="39" y="345"/>
                  </a:lnTo>
                  <a:lnTo>
                    <a:pt x="15" y="343"/>
                  </a:lnTo>
                  <a:lnTo>
                    <a:pt x="6" y="320"/>
                  </a:lnTo>
                  <a:lnTo>
                    <a:pt x="0" y="322"/>
                  </a:lnTo>
                  <a:lnTo>
                    <a:pt x="4" y="314"/>
                  </a:lnTo>
                  <a:lnTo>
                    <a:pt x="14" y="283"/>
                  </a:lnTo>
                  <a:lnTo>
                    <a:pt x="29" y="261"/>
                  </a:lnTo>
                  <a:lnTo>
                    <a:pt x="45" y="240"/>
                  </a:lnTo>
                  <a:lnTo>
                    <a:pt x="70" y="230"/>
                  </a:lnTo>
                  <a:lnTo>
                    <a:pt x="89" y="254"/>
                  </a:lnTo>
                  <a:lnTo>
                    <a:pt x="110" y="223"/>
                  </a:lnTo>
                  <a:lnTo>
                    <a:pt x="124" y="190"/>
                  </a:lnTo>
                  <a:lnTo>
                    <a:pt x="136" y="170"/>
                  </a:lnTo>
                  <a:lnTo>
                    <a:pt x="149" y="139"/>
                  </a:lnTo>
                  <a:lnTo>
                    <a:pt x="161" y="112"/>
                  </a:lnTo>
                  <a:lnTo>
                    <a:pt x="172" y="85"/>
                  </a:lnTo>
                  <a:lnTo>
                    <a:pt x="196" y="64"/>
                  </a:lnTo>
                  <a:lnTo>
                    <a:pt x="203" y="42"/>
                  </a:lnTo>
                  <a:lnTo>
                    <a:pt x="190" y="29"/>
                  </a:lnTo>
                  <a:lnTo>
                    <a:pt x="184" y="0"/>
                  </a:lnTo>
                  <a:lnTo>
                    <a:pt x="198" y="0"/>
                  </a:lnTo>
                  <a:lnTo>
                    <a:pt x="213" y="37"/>
                  </a:lnTo>
                  <a:lnTo>
                    <a:pt x="217" y="79"/>
                  </a:lnTo>
                  <a:lnTo>
                    <a:pt x="240" y="118"/>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35" name="Google Shape;2235;g7826bb8c5e_0_4294"/>
            <p:cNvSpPr/>
            <p:nvPr/>
          </p:nvSpPr>
          <p:spPr>
            <a:xfrm>
              <a:off x="4454951" y="3875341"/>
              <a:ext cx="226289" cy="200700"/>
            </a:xfrm>
            <a:custGeom>
              <a:avLst/>
              <a:gdLst/>
              <a:ahLst/>
              <a:cxnLst/>
              <a:rect l="l" t="t" r="r" b="b"/>
              <a:pathLst>
                <a:path w="434" h="330" extrusionOk="0">
                  <a:moveTo>
                    <a:pt x="151" y="91"/>
                  </a:moveTo>
                  <a:lnTo>
                    <a:pt x="145" y="78"/>
                  </a:lnTo>
                  <a:lnTo>
                    <a:pt x="193" y="68"/>
                  </a:lnTo>
                  <a:lnTo>
                    <a:pt x="221" y="39"/>
                  </a:lnTo>
                  <a:lnTo>
                    <a:pt x="246" y="8"/>
                  </a:lnTo>
                  <a:lnTo>
                    <a:pt x="277" y="0"/>
                  </a:lnTo>
                  <a:lnTo>
                    <a:pt x="292" y="23"/>
                  </a:lnTo>
                  <a:lnTo>
                    <a:pt x="306" y="47"/>
                  </a:lnTo>
                  <a:lnTo>
                    <a:pt x="300" y="83"/>
                  </a:lnTo>
                  <a:lnTo>
                    <a:pt x="325" y="89"/>
                  </a:lnTo>
                  <a:lnTo>
                    <a:pt x="331" y="101"/>
                  </a:lnTo>
                  <a:lnTo>
                    <a:pt x="360" y="122"/>
                  </a:lnTo>
                  <a:lnTo>
                    <a:pt x="368" y="138"/>
                  </a:lnTo>
                  <a:lnTo>
                    <a:pt x="397" y="167"/>
                  </a:lnTo>
                  <a:lnTo>
                    <a:pt x="411" y="186"/>
                  </a:lnTo>
                  <a:lnTo>
                    <a:pt x="430" y="211"/>
                  </a:lnTo>
                  <a:lnTo>
                    <a:pt x="434" y="225"/>
                  </a:lnTo>
                  <a:lnTo>
                    <a:pt x="416" y="219"/>
                  </a:lnTo>
                  <a:lnTo>
                    <a:pt x="391" y="217"/>
                  </a:lnTo>
                  <a:lnTo>
                    <a:pt x="364" y="213"/>
                  </a:lnTo>
                  <a:lnTo>
                    <a:pt x="352" y="225"/>
                  </a:lnTo>
                  <a:lnTo>
                    <a:pt x="327" y="225"/>
                  </a:lnTo>
                  <a:lnTo>
                    <a:pt x="292" y="237"/>
                  </a:lnTo>
                  <a:lnTo>
                    <a:pt x="279" y="235"/>
                  </a:lnTo>
                  <a:lnTo>
                    <a:pt x="263" y="258"/>
                  </a:lnTo>
                  <a:lnTo>
                    <a:pt x="230" y="248"/>
                  </a:lnTo>
                  <a:lnTo>
                    <a:pt x="199" y="239"/>
                  </a:lnTo>
                  <a:lnTo>
                    <a:pt x="164" y="219"/>
                  </a:lnTo>
                  <a:lnTo>
                    <a:pt x="137" y="254"/>
                  </a:lnTo>
                  <a:lnTo>
                    <a:pt x="139" y="283"/>
                  </a:lnTo>
                  <a:lnTo>
                    <a:pt x="112" y="281"/>
                  </a:lnTo>
                  <a:lnTo>
                    <a:pt x="87" y="279"/>
                  </a:lnTo>
                  <a:lnTo>
                    <a:pt x="67" y="291"/>
                  </a:lnTo>
                  <a:lnTo>
                    <a:pt x="58" y="330"/>
                  </a:lnTo>
                  <a:lnTo>
                    <a:pt x="46" y="297"/>
                  </a:lnTo>
                  <a:lnTo>
                    <a:pt x="29" y="270"/>
                  </a:lnTo>
                  <a:lnTo>
                    <a:pt x="9" y="242"/>
                  </a:lnTo>
                  <a:lnTo>
                    <a:pt x="0" y="190"/>
                  </a:lnTo>
                  <a:lnTo>
                    <a:pt x="15" y="159"/>
                  </a:lnTo>
                  <a:lnTo>
                    <a:pt x="33" y="128"/>
                  </a:lnTo>
                  <a:lnTo>
                    <a:pt x="64" y="118"/>
                  </a:lnTo>
                  <a:lnTo>
                    <a:pt x="71" y="122"/>
                  </a:lnTo>
                  <a:lnTo>
                    <a:pt x="89" y="120"/>
                  </a:lnTo>
                  <a:lnTo>
                    <a:pt x="135" y="109"/>
                  </a:lnTo>
                  <a:lnTo>
                    <a:pt x="151" y="9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36" name="Google Shape;2236;g7826bb8c5e_0_4294"/>
            <p:cNvSpPr/>
            <p:nvPr/>
          </p:nvSpPr>
          <p:spPr>
            <a:xfrm>
              <a:off x="3908297" y="3808442"/>
              <a:ext cx="50852" cy="16383"/>
            </a:xfrm>
            <a:custGeom>
              <a:avLst/>
              <a:gdLst/>
              <a:ahLst/>
              <a:cxnLst/>
              <a:rect l="l" t="t" r="r" b="b"/>
              <a:pathLst>
                <a:path w="97" h="29" extrusionOk="0">
                  <a:moveTo>
                    <a:pt x="4" y="11"/>
                  </a:moveTo>
                  <a:lnTo>
                    <a:pt x="0" y="29"/>
                  </a:lnTo>
                  <a:lnTo>
                    <a:pt x="25" y="19"/>
                  </a:lnTo>
                  <a:lnTo>
                    <a:pt x="52" y="9"/>
                  </a:lnTo>
                  <a:lnTo>
                    <a:pt x="97" y="19"/>
                  </a:lnTo>
                  <a:lnTo>
                    <a:pt x="87" y="9"/>
                  </a:lnTo>
                  <a:lnTo>
                    <a:pt x="46" y="0"/>
                  </a:lnTo>
                  <a:lnTo>
                    <a:pt x="42" y="7"/>
                  </a:lnTo>
                  <a:lnTo>
                    <a:pt x="6" y="7"/>
                  </a:lnTo>
                  <a:lnTo>
                    <a:pt x="6" y="11"/>
                  </a:lnTo>
                  <a:lnTo>
                    <a:pt x="37" y="11"/>
                  </a:lnTo>
                  <a:lnTo>
                    <a:pt x="19" y="21"/>
                  </a:lnTo>
                  <a:lnTo>
                    <a:pt x="4" y="1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37" name="Google Shape;2237;g7826bb8c5e_0_4294"/>
            <p:cNvSpPr/>
            <p:nvPr/>
          </p:nvSpPr>
          <p:spPr>
            <a:xfrm>
              <a:off x="4143486" y="3868516"/>
              <a:ext cx="77548" cy="147452"/>
            </a:xfrm>
            <a:custGeom>
              <a:avLst/>
              <a:gdLst/>
              <a:ahLst/>
              <a:cxnLst/>
              <a:rect l="l" t="t" r="r" b="b"/>
              <a:pathLst>
                <a:path w="150" h="243" extrusionOk="0">
                  <a:moveTo>
                    <a:pt x="132" y="206"/>
                  </a:moveTo>
                  <a:lnTo>
                    <a:pt x="107" y="216"/>
                  </a:lnTo>
                  <a:lnTo>
                    <a:pt x="84" y="223"/>
                  </a:lnTo>
                  <a:lnTo>
                    <a:pt x="61" y="233"/>
                  </a:lnTo>
                  <a:lnTo>
                    <a:pt x="35" y="243"/>
                  </a:lnTo>
                  <a:lnTo>
                    <a:pt x="4" y="231"/>
                  </a:lnTo>
                  <a:lnTo>
                    <a:pt x="16" y="223"/>
                  </a:lnTo>
                  <a:lnTo>
                    <a:pt x="8" y="194"/>
                  </a:lnTo>
                  <a:lnTo>
                    <a:pt x="0" y="165"/>
                  </a:lnTo>
                  <a:lnTo>
                    <a:pt x="14" y="140"/>
                  </a:lnTo>
                  <a:lnTo>
                    <a:pt x="26" y="113"/>
                  </a:lnTo>
                  <a:lnTo>
                    <a:pt x="20" y="64"/>
                  </a:lnTo>
                  <a:lnTo>
                    <a:pt x="16" y="35"/>
                  </a:lnTo>
                  <a:lnTo>
                    <a:pt x="14" y="6"/>
                  </a:lnTo>
                  <a:lnTo>
                    <a:pt x="55" y="4"/>
                  </a:lnTo>
                  <a:lnTo>
                    <a:pt x="95" y="4"/>
                  </a:lnTo>
                  <a:lnTo>
                    <a:pt x="103" y="0"/>
                  </a:lnTo>
                  <a:lnTo>
                    <a:pt x="109" y="14"/>
                  </a:lnTo>
                  <a:lnTo>
                    <a:pt x="123" y="47"/>
                  </a:lnTo>
                  <a:lnTo>
                    <a:pt x="121" y="64"/>
                  </a:lnTo>
                  <a:lnTo>
                    <a:pt x="125" y="90"/>
                  </a:lnTo>
                  <a:lnTo>
                    <a:pt x="128" y="115"/>
                  </a:lnTo>
                  <a:lnTo>
                    <a:pt x="130" y="144"/>
                  </a:lnTo>
                  <a:lnTo>
                    <a:pt x="132" y="175"/>
                  </a:lnTo>
                  <a:lnTo>
                    <a:pt x="150" y="192"/>
                  </a:lnTo>
                  <a:lnTo>
                    <a:pt x="132" y="206"/>
                  </a:lnTo>
                  <a:lnTo>
                    <a:pt x="119" y="196"/>
                  </a:lnTo>
                  <a:lnTo>
                    <a:pt x="132" y="206"/>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238" name="Google Shape;2238;g7826bb8c5e_0_4294"/>
            <p:cNvSpPr/>
            <p:nvPr/>
          </p:nvSpPr>
          <p:spPr>
            <a:xfrm>
              <a:off x="3937537" y="3834382"/>
              <a:ext cx="127129" cy="124243"/>
            </a:xfrm>
            <a:custGeom>
              <a:avLst/>
              <a:gdLst/>
              <a:ahLst/>
              <a:cxnLst/>
              <a:rect l="l" t="t" r="r" b="b"/>
              <a:pathLst>
                <a:path w="242" h="206" extrusionOk="0">
                  <a:moveTo>
                    <a:pt x="219" y="49"/>
                  </a:moveTo>
                  <a:lnTo>
                    <a:pt x="215" y="60"/>
                  </a:lnTo>
                  <a:lnTo>
                    <a:pt x="219" y="62"/>
                  </a:lnTo>
                  <a:lnTo>
                    <a:pt x="236" y="95"/>
                  </a:lnTo>
                  <a:lnTo>
                    <a:pt x="233" y="124"/>
                  </a:lnTo>
                  <a:lnTo>
                    <a:pt x="236" y="132"/>
                  </a:lnTo>
                  <a:lnTo>
                    <a:pt x="238" y="140"/>
                  </a:lnTo>
                  <a:lnTo>
                    <a:pt x="242" y="153"/>
                  </a:lnTo>
                  <a:lnTo>
                    <a:pt x="240" y="161"/>
                  </a:lnTo>
                  <a:lnTo>
                    <a:pt x="227" y="163"/>
                  </a:lnTo>
                  <a:lnTo>
                    <a:pt x="233" y="181"/>
                  </a:lnTo>
                  <a:lnTo>
                    <a:pt x="221" y="194"/>
                  </a:lnTo>
                  <a:lnTo>
                    <a:pt x="219" y="194"/>
                  </a:lnTo>
                  <a:lnTo>
                    <a:pt x="209" y="196"/>
                  </a:lnTo>
                  <a:lnTo>
                    <a:pt x="194" y="206"/>
                  </a:lnTo>
                  <a:lnTo>
                    <a:pt x="186" y="198"/>
                  </a:lnTo>
                  <a:lnTo>
                    <a:pt x="176" y="159"/>
                  </a:lnTo>
                  <a:lnTo>
                    <a:pt x="159" y="159"/>
                  </a:lnTo>
                  <a:lnTo>
                    <a:pt x="145" y="163"/>
                  </a:lnTo>
                  <a:lnTo>
                    <a:pt x="147" y="138"/>
                  </a:lnTo>
                  <a:lnTo>
                    <a:pt x="126" y="103"/>
                  </a:lnTo>
                  <a:lnTo>
                    <a:pt x="81" y="115"/>
                  </a:lnTo>
                  <a:lnTo>
                    <a:pt x="56" y="140"/>
                  </a:lnTo>
                  <a:lnTo>
                    <a:pt x="54" y="128"/>
                  </a:lnTo>
                  <a:lnTo>
                    <a:pt x="46" y="117"/>
                  </a:lnTo>
                  <a:lnTo>
                    <a:pt x="41" y="109"/>
                  </a:lnTo>
                  <a:lnTo>
                    <a:pt x="31" y="99"/>
                  </a:lnTo>
                  <a:lnTo>
                    <a:pt x="14" y="80"/>
                  </a:lnTo>
                  <a:lnTo>
                    <a:pt x="14" y="72"/>
                  </a:lnTo>
                  <a:lnTo>
                    <a:pt x="10" y="74"/>
                  </a:lnTo>
                  <a:lnTo>
                    <a:pt x="8" y="64"/>
                  </a:lnTo>
                  <a:lnTo>
                    <a:pt x="0" y="68"/>
                  </a:lnTo>
                  <a:lnTo>
                    <a:pt x="0" y="66"/>
                  </a:lnTo>
                  <a:lnTo>
                    <a:pt x="8" y="51"/>
                  </a:lnTo>
                  <a:lnTo>
                    <a:pt x="39" y="39"/>
                  </a:lnTo>
                  <a:lnTo>
                    <a:pt x="41" y="18"/>
                  </a:lnTo>
                  <a:lnTo>
                    <a:pt x="45" y="0"/>
                  </a:lnTo>
                  <a:lnTo>
                    <a:pt x="74" y="8"/>
                  </a:lnTo>
                  <a:lnTo>
                    <a:pt x="122" y="12"/>
                  </a:lnTo>
                  <a:lnTo>
                    <a:pt x="118" y="20"/>
                  </a:lnTo>
                  <a:lnTo>
                    <a:pt x="140" y="22"/>
                  </a:lnTo>
                  <a:lnTo>
                    <a:pt x="149" y="25"/>
                  </a:lnTo>
                  <a:lnTo>
                    <a:pt x="169" y="22"/>
                  </a:lnTo>
                  <a:lnTo>
                    <a:pt x="192" y="14"/>
                  </a:lnTo>
                  <a:lnTo>
                    <a:pt x="196" y="8"/>
                  </a:lnTo>
                  <a:lnTo>
                    <a:pt x="207" y="39"/>
                  </a:lnTo>
                  <a:lnTo>
                    <a:pt x="219" y="49"/>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39" name="Google Shape;2239;g7826bb8c5e_0_4294"/>
            <p:cNvSpPr/>
            <p:nvPr/>
          </p:nvSpPr>
          <p:spPr>
            <a:xfrm>
              <a:off x="3908297" y="3834382"/>
              <a:ext cx="53394" cy="40959"/>
            </a:xfrm>
            <a:custGeom>
              <a:avLst/>
              <a:gdLst/>
              <a:ahLst/>
              <a:cxnLst/>
              <a:rect l="l" t="t" r="r" b="b"/>
              <a:pathLst>
                <a:path w="101" h="66" extrusionOk="0">
                  <a:moveTo>
                    <a:pt x="50" y="41"/>
                  </a:moveTo>
                  <a:lnTo>
                    <a:pt x="46" y="51"/>
                  </a:lnTo>
                  <a:lnTo>
                    <a:pt x="52" y="60"/>
                  </a:lnTo>
                  <a:lnTo>
                    <a:pt x="56" y="66"/>
                  </a:lnTo>
                  <a:lnTo>
                    <a:pt x="64" y="51"/>
                  </a:lnTo>
                  <a:lnTo>
                    <a:pt x="95" y="39"/>
                  </a:lnTo>
                  <a:lnTo>
                    <a:pt x="97" y="18"/>
                  </a:lnTo>
                  <a:lnTo>
                    <a:pt x="101" y="0"/>
                  </a:lnTo>
                  <a:lnTo>
                    <a:pt x="71" y="2"/>
                  </a:lnTo>
                  <a:lnTo>
                    <a:pt x="44" y="6"/>
                  </a:lnTo>
                  <a:lnTo>
                    <a:pt x="0" y="14"/>
                  </a:lnTo>
                  <a:lnTo>
                    <a:pt x="17" y="16"/>
                  </a:lnTo>
                  <a:lnTo>
                    <a:pt x="11" y="22"/>
                  </a:lnTo>
                  <a:lnTo>
                    <a:pt x="29" y="25"/>
                  </a:lnTo>
                  <a:lnTo>
                    <a:pt x="27" y="31"/>
                  </a:lnTo>
                  <a:lnTo>
                    <a:pt x="50" y="29"/>
                  </a:lnTo>
                  <a:lnTo>
                    <a:pt x="56" y="35"/>
                  </a:lnTo>
                  <a:lnTo>
                    <a:pt x="38" y="37"/>
                  </a:lnTo>
                  <a:lnTo>
                    <a:pt x="50" y="4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40" name="Google Shape;2240;g7826bb8c5e_0_4294"/>
            <p:cNvSpPr/>
            <p:nvPr/>
          </p:nvSpPr>
          <p:spPr>
            <a:xfrm>
              <a:off x="4053225" y="3879437"/>
              <a:ext cx="104246" cy="146086"/>
            </a:xfrm>
            <a:custGeom>
              <a:avLst/>
              <a:gdLst/>
              <a:ahLst/>
              <a:cxnLst/>
              <a:rect l="l" t="t" r="r" b="b"/>
              <a:pathLst>
                <a:path w="200" h="242" extrusionOk="0">
                  <a:moveTo>
                    <a:pt x="112" y="15"/>
                  </a:moveTo>
                  <a:lnTo>
                    <a:pt x="99" y="10"/>
                  </a:lnTo>
                  <a:lnTo>
                    <a:pt x="76" y="13"/>
                  </a:lnTo>
                  <a:lnTo>
                    <a:pt x="72" y="0"/>
                  </a:lnTo>
                  <a:lnTo>
                    <a:pt x="60" y="10"/>
                  </a:lnTo>
                  <a:lnTo>
                    <a:pt x="45" y="17"/>
                  </a:lnTo>
                  <a:lnTo>
                    <a:pt x="25" y="13"/>
                  </a:lnTo>
                  <a:lnTo>
                    <a:pt x="17" y="19"/>
                  </a:lnTo>
                  <a:lnTo>
                    <a:pt x="14" y="48"/>
                  </a:lnTo>
                  <a:lnTo>
                    <a:pt x="17" y="56"/>
                  </a:lnTo>
                  <a:lnTo>
                    <a:pt x="19" y="64"/>
                  </a:lnTo>
                  <a:lnTo>
                    <a:pt x="23" y="77"/>
                  </a:lnTo>
                  <a:lnTo>
                    <a:pt x="21" y="85"/>
                  </a:lnTo>
                  <a:lnTo>
                    <a:pt x="8" y="87"/>
                  </a:lnTo>
                  <a:lnTo>
                    <a:pt x="14" y="105"/>
                  </a:lnTo>
                  <a:lnTo>
                    <a:pt x="2" y="118"/>
                  </a:lnTo>
                  <a:lnTo>
                    <a:pt x="0" y="118"/>
                  </a:lnTo>
                  <a:lnTo>
                    <a:pt x="0" y="153"/>
                  </a:lnTo>
                  <a:lnTo>
                    <a:pt x="0" y="161"/>
                  </a:lnTo>
                  <a:lnTo>
                    <a:pt x="21" y="180"/>
                  </a:lnTo>
                  <a:lnTo>
                    <a:pt x="35" y="196"/>
                  </a:lnTo>
                  <a:lnTo>
                    <a:pt x="31" y="242"/>
                  </a:lnTo>
                  <a:lnTo>
                    <a:pt x="74" y="227"/>
                  </a:lnTo>
                  <a:lnTo>
                    <a:pt x="114" y="211"/>
                  </a:lnTo>
                  <a:lnTo>
                    <a:pt x="107" y="211"/>
                  </a:lnTo>
                  <a:lnTo>
                    <a:pt x="149" y="207"/>
                  </a:lnTo>
                  <a:lnTo>
                    <a:pt x="126" y="209"/>
                  </a:lnTo>
                  <a:lnTo>
                    <a:pt x="153" y="207"/>
                  </a:lnTo>
                  <a:lnTo>
                    <a:pt x="174" y="207"/>
                  </a:lnTo>
                  <a:lnTo>
                    <a:pt x="178" y="213"/>
                  </a:lnTo>
                  <a:lnTo>
                    <a:pt x="190" y="205"/>
                  </a:lnTo>
                  <a:lnTo>
                    <a:pt x="182" y="176"/>
                  </a:lnTo>
                  <a:lnTo>
                    <a:pt x="174" y="147"/>
                  </a:lnTo>
                  <a:lnTo>
                    <a:pt x="188" y="122"/>
                  </a:lnTo>
                  <a:lnTo>
                    <a:pt x="200" y="95"/>
                  </a:lnTo>
                  <a:lnTo>
                    <a:pt x="194" y="46"/>
                  </a:lnTo>
                  <a:lnTo>
                    <a:pt x="163" y="29"/>
                  </a:lnTo>
                  <a:lnTo>
                    <a:pt x="132" y="39"/>
                  </a:lnTo>
                  <a:lnTo>
                    <a:pt x="112" y="15"/>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41" name="Google Shape;2241;g7826bb8c5e_0_4294"/>
            <p:cNvSpPr/>
            <p:nvPr/>
          </p:nvSpPr>
          <p:spPr>
            <a:xfrm>
              <a:off x="3968048" y="3894456"/>
              <a:ext cx="53394" cy="72361"/>
            </a:xfrm>
            <a:custGeom>
              <a:avLst/>
              <a:gdLst/>
              <a:ahLst/>
              <a:cxnLst/>
              <a:rect l="l" t="t" r="r" b="b"/>
              <a:pathLst>
                <a:path w="103" h="116" extrusionOk="0">
                  <a:moveTo>
                    <a:pt x="103" y="56"/>
                  </a:moveTo>
                  <a:lnTo>
                    <a:pt x="87" y="81"/>
                  </a:lnTo>
                  <a:lnTo>
                    <a:pt x="72" y="105"/>
                  </a:lnTo>
                  <a:lnTo>
                    <a:pt x="60" y="116"/>
                  </a:lnTo>
                  <a:lnTo>
                    <a:pt x="27" y="99"/>
                  </a:lnTo>
                  <a:lnTo>
                    <a:pt x="33" y="93"/>
                  </a:lnTo>
                  <a:lnTo>
                    <a:pt x="25" y="87"/>
                  </a:lnTo>
                  <a:lnTo>
                    <a:pt x="4" y="62"/>
                  </a:lnTo>
                  <a:lnTo>
                    <a:pt x="14" y="54"/>
                  </a:lnTo>
                  <a:lnTo>
                    <a:pt x="2" y="50"/>
                  </a:lnTo>
                  <a:lnTo>
                    <a:pt x="12" y="43"/>
                  </a:lnTo>
                  <a:lnTo>
                    <a:pt x="0" y="37"/>
                  </a:lnTo>
                  <a:lnTo>
                    <a:pt x="25" y="12"/>
                  </a:lnTo>
                  <a:lnTo>
                    <a:pt x="70" y="0"/>
                  </a:lnTo>
                  <a:lnTo>
                    <a:pt x="91" y="35"/>
                  </a:lnTo>
                  <a:lnTo>
                    <a:pt x="89" y="60"/>
                  </a:lnTo>
                  <a:lnTo>
                    <a:pt x="103" y="56"/>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42" name="Google Shape;2242;g7826bb8c5e_0_4294"/>
            <p:cNvSpPr/>
            <p:nvPr/>
          </p:nvSpPr>
          <p:spPr>
            <a:xfrm>
              <a:off x="4196880" y="3868516"/>
              <a:ext cx="31782" cy="117416"/>
            </a:xfrm>
            <a:custGeom>
              <a:avLst/>
              <a:gdLst/>
              <a:ahLst/>
              <a:cxnLst/>
              <a:rect l="l" t="t" r="r" b="b"/>
              <a:pathLst>
                <a:path w="60" h="192" extrusionOk="0">
                  <a:moveTo>
                    <a:pt x="27" y="6"/>
                  </a:moveTo>
                  <a:lnTo>
                    <a:pt x="0" y="0"/>
                  </a:lnTo>
                  <a:lnTo>
                    <a:pt x="6" y="14"/>
                  </a:lnTo>
                  <a:lnTo>
                    <a:pt x="20" y="47"/>
                  </a:lnTo>
                  <a:lnTo>
                    <a:pt x="18" y="64"/>
                  </a:lnTo>
                  <a:lnTo>
                    <a:pt x="22" y="90"/>
                  </a:lnTo>
                  <a:lnTo>
                    <a:pt x="25" y="115"/>
                  </a:lnTo>
                  <a:lnTo>
                    <a:pt x="27" y="144"/>
                  </a:lnTo>
                  <a:lnTo>
                    <a:pt x="29" y="175"/>
                  </a:lnTo>
                  <a:lnTo>
                    <a:pt x="47" y="192"/>
                  </a:lnTo>
                  <a:lnTo>
                    <a:pt x="60" y="188"/>
                  </a:lnTo>
                  <a:lnTo>
                    <a:pt x="60" y="159"/>
                  </a:lnTo>
                  <a:lnTo>
                    <a:pt x="58" y="132"/>
                  </a:lnTo>
                  <a:lnTo>
                    <a:pt x="56" y="103"/>
                  </a:lnTo>
                  <a:lnTo>
                    <a:pt x="56" y="74"/>
                  </a:lnTo>
                  <a:lnTo>
                    <a:pt x="51" y="45"/>
                  </a:lnTo>
                  <a:lnTo>
                    <a:pt x="33" y="22"/>
                  </a:lnTo>
                  <a:lnTo>
                    <a:pt x="37" y="6"/>
                  </a:lnTo>
                  <a:lnTo>
                    <a:pt x="27" y="6"/>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43" name="Google Shape;2243;g7826bb8c5e_0_4294"/>
            <p:cNvSpPr/>
            <p:nvPr/>
          </p:nvSpPr>
          <p:spPr>
            <a:xfrm>
              <a:off x="4053225" y="3273242"/>
              <a:ext cx="352147" cy="410956"/>
            </a:xfrm>
            <a:custGeom>
              <a:avLst/>
              <a:gdLst/>
              <a:ahLst/>
              <a:cxnLst/>
              <a:rect l="l" t="t" r="r" b="b"/>
              <a:pathLst>
                <a:path w="675" h="677" extrusionOk="0">
                  <a:moveTo>
                    <a:pt x="8" y="309"/>
                  </a:moveTo>
                  <a:lnTo>
                    <a:pt x="0" y="353"/>
                  </a:lnTo>
                  <a:lnTo>
                    <a:pt x="0" y="367"/>
                  </a:lnTo>
                  <a:lnTo>
                    <a:pt x="31" y="390"/>
                  </a:lnTo>
                  <a:lnTo>
                    <a:pt x="62" y="411"/>
                  </a:lnTo>
                  <a:lnTo>
                    <a:pt x="93" y="433"/>
                  </a:lnTo>
                  <a:lnTo>
                    <a:pt x="124" y="454"/>
                  </a:lnTo>
                  <a:lnTo>
                    <a:pt x="149" y="473"/>
                  </a:lnTo>
                  <a:lnTo>
                    <a:pt x="172" y="491"/>
                  </a:lnTo>
                  <a:lnTo>
                    <a:pt x="198" y="510"/>
                  </a:lnTo>
                  <a:lnTo>
                    <a:pt x="221" y="530"/>
                  </a:lnTo>
                  <a:lnTo>
                    <a:pt x="246" y="547"/>
                  </a:lnTo>
                  <a:lnTo>
                    <a:pt x="269" y="566"/>
                  </a:lnTo>
                  <a:lnTo>
                    <a:pt x="295" y="584"/>
                  </a:lnTo>
                  <a:lnTo>
                    <a:pt x="320" y="603"/>
                  </a:lnTo>
                  <a:lnTo>
                    <a:pt x="320" y="615"/>
                  </a:lnTo>
                  <a:lnTo>
                    <a:pt x="335" y="629"/>
                  </a:lnTo>
                  <a:lnTo>
                    <a:pt x="384" y="648"/>
                  </a:lnTo>
                  <a:lnTo>
                    <a:pt x="384" y="677"/>
                  </a:lnTo>
                  <a:lnTo>
                    <a:pt x="421" y="677"/>
                  </a:lnTo>
                  <a:lnTo>
                    <a:pt x="448" y="671"/>
                  </a:lnTo>
                  <a:lnTo>
                    <a:pt x="473" y="665"/>
                  </a:lnTo>
                  <a:lnTo>
                    <a:pt x="500" y="638"/>
                  </a:lnTo>
                  <a:lnTo>
                    <a:pt x="527" y="613"/>
                  </a:lnTo>
                  <a:lnTo>
                    <a:pt x="564" y="588"/>
                  </a:lnTo>
                  <a:lnTo>
                    <a:pt x="601" y="563"/>
                  </a:lnTo>
                  <a:lnTo>
                    <a:pt x="638" y="535"/>
                  </a:lnTo>
                  <a:lnTo>
                    <a:pt x="675" y="510"/>
                  </a:lnTo>
                  <a:lnTo>
                    <a:pt x="659" y="481"/>
                  </a:lnTo>
                  <a:lnTo>
                    <a:pt x="622" y="473"/>
                  </a:lnTo>
                  <a:lnTo>
                    <a:pt x="609" y="442"/>
                  </a:lnTo>
                  <a:lnTo>
                    <a:pt x="587" y="411"/>
                  </a:lnTo>
                  <a:lnTo>
                    <a:pt x="603" y="398"/>
                  </a:lnTo>
                  <a:lnTo>
                    <a:pt x="601" y="353"/>
                  </a:lnTo>
                  <a:lnTo>
                    <a:pt x="601" y="311"/>
                  </a:lnTo>
                  <a:lnTo>
                    <a:pt x="585" y="266"/>
                  </a:lnTo>
                  <a:lnTo>
                    <a:pt x="589" y="256"/>
                  </a:lnTo>
                  <a:lnTo>
                    <a:pt x="580" y="219"/>
                  </a:lnTo>
                  <a:lnTo>
                    <a:pt x="572" y="185"/>
                  </a:lnTo>
                  <a:lnTo>
                    <a:pt x="547" y="157"/>
                  </a:lnTo>
                  <a:lnTo>
                    <a:pt x="519" y="121"/>
                  </a:lnTo>
                  <a:lnTo>
                    <a:pt x="535" y="91"/>
                  </a:lnTo>
                  <a:lnTo>
                    <a:pt x="549" y="64"/>
                  </a:lnTo>
                  <a:lnTo>
                    <a:pt x="545" y="12"/>
                  </a:lnTo>
                  <a:lnTo>
                    <a:pt x="552" y="2"/>
                  </a:lnTo>
                  <a:lnTo>
                    <a:pt x="504" y="0"/>
                  </a:lnTo>
                  <a:lnTo>
                    <a:pt x="477" y="0"/>
                  </a:lnTo>
                  <a:lnTo>
                    <a:pt x="442" y="6"/>
                  </a:lnTo>
                  <a:lnTo>
                    <a:pt x="405" y="8"/>
                  </a:lnTo>
                  <a:lnTo>
                    <a:pt x="370" y="8"/>
                  </a:lnTo>
                  <a:lnTo>
                    <a:pt x="329" y="20"/>
                  </a:lnTo>
                  <a:lnTo>
                    <a:pt x="289" y="31"/>
                  </a:lnTo>
                  <a:lnTo>
                    <a:pt x="271" y="41"/>
                  </a:lnTo>
                  <a:lnTo>
                    <a:pt x="240" y="57"/>
                  </a:lnTo>
                  <a:lnTo>
                    <a:pt x="211" y="70"/>
                  </a:lnTo>
                  <a:lnTo>
                    <a:pt x="219" y="80"/>
                  </a:lnTo>
                  <a:lnTo>
                    <a:pt x="223" y="107"/>
                  </a:lnTo>
                  <a:lnTo>
                    <a:pt x="229" y="136"/>
                  </a:lnTo>
                  <a:lnTo>
                    <a:pt x="248" y="169"/>
                  </a:lnTo>
                  <a:lnTo>
                    <a:pt x="240" y="181"/>
                  </a:lnTo>
                  <a:lnTo>
                    <a:pt x="205" y="183"/>
                  </a:lnTo>
                  <a:lnTo>
                    <a:pt x="163" y="198"/>
                  </a:lnTo>
                  <a:lnTo>
                    <a:pt x="163" y="221"/>
                  </a:lnTo>
                  <a:lnTo>
                    <a:pt x="139" y="239"/>
                  </a:lnTo>
                  <a:lnTo>
                    <a:pt x="116" y="254"/>
                  </a:lnTo>
                  <a:lnTo>
                    <a:pt x="89" y="266"/>
                  </a:lnTo>
                  <a:lnTo>
                    <a:pt x="60" y="280"/>
                  </a:lnTo>
                  <a:lnTo>
                    <a:pt x="33" y="293"/>
                  </a:lnTo>
                  <a:lnTo>
                    <a:pt x="8" y="309"/>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44" name="Google Shape;2244;g7826bb8c5e_0_4294"/>
            <p:cNvSpPr/>
            <p:nvPr/>
          </p:nvSpPr>
          <p:spPr>
            <a:xfrm>
              <a:off x="3959149" y="3460289"/>
              <a:ext cx="10171" cy="12289"/>
            </a:xfrm>
            <a:custGeom>
              <a:avLst/>
              <a:gdLst/>
              <a:ahLst/>
              <a:cxnLst/>
              <a:rect l="l" t="t" r="r" b="b"/>
              <a:pathLst>
                <a:path w="17" h="21" extrusionOk="0">
                  <a:moveTo>
                    <a:pt x="17" y="0"/>
                  </a:moveTo>
                  <a:lnTo>
                    <a:pt x="15" y="15"/>
                  </a:lnTo>
                  <a:lnTo>
                    <a:pt x="0" y="21"/>
                  </a:lnTo>
                  <a:lnTo>
                    <a:pt x="17"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45" name="Google Shape;2245;g7826bb8c5e_0_4294"/>
            <p:cNvSpPr/>
            <p:nvPr/>
          </p:nvSpPr>
          <p:spPr>
            <a:xfrm>
              <a:off x="3918468" y="3469847"/>
              <a:ext cx="6356" cy="8192"/>
            </a:xfrm>
            <a:custGeom>
              <a:avLst/>
              <a:gdLst/>
              <a:ahLst/>
              <a:cxnLst/>
              <a:rect l="l" t="t" r="r" b="b"/>
              <a:pathLst>
                <a:path w="18" h="16" extrusionOk="0">
                  <a:moveTo>
                    <a:pt x="18" y="0"/>
                  </a:moveTo>
                  <a:lnTo>
                    <a:pt x="0" y="16"/>
                  </a:lnTo>
                  <a:lnTo>
                    <a:pt x="0" y="4"/>
                  </a:lnTo>
                  <a:lnTo>
                    <a:pt x="18"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46" name="Google Shape;2246;g7826bb8c5e_0_4294"/>
            <p:cNvSpPr/>
            <p:nvPr/>
          </p:nvSpPr>
          <p:spPr>
            <a:xfrm>
              <a:off x="3932452" y="3479402"/>
              <a:ext cx="7627" cy="4096"/>
            </a:xfrm>
            <a:custGeom>
              <a:avLst/>
              <a:gdLst/>
              <a:ahLst/>
              <a:cxnLst/>
              <a:rect l="l" t="t" r="r" b="b"/>
              <a:pathLst>
                <a:path w="14" h="7" extrusionOk="0">
                  <a:moveTo>
                    <a:pt x="14" y="0"/>
                  </a:moveTo>
                  <a:lnTo>
                    <a:pt x="12" y="7"/>
                  </a:lnTo>
                  <a:lnTo>
                    <a:pt x="0" y="0"/>
                  </a:lnTo>
                  <a:lnTo>
                    <a:pt x="14"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47" name="Google Shape;2247;g7826bb8c5e_0_4294"/>
            <p:cNvSpPr/>
            <p:nvPr/>
          </p:nvSpPr>
          <p:spPr>
            <a:xfrm>
              <a:off x="3969319" y="3452096"/>
              <a:ext cx="7627" cy="1366"/>
            </a:xfrm>
            <a:custGeom>
              <a:avLst/>
              <a:gdLst/>
              <a:ahLst/>
              <a:cxnLst/>
              <a:rect l="l" t="t" r="r" b="b"/>
              <a:pathLst>
                <a:path w="12" h="4" extrusionOk="0">
                  <a:moveTo>
                    <a:pt x="8" y="4"/>
                  </a:moveTo>
                  <a:lnTo>
                    <a:pt x="12" y="0"/>
                  </a:lnTo>
                  <a:lnTo>
                    <a:pt x="0" y="4"/>
                  </a:lnTo>
                  <a:lnTo>
                    <a:pt x="8" y="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48" name="Google Shape;2248;g7826bb8c5e_0_4294"/>
            <p:cNvSpPr/>
            <p:nvPr/>
          </p:nvSpPr>
          <p:spPr>
            <a:xfrm>
              <a:off x="3781168" y="3741541"/>
              <a:ext cx="3814" cy="2730"/>
            </a:xfrm>
            <a:custGeom>
              <a:avLst/>
              <a:gdLst/>
              <a:ahLst/>
              <a:cxnLst/>
              <a:rect l="l" t="t" r="r" b="b"/>
              <a:pathLst>
                <a:path w="7" h="4" extrusionOk="0">
                  <a:moveTo>
                    <a:pt x="7" y="4"/>
                  </a:moveTo>
                  <a:lnTo>
                    <a:pt x="1" y="2"/>
                  </a:lnTo>
                  <a:lnTo>
                    <a:pt x="0" y="0"/>
                  </a:lnTo>
                  <a:lnTo>
                    <a:pt x="7" y="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49" name="Google Shape;2249;g7826bb8c5e_0_4294"/>
            <p:cNvSpPr/>
            <p:nvPr/>
          </p:nvSpPr>
          <p:spPr>
            <a:xfrm>
              <a:off x="4111703" y="3290991"/>
              <a:ext cx="0" cy="0"/>
            </a:xfrm>
            <a:custGeom>
              <a:avLst/>
              <a:gdLst/>
              <a:ahLst/>
              <a:cxnLst/>
              <a:rect l="l" t="t" r="r" b="b"/>
              <a:pathLst>
                <a:path w="2" h="2" extrusionOk="0">
                  <a:moveTo>
                    <a:pt x="0" y="0"/>
                  </a:moveTo>
                  <a:lnTo>
                    <a:pt x="0" y="0"/>
                  </a:lnTo>
                  <a:lnTo>
                    <a:pt x="0" y="0"/>
                  </a:lnTo>
                  <a:lnTo>
                    <a:pt x="0" y="0"/>
                  </a:lnTo>
                  <a:lnTo>
                    <a:pt x="0" y="0"/>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50" name="Google Shape;2250;g7826bb8c5e_0_4294"/>
            <p:cNvSpPr/>
            <p:nvPr/>
          </p:nvSpPr>
          <p:spPr>
            <a:xfrm>
              <a:off x="4358333" y="3360622"/>
              <a:ext cx="273328" cy="314021"/>
            </a:xfrm>
            <a:custGeom>
              <a:avLst/>
              <a:gdLst/>
              <a:ahLst/>
              <a:cxnLst/>
              <a:rect l="l" t="t" r="r" b="b"/>
              <a:pathLst>
                <a:path w="522" h="519" extrusionOk="0">
                  <a:moveTo>
                    <a:pt x="489" y="519"/>
                  </a:moveTo>
                  <a:lnTo>
                    <a:pt x="489" y="500"/>
                  </a:lnTo>
                  <a:lnTo>
                    <a:pt x="522" y="500"/>
                  </a:lnTo>
                  <a:lnTo>
                    <a:pt x="520" y="463"/>
                  </a:lnTo>
                  <a:lnTo>
                    <a:pt x="518" y="424"/>
                  </a:lnTo>
                  <a:lnTo>
                    <a:pt x="516" y="390"/>
                  </a:lnTo>
                  <a:lnTo>
                    <a:pt x="514" y="353"/>
                  </a:lnTo>
                  <a:lnTo>
                    <a:pt x="512" y="318"/>
                  </a:lnTo>
                  <a:lnTo>
                    <a:pt x="510" y="283"/>
                  </a:lnTo>
                  <a:lnTo>
                    <a:pt x="508" y="246"/>
                  </a:lnTo>
                  <a:lnTo>
                    <a:pt x="504" y="211"/>
                  </a:lnTo>
                  <a:lnTo>
                    <a:pt x="502" y="174"/>
                  </a:lnTo>
                  <a:lnTo>
                    <a:pt x="500" y="139"/>
                  </a:lnTo>
                  <a:lnTo>
                    <a:pt x="499" y="110"/>
                  </a:lnTo>
                  <a:lnTo>
                    <a:pt x="497" y="81"/>
                  </a:lnTo>
                  <a:lnTo>
                    <a:pt x="502" y="58"/>
                  </a:lnTo>
                  <a:lnTo>
                    <a:pt x="485" y="44"/>
                  </a:lnTo>
                  <a:lnTo>
                    <a:pt x="435" y="31"/>
                  </a:lnTo>
                  <a:lnTo>
                    <a:pt x="429" y="17"/>
                  </a:lnTo>
                  <a:lnTo>
                    <a:pt x="386" y="9"/>
                  </a:lnTo>
                  <a:lnTo>
                    <a:pt x="363" y="23"/>
                  </a:lnTo>
                  <a:lnTo>
                    <a:pt x="338" y="39"/>
                  </a:lnTo>
                  <a:lnTo>
                    <a:pt x="342" y="89"/>
                  </a:lnTo>
                  <a:lnTo>
                    <a:pt x="309" y="110"/>
                  </a:lnTo>
                  <a:lnTo>
                    <a:pt x="272" y="93"/>
                  </a:lnTo>
                  <a:lnTo>
                    <a:pt x="235" y="73"/>
                  </a:lnTo>
                  <a:lnTo>
                    <a:pt x="198" y="64"/>
                  </a:lnTo>
                  <a:lnTo>
                    <a:pt x="183" y="29"/>
                  </a:lnTo>
                  <a:lnTo>
                    <a:pt x="146" y="21"/>
                  </a:lnTo>
                  <a:lnTo>
                    <a:pt x="111" y="11"/>
                  </a:lnTo>
                  <a:lnTo>
                    <a:pt x="64" y="0"/>
                  </a:lnTo>
                  <a:lnTo>
                    <a:pt x="62" y="31"/>
                  </a:lnTo>
                  <a:lnTo>
                    <a:pt x="41" y="48"/>
                  </a:lnTo>
                  <a:lnTo>
                    <a:pt x="22" y="66"/>
                  </a:lnTo>
                  <a:lnTo>
                    <a:pt x="20" y="99"/>
                  </a:lnTo>
                  <a:lnTo>
                    <a:pt x="4" y="112"/>
                  </a:lnTo>
                  <a:lnTo>
                    <a:pt x="0" y="122"/>
                  </a:lnTo>
                  <a:lnTo>
                    <a:pt x="16" y="167"/>
                  </a:lnTo>
                  <a:lnTo>
                    <a:pt x="16" y="209"/>
                  </a:lnTo>
                  <a:lnTo>
                    <a:pt x="18" y="254"/>
                  </a:lnTo>
                  <a:lnTo>
                    <a:pt x="2" y="267"/>
                  </a:lnTo>
                  <a:lnTo>
                    <a:pt x="24" y="298"/>
                  </a:lnTo>
                  <a:lnTo>
                    <a:pt x="37" y="329"/>
                  </a:lnTo>
                  <a:lnTo>
                    <a:pt x="74" y="337"/>
                  </a:lnTo>
                  <a:lnTo>
                    <a:pt x="90" y="366"/>
                  </a:lnTo>
                  <a:lnTo>
                    <a:pt x="136" y="378"/>
                  </a:lnTo>
                  <a:lnTo>
                    <a:pt x="163" y="401"/>
                  </a:lnTo>
                  <a:lnTo>
                    <a:pt x="186" y="388"/>
                  </a:lnTo>
                  <a:lnTo>
                    <a:pt x="221" y="368"/>
                  </a:lnTo>
                  <a:lnTo>
                    <a:pt x="254" y="388"/>
                  </a:lnTo>
                  <a:lnTo>
                    <a:pt x="287" y="405"/>
                  </a:lnTo>
                  <a:lnTo>
                    <a:pt x="320" y="424"/>
                  </a:lnTo>
                  <a:lnTo>
                    <a:pt x="355" y="444"/>
                  </a:lnTo>
                  <a:lnTo>
                    <a:pt x="388" y="463"/>
                  </a:lnTo>
                  <a:lnTo>
                    <a:pt x="421" y="483"/>
                  </a:lnTo>
                  <a:lnTo>
                    <a:pt x="456" y="500"/>
                  </a:lnTo>
                  <a:lnTo>
                    <a:pt x="489" y="519"/>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51" name="Google Shape;2251;g7826bb8c5e_0_4294"/>
            <p:cNvSpPr/>
            <p:nvPr/>
          </p:nvSpPr>
          <p:spPr>
            <a:xfrm>
              <a:off x="3987117" y="3549033"/>
              <a:ext cx="287310" cy="344057"/>
            </a:xfrm>
            <a:custGeom>
              <a:avLst/>
              <a:gdLst/>
              <a:ahLst/>
              <a:cxnLst/>
              <a:rect l="l" t="t" r="r" b="b"/>
              <a:pathLst>
                <a:path w="547" h="564" extrusionOk="0">
                  <a:moveTo>
                    <a:pt x="124" y="518"/>
                  </a:moveTo>
                  <a:lnTo>
                    <a:pt x="120" y="529"/>
                  </a:lnTo>
                  <a:lnTo>
                    <a:pt x="124" y="531"/>
                  </a:lnTo>
                  <a:lnTo>
                    <a:pt x="141" y="564"/>
                  </a:lnTo>
                  <a:lnTo>
                    <a:pt x="149" y="558"/>
                  </a:lnTo>
                  <a:lnTo>
                    <a:pt x="169" y="562"/>
                  </a:lnTo>
                  <a:lnTo>
                    <a:pt x="184" y="555"/>
                  </a:lnTo>
                  <a:lnTo>
                    <a:pt x="196" y="545"/>
                  </a:lnTo>
                  <a:lnTo>
                    <a:pt x="200" y="558"/>
                  </a:lnTo>
                  <a:lnTo>
                    <a:pt x="223" y="555"/>
                  </a:lnTo>
                  <a:lnTo>
                    <a:pt x="231" y="504"/>
                  </a:lnTo>
                  <a:lnTo>
                    <a:pt x="240" y="496"/>
                  </a:lnTo>
                  <a:lnTo>
                    <a:pt x="260" y="479"/>
                  </a:lnTo>
                  <a:lnTo>
                    <a:pt x="265" y="463"/>
                  </a:lnTo>
                  <a:lnTo>
                    <a:pt x="271" y="442"/>
                  </a:lnTo>
                  <a:lnTo>
                    <a:pt x="293" y="450"/>
                  </a:lnTo>
                  <a:lnTo>
                    <a:pt x="298" y="436"/>
                  </a:lnTo>
                  <a:lnTo>
                    <a:pt x="304" y="432"/>
                  </a:lnTo>
                  <a:lnTo>
                    <a:pt x="318" y="415"/>
                  </a:lnTo>
                  <a:lnTo>
                    <a:pt x="337" y="413"/>
                  </a:lnTo>
                  <a:lnTo>
                    <a:pt x="341" y="399"/>
                  </a:lnTo>
                  <a:lnTo>
                    <a:pt x="384" y="378"/>
                  </a:lnTo>
                  <a:lnTo>
                    <a:pt x="415" y="382"/>
                  </a:lnTo>
                  <a:lnTo>
                    <a:pt x="421" y="382"/>
                  </a:lnTo>
                  <a:lnTo>
                    <a:pt x="452" y="370"/>
                  </a:lnTo>
                  <a:lnTo>
                    <a:pt x="486" y="368"/>
                  </a:lnTo>
                  <a:lnTo>
                    <a:pt x="523" y="368"/>
                  </a:lnTo>
                  <a:lnTo>
                    <a:pt x="541" y="333"/>
                  </a:lnTo>
                  <a:lnTo>
                    <a:pt x="543" y="306"/>
                  </a:lnTo>
                  <a:lnTo>
                    <a:pt x="545" y="279"/>
                  </a:lnTo>
                  <a:lnTo>
                    <a:pt x="547" y="250"/>
                  </a:lnTo>
                  <a:lnTo>
                    <a:pt x="547" y="223"/>
                  </a:lnTo>
                  <a:lnTo>
                    <a:pt x="510" y="223"/>
                  </a:lnTo>
                  <a:lnTo>
                    <a:pt x="510" y="194"/>
                  </a:lnTo>
                  <a:lnTo>
                    <a:pt x="461" y="175"/>
                  </a:lnTo>
                  <a:lnTo>
                    <a:pt x="446" y="161"/>
                  </a:lnTo>
                  <a:lnTo>
                    <a:pt x="446" y="149"/>
                  </a:lnTo>
                  <a:lnTo>
                    <a:pt x="421" y="130"/>
                  </a:lnTo>
                  <a:lnTo>
                    <a:pt x="395" y="112"/>
                  </a:lnTo>
                  <a:lnTo>
                    <a:pt x="372" y="93"/>
                  </a:lnTo>
                  <a:lnTo>
                    <a:pt x="347" y="76"/>
                  </a:lnTo>
                  <a:lnTo>
                    <a:pt x="324" y="56"/>
                  </a:lnTo>
                  <a:lnTo>
                    <a:pt x="298" y="37"/>
                  </a:lnTo>
                  <a:lnTo>
                    <a:pt x="275" y="19"/>
                  </a:lnTo>
                  <a:lnTo>
                    <a:pt x="250" y="0"/>
                  </a:lnTo>
                  <a:lnTo>
                    <a:pt x="221" y="0"/>
                  </a:lnTo>
                  <a:lnTo>
                    <a:pt x="192" y="0"/>
                  </a:lnTo>
                  <a:lnTo>
                    <a:pt x="196" y="41"/>
                  </a:lnTo>
                  <a:lnTo>
                    <a:pt x="200" y="81"/>
                  </a:lnTo>
                  <a:lnTo>
                    <a:pt x="202" y="122"/>
                  </a:lnTo>
                  <a:lnTo>
                    <a:pt x="205" y="163"/>
                  </a:lnTo>
                  <a:lnTo>
                    <a:pt x="209" y="204"/>
                  </a:lnTo>
                  <a:lnTo>
                    <a:pt x="213" y="242"/>
                  </a:lnTo>
                  <a:lnTo>
                    <a:pt x="217" y="283"/>
                  </a:lnTo>
                  <a:lnTo>
                    <a:pt x="221" y="324"/>
                  </a:lnTo>
                  <a:lnTo>
                    <a:pt x="231" y="330"/>
                  </a:lnTo>
                  <a:lnTo>
                    <a:pt x="225" y="363"/>
                  </a:lnTo>
                  <a:lnTo>
                    <a:pt x="192" y="363"/>
                  </a:lnTo>
                  <a:lnTo>
                    <a:pt x="161" y="363"/>
                  </a:lnTo>
                  <a:lnTo>
                    <a:pt x="128" y="363"/>
                  </a:lnTo>
                  <a:lnTo>
                    <a:pt x="97" y="363"/>
                  </a:lnTo>
                  <a:lnTo>
                    <a:pt x="93" y="359"/>
                  </a:lnTo>
                  <a:lnTo>
                    <a:pt x="46" y="370"/>
                  </a:lnTo>
                  <a:lnTo>
                    <a:pt x="41" y="372"/>
                  </a:lnTo>
                  <a:lnTo>
                    <a:pt x="21" y="361"/>
                  </a:lnTo>
                  <a:lnTo>
                    <a:pt x="6" y="392"/>
                  </a:lnTo>
                  <a:lnTo>
                    <a:pt x="0" y="390"/>
                  </a:lnTo>
                  <a:lnTo>
                    <a:pt x="8" y="429"/>
                  </a:lnTo>
                  <a:lnTo>
                    <a:pt x="17" y="442"/>
                  </a:lnTo>
                  <a:lnTo>
                    <a:pt x="27" y="481"/>
                  </a:lnTo>
                  <a:lnTo>
                    <a:pt x="23" y="489"/>
                  </a:lnTo>
                  <a:lnTo>
                    <a:pt x="45" y="491"/>
                  </a:lnTo>
                  <a:lnTo>
                    <a:pt x="54" y="494"/>
                  </a:lnTo>
                  <a:lnTo>
                    <a:pt x="74" y="491"/>
                  </a:lnTo>
                  <a:lnTo>
                    <a:pt x="97" y="483"/>
                  </a:lnTo>
                  <a:lnTo>
                    <a:pt x="101" y="477"/>
                  </a:lnTo>
                  <a:lnTo>
                    <a:pt x="112" y="508"/>
                  </a:lnTo>
                  <a:lnTo>
                    <a:pt x="124" y="518"/>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52" name="Google Shape;2252;g7826bb8c5e_0_4294"/>
            <p:cNvSpPr/>
            <p:nvPr/>
          </p:nvSpPr>
          <p:spPr>
            <a:xfrm>
              <a:off x="4437153" y="3295087"/>
              <a:ext cx="2542" cy="5462"/>
            </a:xfrm>
            <a:custGeom>
              <a:avLst/>
              <a:gdLst/>
              <a:ahLst/>
              <a:cxnLst/>
              <a:rect l="l" t="t" r="r" b="b"/>
              <a:pathLst>
                <a:path w="7" h="6" extrusionOk="0">
                  <a:moveTo>
                    <a:pt x="7" y="4"/>
                  </a:moveTo>
                  <a:lnTo>
                    <a:pt x="4" y="6"/>
                  </a:lnTo>
                  <a:lnTo>
                    <a:pt x="0" y="0"/>
                  </a:lnTo>
                  <a:lnTo>
                    <a:pt x="7" y="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53" name="Google Shape;2253;g7826bb8c5e_0_4294"/>
            <p:cNvSpPr/>
            <p:nvPr/>
          </p:nvSpPr>
          <p:spPr>
            <a:xfrm>
              <a:off x="3907026" y="3495787"/>
              <a:ext cx="211034" cy="289444"/>
            </a:xfrm>
            <a:custGeom>
              <a:avLst/>
              <a:gdLst/>
              <a:ahLst/>
              <a:cxnLst/>
              <a:rect l="l" t="t" r="r" b="b"/>
              <a:pathLst>
                <a:path w="405" h="479" extrusionOk="0">
                  <a:moveTo>
                    <a:pt x="21" y="413"/>
                  </a:moveTo>
                  <a:lnTo>
                    <a:pt x="13" y="428"/>
                  </a:lnTo>
                  <a:lnTo>
                    <a:pt x="21" y="384"/>
                  </a:lnTo>
                  <a:lnTo>
                    <a:pt x="31" y="337"/>
                  </a:lnTo>
                  <a:lnTo>
                    <a:pt x="21" y="300"/>
                  </a:lnTo>
                  <a:lnTo>
                    <a:pt x="23" y="262"/>
                  </a:lnTo>
                  <a:lnTo>
                    <a:pt x="2" y="238"/>
                  </a:lnTo>
                  <a:lnTo>
                    <a:pt x="0" y="248"/>
                  </a:lnTo>
                  <a:lnTo>
                    <a:pt x="4" y="227"/>
                  </a:lnTo>
                  <a:lnTo>
                    <a:pt x="37" y="227"/>
                  </a:lnTo>
                  <a:lnTo>
                    <a:pt x="70" y="227"/>
                  </a:lnTo>
                  <a:lnTo>
                    <a:pt x="101" y="227"/>
                  </a:lnTo>
                  <a:lnTo>
                    <a:pt x="134" y="227"/>
                  </a:lnTo>
                  <a:lnTo>
                    <a:pt x="134" y="196"/>
                  </a:lnTo>
                  <a:lnTo>
                    <a:pt x="136" y="163"/>
                  </a:lnTo>
                  <a:lnTo>
                    <a:pt x="168" y="147"/>
                  </a:lnTo>
                  <a:lnTo>
                    <a:pt x="168" y="99"/>
                  </a:lnTo>
                  <a:lnTo>
                    <a:pt x="170" y="50"/>
                  </a:lnTo>
                  <a:lnTo>
                    <a:pt x="198" y="50"/>
                  </a:lnTo>
                  <a:lnTo>
                    <a:pt x="225" y="50"/>
                  </a:lnTo>
                  <a:lnTo>
                    <a:pt x="252" y="50"/>
                  </a:lnTo>
                  <a:lnTo>
                    <a:pt x="279" y="50"/>
                  </a:lnTo>
                  <a:lnTo>
                    <a:pt x="281" y="0"/>
                  </a:lnTo>
                  <a:lnTo>
                    <a:pt x="312" y="23"/>
                  </a:lnTo>
                  <a:lnTo>
                    <a:pt x="343" y="44"/>
                  </a:lnTo>
                  <a:lnTo>
                    <a:pt x="374" y="66"/>
                  </a:lnTo>
                  <a:lnTo>
                    <a:pt x="405" y="87"/>
                  </a:lnTo>
                  <a:lnTo>
                    <a:pt x="376" y="87"/>
                  </a:lnTo>
                  <a:lnTo>
                    <a:pt x="347" y="87"/>
                  </a:lnTo>
                  <a:lnTo>
                    <a:pt x="351" y="128"/>
                  </a:lnTo>
                  <a:lnTo>
                    <a:pt x="355" y="168"/>
                  </a:lnTo>
                  <a:lnTo>
                    <a:pt x="357" y="209"/>
                  </a:lnTo>
                  <a:lnTo>
                    <a:pt x="360" y="250"/>
                  </a:lnTo>
                  <a:lnTo>
                    <a:pt x="364" y="291"/>
                  </a:lnTo>
                  <a:lnTo>
                    <a:pt x="368" y="329"/>
                  </a:lnTo>
                  <a:lnTo>
                    <a:pt x="372" y="370"/>
                  </a:lnTo>
                  <a:lnTo>
                    <a:pt x="376" y="411"/>
                  </a:lnTo>
                  <a:lnTo>
                    <a:pt x="386" y="417"/>
                  </a:lnTo>
                  <a:lnTo>
                    <a:pt x="380" y="450"/>
                  </a:lnTo>
                  <a:lnTo>
                    <a:pt x="347" y="450"/>
                  </a:lnTo>
                  <a:lnTo>
                    <a:pt x="316" y="450"/>
                  </a:lnTo>
                  <a:lnTo>
                    <a:pt x="283" y="450"/>
                  </a:lnTo>
                  <a:lnTo>
                    <a:pt x="252" y="450"/>
                  </a:lnTo>
                  <a:lnTo>
                    <a:pt x="248" y="446"/>
                  </a:lnTo>
                  <a:lnTo>
                    <a:pt x="201" y="457"/>
                  </a:lnTo>
                  <a:lnTo>
                    <a:pt x="196" y="459"/>
                  </a:lnTo>
                  <a:lnTo>
                    <a:pt x="176" y="448"/>
                  </a:lnTo>
                  <a:lnTo>
                    <a:pt x="161" y="479"/>
                  </a:lnTo>
                  <a:lnTo>
                    <a:pt x="155" y="477"/>
                  </a:lnTo>
                  <a:lnTo>
                    <a:pt x="130" y="452"/>
                  </a:lnTo>
                  <a:lnTo>
                    <a:pt x="105" y="424"/>
                  </a:lnTo>
                  <a:lnTo>
                    <a:pt x="74" y="407"/>
                  </a:lnTo>
                  <a:lnTo>
                    <a:pt x="46" y="409"/>
                  </a:lnTo>
                  <a:lnTo>
                    <a:pt x="21" y="413"/>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54" name="Google Shape;2254;g7826bb8c5e_0_4294"/>
            <p:cNvSpPr/>
            <p:nvPr/>
          </p:nvSpPr>
          <p:spPr>
            <a:xfrm>
              <a:off x="3976947" y="3296452"/>
              <a:ext cx="207221" cy="191143"/>
            </a:xfrm>
            <a:custGeom>
              <a:avLst/>
              <a:gdLst/>
              <a:ahLst/>
              <a:cxnLst/>
              <a:rect l="l" t="t" r="r" b="b"/>
              <a:pathLst>
                <a:path w="395" h="314" extrusionOk="0">
                  <a:moveTo>
                    <a:pt x="205" y="78"/>
                  </a:moveTo>
                  <a:lnTo>
                    <a:pt x="174" y="97"/>
                  </a:lnTo>
                  <a:lnTo>
                    <a:pt x="145" y="116"/>
                  </a:lnTo>
                  <a:lnTo>
                    <a:pt x="129" y="146"/>
                  </a:lnTo>
                  <a:lnTo>
                    <a:pt x="114" y="175"/>
                  </a:lnTo>
                  <a:lnTo>
                    <a:pt x="118" y="209"/>
                  </a:lnTo>
                  <a:lnTo>
                    <a:pt x="102" y="237"/>
                  </a:lnTo>
                  <a:lnTo>
                    <a:pt x="87" y="264"/>
                  </a:lnTo>
                  <a:lnTo>
                    <a:pt x="62" y="281"/>
                  </a:lnTo>
                  <a:lnTo>
                    <a:pt x="36" y="299"/>
                  </a:lnTo>
                  <a:lnTo>
                    <a:pt x="0" y="314"/>
                  </a:lnTo>
                  <a:lnTo>
                    <a:pt x="36" y="314"/>
                  </a:lnTo>
                  <a:lnTo>
                    <a:pt x="73" y="314"/>
                  </a:lnTo>
                  <a:lnTo>
                    <a:pt x="110" y="314"/>
                  </a:lnTo>
                  <a:lnTo>
                    <a:pt x="147" y="314"/>
                  </a:lnTo>
                  <a:lnTo>
                    <a:pt x="155" y="270"/>
                  </a:lnTo>
                  <a:lnTo>
                    <a:pt x="180" y="254"/>
                  </a:lnTo>
                  <a:lnTo>
                    <a:pt x="207" y="241"/>
                  </a:lnTo>
                  <a:lnTo>
                    <a:pt x="236" y="227"/>
                  </a:lnTo>
                  <a:lnTo>
                    <a:pt x="263" y="215"/>
                  </a:lnTo>
                  <a:lnTo>
                    <a:pt x="286" y="200"/>
                  </a:lnTo>
                  <a:lnTo>
                    <a:pt x="310" y="182"/>
                  </a:lnTo>
                  <a:lnTo>
                    <a:pt x="310" y="159"/>
                  </a:lnTo>
                  <a:lnTo>
                    <a:pt x="352" y="144"/>
                  </a:lnTo>
                  <a:lnTo>
                    <a:pt x="387" y="142"/>
                  </a:lnTo>
                  <a:lnTo>
                    <a:pt x="395" y="130"/>
                  </a:lnTo>
                  <a:lnTo>
                    <a:pt x="376" y="97"/>
                  </a:lnTo>
                  <a:lnTo>
                    <a:pt x="370" y="68"/>
                  </a:lnTo>
                  <a:lnTo>
                    <a:pt x="366" y="41"/>
                  </a:lnTo>
                  <a:lnTo>
                    <a:pt x="358" y="31"/>
                  </a:lnTo>
                  <a:lnTo>
                    <a:pt x="337" y="25"/>
                  </a:lnTo>
                  <a:lnTo>
                    <a:pt x="327" y="25"/>
                  </a:lnTo>
                  <a:lnTo>
                    <a:pt x="273" y="23"/>
                  </a:lnTo>
                  <a:lnTo>
                    <a:pt x="255" y="0"/>
                  </a:lnTo>
                  <a:lnTo>
                    <a:pt x="238" y="18"/>
                  </a:lnTo>
                  <a:lnTo>
                    <a:pt x="221" y="47"/>
                  </a:lnTo>
                  <a:lnTo>
                    <a:pt x="205" y="78"/>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55" name="Google Shape;2255;g7826bb8c5e_0_4294"/>
            <p:cNvSpPr/>
            <p:nvPr/>
          </p:nvSpPr>
          <p:spPr>
            <a:xfrm>
              <a:off x="4204508" y="3583165"/>
              <a:ext cx="270784" cy="273061"/>
            </a:xfrm>
            <a:custGeom>
              <a:avLst/>
              <a:gdLst/>
              <a:ahLst/>
              <a:cxnLst/>
              <a:rect l="l" t="t" r="r" b="b"/>
              <a:pathLst>
                <a:path w="519" h="452" extrusionOk="0">
                  <a:moveTo>
                    <a:pt x="56" y="413"/>
                  </a:moveTo>
                  <a:lnTo>
                    <a:pt x="44" y="415"/>
                  </a:lnTo>
                  <a:lnTo>
                    <a:pt x="25" y="400"/>
                  </a:lnTo>
                  <a:lnTo>
                    <a:pt x="25" y="388"/>
                  </a:lnTo>
                  <a:lnTo>
                    <a:pt x="31" y="386"/>
                  </a:lnTo>
                  <a:lnTo>
                    <a:pt x="4" y="359"/>
                  </a:lnTo>
                  <a:lnTo>
                    <a:pt x="0" y="326"/>
                  </a:lnTo>
                  <a:lnTo>
                    <a:pt x="6" y="326"/>
                  </a:lnTo>
                  <a:lnTo>
                    <a:pt x="37" y="314"/>
                  </a:lnTo>
                  <a:lnTo>
                    <a:pt x="71" y="312"/>
                  </a:lnTo>
                  <a:lnTo>
                    <a:pt x="108" y="312"/>
                  </a:lnTo>
                  <a:lnTo>
                    <a:pt x="126" y="277"/>
                  </a:lnTo>
                  <a:lnTo>
                    <a:pt x="128" y="250"/>
                  </a:lnTo>
                  <a:lnTo>
                    <a:pt x="130" y="223"/>
                  </a:lnTo>
                  <a:lnTo>
                    <a:pt x="132" y="194"/>
                  </a:lnTo>
                  <a:lnTo>
                    <a:pt x="132" y="167"/>
                  </a:lnTo>
                  <a:lnTo>
                    <a:pt x="159" y="161"/>
                  </a:lnTo>
                  <a:lnTo>
                    <a:pt x="184" y="155"/>
                  </a:lnTo>
                  <a:lnTo>
                    <a:pt x="211" y="128"/>
                  </a:lnTo>
                  <a:lnTo>
                    <a:pt x="238" y="103"/>
                  </a:lnTo>
                  <a:lnTo>
                    <a:pt x="275" y="78"/>
                  </a:lnTo>
                  <a:lnTo>
                    <a:pt x="312" y="53"/>
                  </a:lnTo>
                  <a:lnTo>
                    <a:pt x="349" y="25"/>
                  </a:lnTo>
                  <a:lnTo>
                    <a:pt x="386" y="0"/>
                  </a:lnTo>
                  <a:lnTo>
                    <a:pt x="432" y="12"/>
                  </a:lnTo>
                  <a:lnTo>
                    <a:pt x="459" y="35"/>
                  </a:lnTo>
                  <a:lnTo>
                    <a:pt x="482" y="22"/>
                  </a:lnTo>
                  <a:lnTo>
                    <a:pt x="484" y="22"/>
                  </a:lnTo>
                  <a:lnTo>
                    <a:pt x="488" y="49"/>
                  </a:lnTo>
                  <a:lnTo>
                    <a:pt x="492" y="78"/>
                  </a:lnTo>
                  <a:lnTo>
                    <a:pt x="519" y="122"/>
                  </a:lnTo>
                  <a:lnTo>
                    <a:pt x="512" y="138"/>
                  </a:lnTo>
                  <a:lnTo>
                    <a:pt x="510" y="167"/>
                  </a:lnTo>
                  <a:lnTo>
                    <a:pt x="510" y="194"/>
                  </a:lnTo>
                  <a:lnTo>
                    <a:pt x="508" y="223"/>
                  </a:lnTo>
                  <a:lnTo>
                    <a:pt x="506" y="252"/>
                  </a:lnTo>
                  <a:lnTo>
                    <a:pt x="490" y="276"/>
                  </a:lnTo>
                  <a:lnTo>
                    <a:pt x="475" y="299"/>
                  </a:lnTo>
                  <a:lnTo>
                    <a:pt x="461" y="320"/>
                  </a:lnTo>
                  <a:lnTo>
                    <a:pt x="446" y="343"/>
                  </a:lnTo>
                  <a:lnTo>
                    <a:pt x="446" y="374"/>
                  </a:lnTo>
                  <a:lnTo>
                    <a:pt x="409" y="396"/>
                  </a:lnTo>
                  <a:lnTo>
                    <a:pt x="376" y="392"/>
                  </a:lnTo>
                  <a:lnTo>
                    <a:pt x="341" y="390"/>
                  </a:lnTo>
                  <a:lnTo>
                    <a:pt x="302" y="407"/>
                  </a:lnTo>
                  <a:lnTo>
                    <a:pt x="277" y="398"/>
                  </a:lnTo>
                  <a:lnTo>
                    <a:pt x="252" y="388"/>
                  </a:lnTo>
                  <a:lnTo>
                    <a:pt x="219" y="398"/>
                  </a:lnTo>
                  <a:lnTo>
                    <a:pt x="196" y="376"/>
                  </a:lnTo>
                  <a:lnTo>
                    <a:pt x="163" y="373"/>
                  </a:lnTo>
                  <a:lnTo>
                    <a:pt x="130" y="382"/>
                  </a:lnTo>
                  <a:lnTo>
                    <a:pt x="124" y="411"/>
                  </a:lnTo>
                  <a:lnTo>
                    <a:pt x="114" y="435"/>
                  </a:lnTo>
                  <a:lnTo>
                    <a:pt x="112" y="452"/>
                  </a:lnTo>
                  <a:lnTo>
                    <a:pt x="83" y="427"/>
                  </a:lnTo>
                  <a:lnTo>
                    <a:pt x="73" y="438"/>
                  </a:lnTo>
                  <a:lnTo>
                    <a:pt x="71" y="444"/>
                  </a:lnTo>
                  <a:lnTo>
                    <a:pt x="71" y="442"/>
                  </a:lnTo>
                  <a:lnTo>
                    <a:pt x="64" y="425"/>
                  </a:lnTo>
                  <a:lnTo>
                    <a:pt x="56" y="413"/>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56" name="Google Shape;2256;g7826bb8c5e_0_4294"/>
            <p:cNvSpPr/>
            <p:nvPr/>
          </p:nvSpPr>
          <p:spPr>
            <a:xfrm>
              <a:off x="3896856" y="3742906"/>
              <a:ext cx="105517" cy="99667"/>
            </a:xfrm>
            <a:custGeom>
              <a:avLst/>
              <a:gdLst/>
              <a:ahLst/>
              <a:cxnLst/>
              <a:rect l="l" t="t" r="r" b="b"/>
              <a:pathLst>
                <a:path w="200" h="163" extrusionOk="0">
                  <a:moveTo>
                    <a:pt x="39" y="6"/>
                  </a:moveTo>
                  <a:lnTo>
                    <a:pt x="31" y="21"/>
                  </a:lnTo>
                  <a:lnTo>
                    <a:pt x="16" y="48"/>
                  </a:lnTo>
                  <a:lnTo>
                    <a:pt x="0" y="74"/>
                  </a:lnTo>
                  <a:lnTo>
                    <a:pt x="22" y="101"/>
                  </a:lnTo>
                  <a:lnTo>
                    <a:pt x="29" y="93"/>
                  </a:lnTo>
                  <a:lnTo>
                    <a:pt x="24" y="101"/>
                  </a:lnTo>
                  <a:lnTo>
                    <a:pt x="28" y="105"/>
                  </a:lnTo>
                  <a:lnTo>
                    <a:pt x="28" y="114"/>
                  </a:lnTo>
                  <a:lnTo>
                    <a:pt x="64" y="114"/>
                  </a:lnTo>
                  <a:lnTo>
                    <a:pt x="68" y="107"/>
                  </a:lnTo>
                  <a:lnTo>
                    <a:pt x="109" y="116"/>
                  </a:lnTo>
                  <a:lnTo>
                    <a:pt x="119" y="126"/>
                  </a:lnTo>
                  <a:lnTo>
                    <a:pt x="74" y="116"/>
                  </a:lnTo>
                  <a:lnTo>
                    <a:pt x="47" y="126"/>
                  </a:lnTo>
                  <a:lnTo>
                    <a:pt x="22" y="136"/>
                  </a:lnTo>
                  <a:lnTo>
                    <a:pt x="24" y="151"/>
                  </a:lnTo>
                  <a:lnTo>
                    <a:pt x="49" y="147"/>
                  </a:lnTo>
                  <a:lnTo>
                    <a:pt x="62" y="145"/>
                  </a:lnTo>
                  <a:lnTo>
                    <a:pt x="62" y="147"/>
                  </a:lnTo>
                  <a:lnTo>
                    <a:pt x="29" y="153"/>
                  </a:lnTo>
                  <a:lnTo>
                    <a:pt x="22" y="163"/>
                  </a:lnTo>
                  <a:lnTo>
                    <a:pt x="66" y="155"/>
                  </a:lnTo>
                  <a:lnTo>
                    <a:pt x="93" y="151"/>
                  </a:lnTo>
                  <a:lnTo>
                    <a:pt x="123" y="149"/>
                  </a:lnTo>
                  <a:lnTo>
                    <a:pt x="152" y="157"/>
                  </a:lnTo>
                  <a:lnTo>
                    <a:pt x="200" y="161"/>
                  </a:lnTo>
                  <a:lnTo>
                    <a:pt x="190" y="122"/>
                  </a:lnTo>
                  <a:lnTo>
                    <a:pt x="181" y="109"/>
                  </a:lnTo>
                  <a:lnTo>
                    <a:pt x="173" y="70"/>
                  </a:lnTo>
                  <a:lnTo>
                    <a:pt x="148" y="45"/>
                  </a:lnTo>
                  <a:lnTo>
                    <a:pt x="123" y="17"/>
                  </a:lnTo>
                  <a:lnTo>
                    <a:pt x="92" y="0"/>
                  </a:lnTo>
                  <a:lnTo>
                    <a:pt x="64" y="2"/>
                  </a:lnTo>
                  <a:lnTo>
                    <a:pt x="39" y="6"/>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57" name="Google Shape;2257;g7826bb8c5e_0_4294"/>
            <p:cNvSpPr/>
            <p:nvPr/>
          </p:nvSpPr>
          <p:spPr>
            <a:xfrm>
              <a:off x="4325280" y="3266415"/>
              <a:ext cx="67379" cy="162471"/>
            </a:xfrm>
            <a:custGeom>
              <a:avLst/>
              <a:gdLst/>
              <a:ahLst/>
              <a:cxnLst/>
              <a:rect l="l" t="t" r="r" b="b"/>
              <a:pathLst>
                <a:path w="130" h="267" extrusionOk="0">
                  <a:moveTo>
                    <a:pt x="86" y="254"/>
                  </a:moveTo>
                  <a:lnTo>
                    <a:pt x="70" y="267"/>
                  </a:lnTo>
                  <a:lnTo>
                    <a:pt x="61" y="230"/>
                  </a:lnTo>
                  <a:lnTo>
                    <a:pt x="53" y="196"/>
                  </a:lnTo>
                  <a:lnTo>
                    <a:pt x="28" y="168"/>
                  </a:lnTo>
                  <a:lnTo>
                    <a:pt x="0" y="132"/>
                  </a:lnTo>
                  <a:lnTo>
                    <a:pt x="16" y="102"/>
                  </a:lnTo>
                  <a:lnTo>
                    <a:pt x="30" y="75"/>
                  </a:lnTo>
                  <a:lnTo>
                    <a:pt x="26" y="23"/>
                  </a:lnTo>
                  <a:lnTo>
                    <a:pt x="33" y="13"/>
                  </a:lnTo>
                  <a:lnTo>
                    <a:pt x="68" y="0"/>
                  </a:lnTo>
                  <a:lnTo>
                    <a:pt x="82" y="7"/>
                  </a:lnTo>
                  <a:lnTo>
                    <a:pt x="90" y="19"/>
                  </a:lnTo>
                  <a:lnTo>
                    <a:pt x="109" y="9"/>
                  </a:lnTo>
                  <a:lnTo>
                    <a:pt x="93" y="48"/>
                  </a:lnTo>
                  <a:lnTo>
                    <a:pt x="115" y="75"/>
                  </a:lnTo>
                  <a:lnTo>
                    <a:pt x="97" y="99"/>
                  </a:lnTo>
                  <a:lnTo>
                    <a:pt x="82" y="122"/>
                  </a:lnTo>
                  <a:lnTo>
                    <a:pt x="109" y="139"/>
                  </a:lnTo>
                  <a:lnTo>
                    <a:pt x="130" y="155"/>
                  </a:lnTo>
                  <a:lnTo>
                    <a:pt x="128" y="186"/>
                  </a:lnTo>
                  <a:lnTo>
                    <a:pt x="107" y="203"/>
                  </a:lnTo>
                  <a:lnTo>
                    <a:pt x="88" y="221"/>
                  </a:lnTo>
                  <a:lnTo>
                    <a:pt x="86" y="25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58" name="Google Shape;2258;g7826bb8c5e_0_4294"/>
            <p:cNvSpPr/>
            <p:nvPr/>
          </p:nvSpPr>
          <p:spPr>
            <a:xfrm>
              <a:off x="3998560" y="3931319"/>
              <a:ext cx="73735" cy="94206"/>
            </a:xfrm>
            <a:custGeom>
              <a:avLst/>
              <a:gdLst/>
              <a:ahLst/>
              <a:cxnLst/>
              <a:rect l="l" t="t" r="r" b="b"/>
              <a:pathLst>
                <a:path w="138" h="159" extrusionOk="0">
                  <a:moveTo>
                    <a:pt x="134" y="159"/>
                  </a:moveTo>
                  <a:lnTo>
                    <a:pt x="99" y="136"/>
                  </a:lnTo>
                  <a:lnTo>
                    <a:pt x="64" y="115"/>
                  </a:lnTo>
                  <a:lnTo>
                    <a:pt x="33" y="87"/>
                  </a:lnTo>
                  <a:lnTo>
                    <a:pt x="0" y="60"/>
                  </a:lnTo>
                  <a:lnTo>
                    <a:pt x="12" y="49"/>
                  </a:lnTo>
                  <a:lnTo>
                    <a:pt x="27" y="25"/>
                  </a:lnTo>
                  <a:lnTo>
                    <a:pt x="43" y="0"/>
                  </a:lnTo>
                  <a:lnTo>
                    <a:pt x="60" y="0"/>
                  </a:lnTo>
                  <a:lnTo>
                    <a:pt x="70" y="39"/>
                  </a:lnTo>
                  <a:lnTo>
                    <a:pt x="78" y="47"/>
                  </a:lnTo>
                  <a:lnTo>
                    <a:pt x="93" y="37"/>
                  </a:lnTo>
                  <a:lnTo>
                    <a:pt x="103" y="35"/>
                  </a:lnTo>
                  <a:lnTo>
                    <a:pt x="103" y="70"/>
                  </a:lnTo>
                  <a:lnTo>
                    <a:pt x="103" y="78"/>
                  </a:lnTo>
                  <a:lnTo>
                    <a:pt x="124" y="97"/>
                  </a:lnTo>
                  <a:lnTo>
                    <a:pt x="138" y="113"/>
                  </a:lnTo>
                  <a:lnTo>
                    <a:pt x="134" y="159"/>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59" name="Google Shape;2259;g7826bb8c5e_0_4294"/>
            <p:cNvSpPr/>
            <p:nvPr/>
          </p:nvSpPr>
          <p:spPr>
            <a:xfrm>
              <a:off x="2748883" y="3905377"/>
              <a:ext cx="55937" cy="55978"/>
            </a:xfrm>
            <a:custGeom>
              <a:avLst/>
              <a:gdLst/>
              <a:ahLst/>
              <a:cxnLst/>
              <a:rect l="l" t="t" r="r" b="b"/>
              <a:pathLst>
                <a:path w="107" h="92" extrusionOk="0">
                  <a:moveTo>
                    <a:pt x="0" y="59"/>
                  </a:moveTo>
                  <a:lnTo>
                    <a:pt x="2" y="30"/>
                  </a:lnTo>
                  <a:lnTo>
                    <a:pt x="2" y="4"/>
                  </a:lnTo>
                  <a:lnTo>
                    <a:pt x="14" y="0"/>
                  </a:lnTo>
                  <a:lnTo>
                    <a:pt x="23" y="16"/>
                  </a:lnTo>
                  <a:lnTo>
                    <a:pt x="39" y="22"/>
                  </a:lnTo>
                  <a:lnTo>
                    <a:pt x="49" y="32"/>
                  </a:lnTo>
                  <a:lnTo>
                    <a:pt x="95" y="14"/>
                  </a:lnTo>
                  <a:lnTo>
                    <a:pt x="101" y="20"/>
                  </a:lnTo>
                  <a:lnTo>
                    <a:pt x="107" y="30"/>
                  </a:lnTo>
                  <a:lnTo>
                    <a:pt x="82" y="53"/>
                  </a:lnTo>
                  <a:lnTo>
                    <a:pt x="97" y="78"/>
                  </a:lnTo>
                  <a:lnTo>
                    <a:pt x="68" y="92"/>
                  </a:lnTo>
                  <a:lnTo>
                    <a:pt x="62" y="66"/>
                  </a:lnTo>
                  <a:lnTo>
                    <a:pt x="58" y="74"/>
                  </a:lnTo>
                  <a:lnTo>
                    <a:pt x="41" y="59"/>
                  </a:lnTo>
                  <a:lnTo>
                    <a:pt x="8" y="49"/>
                  </a:lnTo>
                  <a:lnTo>
                    <a:pt x="0" y="59"/>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60" name="Google Shape;2260;g7826bb8c5e_0_4294"/>
            <p:cNvSpPr/>
            <p:nvPr/>
          </p:nvSpPr>
          <p:spPr>
            <a:xfrm>
              <a:off x="2807362" y="3906743"/>
              <a:ext cx="41952" cy="53246"/>
            </a:xfrm>
            <a:custGeom>
              <a:avLst/>
              <a:gdLst/>
              <a:ahLst/>
              <a:cxnLst/>
              <a:rect l="l" t="t" r="r" b="b"/>
              <a:pathLst>
                <a:path w="79" h="86" extrusionOk="0">
                  <a:moveTo>
                    <a:pt x="46" y="47"/>
                  </a:moveTo>
                  <a:lnTo>
                    <a:pt x="58" y="49"/>
                  </a:lnTo>
                  <a:lnTo>
                    <a:pt x="54" y="41"/>
                  </a:lnTo>
                  <a:lnTo>
                    <a:pt x="44" y="39"/>
                  </a:lnTo>
                  <a:lnTo>
                    <a:pt x="35" y="29"/>
                  </a:lnTo>
                  <a:lnTo>
                    <a:pt x="11" y="18"/>
                  </a:lnTo>
                  <a:lnTo>
                    <a:pt x="2" y="10"/>
                  </a:lnTo>
                  <a:lnTo>
                    <a:pt x="0" y="0"/>
                  </a:lnTo>
                  <a:lnTo>
                    <a:pt x="33" y="2"/>
                  </a:lnTo>
                  <a:lnTo>
                    <a:pt x="56" y="16"/>
                  </a:lnTo>
                  <a:lnTo>
                    <a:pt x="77" y="31"/>
                  </a:lnTo>
                  <a:lnTo>
                    <a:pt x="79" y="60"/>
                  </a:lnTo>
                  <a:lnTo>
                    <a:pt x="66" y="70"/>
                  </a:lnTo>
                  <a:lnTo>
                    <a:pt x="58" y="86"/>
                  </a:lnTo>
                  <a:lnTo>
                    <a:pt x="50" y="74"/>
                  </a:lnTo>
                  <a:lnTo>
                    <a:pt x="46" y="47"/>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61" name="Google Shape;2261;g7826bb8c5e_0_4294"/>
            <p:cNvSpPr/>
            <p:nvPr/>
          </p:nvSpPr>
          <p:spPr>
            <a:xfrm>
              <a:off x="3243414" y="3995487"/>
              <a:ext cx="52123" cy="81918"/>
            </a:xfrm>
            <a:custGeom>
              <a:avLst/>
              <a:gdLst/>
              <a:ahLst/>
              <a:cxnLst/>
              <a:rect l="l" t="t" r="r" b="b"/>
              <a:pathLst>
                <a:path w="99" h="134" extrusionOk="0">
                  <a:moveTo>
                    <a:pt x="78" y="35"/>
                  </a:moveTo>
                  <a:lnTo>
                    <a:pt x="47" y="6"/>
                  </a:lnTo>
                  <a:lnTo>
                    <a:pt x="23" y="0"/>
                  </a:lnTo>
                  <a:lnTo>
                    <a:pt x="16" y="13"/>
                  </a:lnTo>
                  <a:lnTo>
                    <a:pt x="6" y="44"/>
                  </a:lnTo>
                  <a:lnTo>
                    <a:pt x="18" y="91"/>
                  </a:lnTo>
                  <a:lnTo>
                    <a:pt x="0" y="128"/>
                  </a:lnTo>
                  <a:lnTo>
                    <a:pt x="22" y="132"/>
                  </a:lnTo>
                  <a:lnTo>
                    <a:pt x="54" y="134"/>
                  </a:lnTo>
                  <a:lnTo>
                    <a:pt x="76" y="99"/>
                  </a:lnTo>
                  <a:lnTo>
                    <a:pt x="99" y="64"/>
                  </a:lnTo>
                  <a:lnTo>
                    <a:pt x="91" y="43"/>
                  </a:lnTo>
                  <a:lnTo>
                    <a:pt x="89" y="48"/>
                  </a:lnTo>
                  <a:lnTo>
                    <a:pt x="78" y="35"/>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62" name="Google Shape;2262;g7826bb8c5e_0_4294"/>
            <p:cNvSpPr/>
            <p:nvPr/>
          </p:nvSpPr>
          <p:spPr>
            <a:xfrm>
              <a:off x="2816262" y="3842574"/>
              <a:ext cx="212305" cy="382286"/>
            </a:xfrm>
            <a:custGeom>
              <a:avLst/>
              <a:gdLst/>
              <a:ahLst/>
              <a:cxnLst/>
              <a:rect l="l" t="t" r="r" b="b"/>
              <a:pathLst>
                <a:path w="405" h="630" extrusionOk="0">
                  <a:moveTo>
                    <a:pt x="171" y="42"/>
                  </a:moveTo>
                  <a:lnTo>
                    <a:pt x="159" y="58"/>
                  </a:lnTo>
                  <a:lnTo>
                    <a:pt x="163" y="50"/>
                  </a:lnTo>
                  <a:lnTo>
                    <a:pt x="144" y="52"/>
                  </a:lnTo>
                  <a:lnTo>
                    <a:pt x="120" y="83"/>
                  </a:lnTo>
                  <a:lnTo>
                    <a:pt x="116" y="110"/>
                  </a:lnTo>
                  <a:lnTo>
                    <a:pt x="80" y="145"/>
                  </a:lnTo>
                  <a:lnTo>
                    <a:pt x="76" y="167"/>
                  </a:lnTo>
                  <a:lnTo>
                    <a:pt x="68" y="149"/>
                  </a:lnTo>
                  <a:lnTo>
                    <a:pt x="60" y="139"/>
                  </a:lnTo>
                  <a:lnTo>
                    <a:pt x="62" y="168"/>
                  </a:lnTo>
                  <a:lnTo>
                    <a:pt x="49" y="178"/>
                  </a:lnTo>
                  <a:lnTo>
                    <a:pt x="41" y="194"/>
                  </a:lnTo>
                  <a:lnTo>
                    <a:pt x="51" y="209"/>
                  </a:lnTo>
                  <a:lnTo>
                    <a:pt x="58" y="244"/>
                  </a:lnTo>
                  <a:lnTo>
                    <a:pt x="51" y="260"/>
                  </a:lnTo>
                  <a:lnTo>
                    <a:pt x="53" y="289"/>
                  </a:lnTo>
                  <a:lnTo>
                    <a:pt x="56" y="318"/>
                  </a:lnTo>
                  <a:lnTo>
                    <a:pt x="60" y="322"/>
                  </a:lnTo>
                  <a:lnTo>
                    <a:pt x="39" y="364"/>
                  </a:lnTo>
                  <a:lnTo>
                    <a:pt x="18" y="374"/>
                  </a:lnTo>
                  <a:lnTo>
                    <a:pt x="12" y="395"/>
                  </a:lnTo>
                  <a:lnTo>
                    <a:pt x="0" y="401"/>
                  </a:lnTo>
                  <a:lnTo>
                    <a:pt x="4" y="415"/>
                  </a:lnTo>
                  <a:lnTo>
                    <a:pt x="31" y="434"/>
                  </a:lnTo>
                  <a:lnTo>
                    <a:pt x="53" y="453"/>
                  </a:lnTo>
                  <a:lnTo>
                    <a:pt x="84" y="453"/>
                  </a:lnTo>
                  <a:lnTo>
                    <a:pt x="122" y="473"/>
                  </a:lnTo>
                  <a:lnTo>
                    <a:pt x="124" y="471"/>
                  </a:lnTo>
                  <a:lnTo>
                    <a:pt x="144" y="488"/>
                  </a:lnTo>
                  <a:lnTo>
                    <a:pt x="161" y="508"/>
                  </a:lnTo>
                  <a:lnTo>
                    <a:pt x="188" y="537"/>
                  </a:lnTo>
                  <a:lnTo>
                    <a:pt x="194" y="554"/>
                  </a:lnTo>
                  <a:lnTo>
                    <a:pt x="235" y="556"/>
                  </a:lnTo>
                  <a:lnTo>
                    <a:pt x="262" y="556"/>
                  </a:lnTo>
                  <a:lnTo>
                    <a:pt x="295" y="568"/>
                  </a:lnTo>
                  <a:lnTo>
                    <a:pt x="281" y="614"/>
                  </a:lnTo>
                  <a:lnTo>
                    <a:pt x="303" y="630"/>
                  </a:lnTo>
                  <a:lnTo>
                    <a:pt x="310" y="576"/>
                  </a:lnTo>
                  <a:lnTo>
                    <a:pt x="318" y="523"/>
                  </a:lnTo>
                  <a:lnTo>
                    <a:pt x="305" y="483"/>
                  </a:lnTo>
                  <a:lnTo>
                    <a:pt x="297" y="448"/>
                  </a:lnTo>
                  <a:lnTo>
                    <a:pt x="322" y="446"/>
                  </a:lnTo>
                  <a:lnTo>
                    <a:pt x="328" y="436"/>
                  </a:lnTo>
                  <a:lnTo>
                    <a:pt x="308" y="428"/>
                  </a:lnTo>
                  <a:lnTo>
                    <a:pt x="305" y="403"/>
                  </a:lnTo>
                  <a:lnTo>
                    <a:pt x="334" y="403"/>
                  </a:lnTo>
                  <a:lnTo>
                    <a:pt x="363" y="403"/>
                  </a:lnTo>
                  <a:lnTo>
                    <a:pt x="359" y="397"/>
                  </a:lnTo>
                  <a:lnTo>
                    <a:pt x="367" y="401"/>
                  </a:lnTo>
                  <a:lnTo>
                    <a:pt x="386" y="388"/>
                  </a:lnTo>
                  <a:lnTo>
                    <a:pt x="398" y="421"/>
                  </a:lnTo>
                  <a:lnTo>
                    <a:pt x="405" y="422"/>
                  </a:lnTo>
                  <a:lnTo>
                    <a:pt x="398" y="391"/>
                  </a:lnTo>
                  <a:lnTo>
                    <a:pt x="378" y="362"/>
                  </a:lnTo>
                  <a:lnTo>
                    <a:pt x="390" y="345"/>
                  </a:lnTo>
                  <a:lnTo>
                    <a:pt x="374" y="296"/>
                  </a:lnTo>
                  <a:lnTo>
                    <a:pt x="382" y="265"/>
                  </a:lnTo>
                  <a:lnTo>
                    <a:pt x="390" y="232"/>
                  </a:lnTo>
                  <a:lnTo>
                    <a:pt x="361" y="234"/>
                  </a:lnTo>
                  <a:lnTo>
                    <a:pt x="332" y="236"/>
                  </a:lnTo>
                  <a:lnTo>
                    <a:pt x="301" y="203"/>
                  </a:lnTo>
                  <a:lnTo>
                    <a:pt x="275" y="201"/>
                  </a:lnTo>
                  <a:lnTo>
                    <a:pt x="250" y="201"/>
                  </a:lnTo>
                  <a:lnTo>
                    <a:pt x="225" y="188"/>
                  </a:lnTo>
                  <a:lnTo>
                    <a:pt x="227" y="163"/>
                  </a:lnTo>
                  <a:lnTo>
                    <a:pt x="210" y="120"/>
                  </a:lnTo>
                  <a:lnTo>
                    <a:pt x="196" y="120"/>
                  </a:lnTo>
                  <a:lnTo>
                    <a:pt x="210" y="89"/>
                  </a:lnTo>
                  <a:lnTo>
                    <a:pt x="229" y="56"/>
                  </a:lnTo>
                  <a:lnTo>
                    <a:pt x="248" y="25"/>
                  </a:lnTo>
                  <a:lnTo>
                    <a:pt x="270" y="17"/>
                  </a:lnTo>
                  <a:lnTo>
                    <a:pt x="274" y="0"/>
                  </a:lnTo>
                  <a:lnTo>
                    <a:pt x="252" y="2"/>
                  </a:lnTo>
                  <a:lnTo>
                    <a:pt x="221" y="21"/>
                  </a:lnTo>
                  <a:lnTo>
                    <a:pt x="190" y="41"/>
                  </a:lnTo>
                  <a:lnTo>
                    <a:pt x="171" y="42"/>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63" name="Google Shape;2263;g7826bb8c5e_0_4294"/>
            <p:cNvSpPr/>
            <p:nvPr/>
          </p:nvSpPr>
          <p:spPr>
            <a:xfrm>
              <a:off x="3126455" y="3931319"/>
              <a:ext cx="82634" cy="165201"/>
            </a:xfrm>
            <a:custGeom>
              <a:avLst/>
              <a:gdLst/>
              <a:ahLst/>
              <a:cxnLst/>
              <a:rect l="l" t="t" r="r" b="b"/>
              <a:pathLst>
                <a:path w="159" h="274" extrusionOk="0">
                  <a:moveTo>
                    <a:pt x="128" y="196"/>
                  </a:moveTo>
                  <a:lnTo>
                    <a:pt x="111" y="175"/>
                  </a:lnTo>
                  <a:lnTo>
                    <a:pt x="115" y="142"/>
                  </a:lnTo>
                  <a:lnTo>
                    <a:pt x="130" y="134"/>
                  </a:lnTo>
                  <a:lnTo>
                    <a:pt x="136" y="115"/>
                  </a:lnTo>
                  <a:lnTo>
                    <a:pt x="134" y="86"/>
                  </a:lnTo>
                  <a:lnTo>
                    <a:pt x="99" y="62"/>
                  </a:lnTo>
                  <a:lnTo>
                    <a:pt x="91" y="76"/>
                  </a:lnTo>
                  <a:lnTo>
                    <a:pt x="93" y="39"/>
                  </a:lnTo>
                  <a:lnTo>
                    <a:pt x="74" y="23"/>
                  </a:lnTo>
                  <a:lnTo>
                    <a:pt x="55" y="6"/>
                  </a:lnTo>
                  <a:lnTo>
                    <a:pt x="62" y="12"/>
                  </a:lnTo>
                  <a:lnTo>
                    <a:pt x="49" y="0"/>
                  </a:lnTo>
                  <a:lnTo>
                    <a:pt x="53" y="8"/>
                  </a:lnTo>
                  <a:lnTo>
                    <a:pt x="22" y="37"/>
                  </a:lnTo>
                  <a:lnTo>
                    <a:pt x="35" y="53"/>
                  </a:lnTo>
                  <a:lnTo>
                    <a:pt x="12" y="68"/>
                  </a:lnTo>
                  <a:lnTo>
                    <a:pt x="0" y="97"/>
                  </a:lnTo>
                  <a:lnTo>
                    <a:pt x="18" y="126"/>
                  </a:lnTo>
                  <a:lnTo>
                    <a:pt x="37" y="124"/>
                  </a:lnTo>
                  <a:lnTo>
                    <a:pt x="41" y="146"/>
                  </a:lnTo>
                  <a:lnTo>
                    <a:pt x="55" y="167"/>
                  </a:lnTo>
                  <a:lnTo>
                    <a:pt x="45" y="200"/>
                  </a:lnTo>
                  <a:lnTo>
                    <a:pt x="49" y="245"/>
                  </a:lnTo>
                  <a:lnTo>
                    <a:pt x="72" y="274"/>
                  </a:lnTo>
                  <a:lnTo>
                    <a:pt x="91" y="274"/>
                  </a:lnTo>
                  <a:lnTo>
                    <a:pt x="126" y="256"/>
                  </a:lnTo>
                  <a:lnTo>
                    <a:pt x="159" y="250"/>
                  </a:lnTo>
                  <a:lnTo>
                    <a:pt x="144" y="223"/>
                  </a:lnTo>
                  <a:lnTo>
                    <a:pt x="128" y="196"/>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64" name="Google Shape;2264;g7826bb8c5e_0_4294"/>
            <p:cNvSpPr/>
            <p:nvPr/>
          </p:nvSpPr>
          <p:spPr>
            <a:xfrm>
              <a:off x="3184935" y="3990026"/>
              <a:ext cx="68650" cy="95572"/>
            </a:xfrm>
            <a:custGeom>
              <a:avLst/>
              <a:gdLst/>
              <a:ahLst/>
              <a:cxnLst/>
              <a:rect l="l" t="t" r="r" b="b"/>
              <a:pathLst>
                <a:path w="132" h="155" extrusionOk="0">
                  <a:moveTo>
                    <a:pt x="17" y="97"/>
                  </a:moveTo>
                  <a:lnTo>
                    <a:pt x="0" y="76"/>
                  </a:lnTo>
                  <a:lnTo>
                    <a:pt x="4" y="43"/>
                  </a:lnTo>
                  <a:lnTo>
                    <a:pt x="19" y="35"/>
                  </a:lnTo>
                  <a:lnTo>
                    <a:pt x="25" y="16"/>
                  </a:lnTo>
                  <a:lnTo>
                    <a:pt x="31" y="2"/>
                  </a:lnTo>
                  <a:lnTo>
                    <a:pt x="70" y="4"/>
                  </a:lnTo>
                  <a:lnTo>
                    <a:pt x="101" y="2"/>
                  </a:lnTo>
                  <a:lnTo>
                    <a:pt x="99" y="0"/>
                  </a:lnTo>
                  <a:lnTo>
                    <a:pt x="132" y="2"/>
                  </a:lnTo>
                  <a:lnTo>
                    <a:pt x="128" y="21"/>
                  </a:lnTo>
                  <a:lnTo>
                    <a:pt x="118" y="52"/>
                  </a:lnTo>
                  <a:lnTo>
                    <a:pt x="130" y="99"/>
                  </a:lnTo>
                  <a:lnTo>
                    <a:pt x="112" y="136"/>
                  </a:lnTo>
                  <a:lnTo>
                    <a:pt x="91" y="130"/>
                  </a:lnTo>
                  <a:lnTo>
                    <a:pt x="62" y="136"/>
                  </a:lnTo>
                  <a:lnTo>
                    <a:pt x="64" y="155"/>
                  </a:lnTo>
                  <a:lnTo>
                    <a:pt x="48" y="151"/>
                  </a:lnTo>
                  <a:lnTo>
                    <a:pt x="33" y="124"/>
                  </a:lnTo>
                  <a:lnTo>
                    <a:pt x="17" y="97"/>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65" name="Google Shape;2265;g7826bb8c5e_0_4294"/>
            <p:cNvSpPr/>
            <p:nvPr/>
          </p:nvSpPr>
          <p:spPr>
            <a:xfrm>
              <a:off x="3122641" y="3878071"/>
              <a:ext cx="12713" cy="16383"/>
            </a:xfrm>
            <a:custGeom>
              <a:avLst/>
              <a:gdLst/>
              <a:ahLst/>
              <a:cxnLst/>
              <a:rect l="l" t="t" r="r" b="b"/>
              <a:pathLst>
                <a:path w="31" h="25" extrusionOk="0">
                  <a:moveTo>
                    <a:pt x="9" y="0"/>
                  </a:moveTo>
                  <a:lnTo>
                    <a:pt x="31" y="0"/>
                  </a:lnTo>
                  <a:lnTo>
                    <a:pt x="21" y="25"/>
                  </a:lnTo>
                  <a:lnTo>
                    <a:pt x="0" y="23"/>
                  </a:lnTo>
                  <a:lnTo>
                    <a:pt x="13" y="8"/>
                  </a:lnTo>
                  <a:lnTo>
                    <a:pt x="9" y="0"/>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66" name="Google Shape;2266;g7826bb8c5e_0_4294"/>
            <p:cNvSpPr/>
            <p:nvPr/>
          </p:nvSpPr>
          <p:spPr>
            <a:xfrm>
              <a:off x="2917965" y="3845304"/>
              <a:ext cx="236459" cy="263504"/>
            </a:xfrm>
            <a:custGeom>
              <a:avLst/>
              <a:gdLst/>
              <a:ahLst/>
              <a:cxnLst/>
              <a:rect l="l" t="t" r="r" b="b"/>
              <a:pathLst>
                <a:path w="452" h="434" extrusionOk="0">
                  <a:moveTo>
                    <a:pt x="376" y="95"/>
                  </a:moveTo>
                  <a:lnTo>
                    <a:pt x="374" y="89"/>
                  </a:lnTo>
                  <a:lnTo>
                    <a:pt x="366" y="79"/>
                  </a:lnTo>
                  <a:lnTo>
                    <a:pt x="353" y="81"/>
                  </a:lnTo>
                  <a:lnTo>
                    <a:pt x="361" y="79"/>
                  </a:lnTo>
                  <a:lnTo>
                    <a:pt x="351" y="69"/>
                  </a:lnTo>
                  <a:lnTo>
                    <a:pt x="384" y="58"/>
                  </a:lnTo>
                  <a:lnTo>
                    <a:pt x="349" y="58"/>
                  </a:lnTo>
                  <a:lnTo>
                    <a:pt x="312" y="60"/>
                  </a:lnTo>
                  <a:lnTo>
                    <a:pt x="324" y="64"/>
                  </a:lnTo>
                  <a:lnTo>
                    <a:pt x="291" y="79"/>
                  </a:lnTo>
                  <a:lnTo>
                    <a:pt x="244" y="64"/>
                  </a:lnTo>
                  <a:lnTo>
                    <a:pt x="213" y="64"/>
                  </a:lnTo>
                  <a:lnTo>
                    <a:pt x="182" y="64"/>
                  </a:lnTo>
                  <a:lnTo>
                    <a:pt x="171" y="40"/>
                  </a:lnTo>
                  <a:lnTo>
                    <a:pt x="134" y="25"/>
                  </a:lnTo>
                  <a:lnTo>
                    <a:pt x="120" y="0"/>
                  </a:lnTo>
                  <a:lnTo>
                    <a:pt x="110" y="15"/>
                  </a:lnTo>
                  <a:lnTo>
                    <a:pt x="126" y="25"/>
                  </a:lnTo>
                  <a:lnTo>
                    <a:pt x="118" y="27"/>
                  </a:lnTo>
                  <a:lnTo>
                    <a:pt x="74" y="44"/>
                  </a:lnTo>
                  <a:lnTo>
                    <a:pt x="68" y="52"/>
                  </a:lnTo>
                  <a:lnTo>
                    <a:pt x="78" y="100"/>
                  </a:lnTo>
                  <a:lnTo>
                    <a:pt x="62" y="118"/>
                  </a:lnTo>
                  <a:lnTo>
                    <a:pt x="45" y="93"/>
                  </a:lnTo>
                  <a:lnTo>
                    <a:pt x="62" y="60"/>
                  </a:lnTo>
                  <a:lnTo>
                    <a:pt x="52" y="29"/>
                  </a:lnTo>
                  <a:lnTo>
                    <a:pt x="74" y="11"/>
                  </a:lnTo>
                  <a:lnTo>
                    <a:pt x="52" y="19"/>
                  </a:lnTo>
                  <a:lnTo>
                    <a:pt x="33" y="50"/>
                  </a:lnTo>
                  <a:lnTo>
                    <a:pt x="14" y="83"/>
                  </a:lnTo>
                  <a:lnTo>
                    <a:pt x="0" y="114"/>
                  </a:lnTo>
                  <a:lnTo>
                    <a:pt x="14" y="114"/>
                  </a:lnTo>
                  <a:lnTo>
                    <a:pt x="31" y="157"/>
                  </a:lnTo>
                  <a:lnTo>
                    <a:pt x="29" y="182"/>
                  </a:lnTo>
                  <a:lnTo>
                    <a:pt x="54" y="195"/>
                  </a:lnTo>
                  <a:lnTo>
                    <a:pt x="79" y="195"/>
                  </a:lnTo>
                  <a:lnTo>
                    <a:pt x="105" y="197"/>
                  </a:lnTo>
                  <a:lnTo>
                    <a:pt x="136" y="230"/>
                  </a:lnTo>
                  <a:lnTo>
                    <a:pt x="165" y="228"/>
                  </a:lnTo>
                  <a:lnTo>
                    <a:pt x="194" y="226"/>
                  </a:lnTo>
                  <a:lnTo>
                    <a:pt x="186" y="259"/>
                  </a:lnTo>
                  <a:lnTo>
                    <a:pt x="178" y="290"/>
                  </a:lnTo>
                  <a:lnTo>
                    <a:pt x="194" y="339"/>
                  </a:lnTo>
                  <a:lnTo>
                    <a:pt x="182" y="356"/>
                  </a:lnTo>
                  <a:lnTo>
                    <a:pt x="202" y="385"/>
                  </a:lnTo>
                  <a:lnTo>
                    <a:pt x="209" y="416"/>
                  </a:lnTo>
                  <a:lnTo>
                    <a:pt x="236" y="434"/>
                  </a:lnTo>
                  <a:lnTo>
                    <a:pt x="254" y="432"/>
                  </a:lnTo>
                  <a:lnTo>
                    <a:pt x="258" y="434"/>
                  </a:lnTo>
                  <a:lnTo>
                    <a:pt x="293" y="409"/>
                  </a:lnTo>
                  <a:lnTo>
                    <a:pt x="322" y="382"/>
                  </a:lnTo>
                  <a:lnTo>
                    <a:pt x="328" y="372"/>
                  </a:lnTo>
                  <a:lnTo>
                    <a:pt x="306" y="364"/>
                  </a:lnTo>
                  <a:lnTo>
                    <a:pt x="297" y="321"/>
                  </a:lnTo>
                  <a:lnTo>
                    <a:pt x="285" y="302"/>
                  </a:lnTo>
                  <a:lnTo>
                    <a:pt x="318" y="312"/>
                  </a:lnTo>
                  <a:lnTo>
                    <a:pt x="349" y="323"/>
                  </a:lnTo>
                  <a:lnTo>
                    <a:pt x="355" y="310"/>
                  </a:lnTo>
                  <a:lnTo>
                    <a:pt x="384" y="298"/>
                  </a:lnTo>
                  <a:lnTo>
                    <a:pt x="411" y="287"/>
                  </a:lnTo>
                  <a:lnTo>
                    <a:pt x="421" y="265"/>
                  </a:lnTo>
                  <a:lnTo>
                    <a:pt x="417" y="265"/>
                  </a:lnTo>
                  <a:lnTo>
                    <a:pt x="399" y="236"/>
                  </a:lnTo>
                  <a:lnTo>
                    <a:pt x="411" y="207"/>
                  </a:lnTo>
                  <a:lnTo>
                    <a:pt x="434" y="192"/>
                  </a:lnTo>
                  <a:lnTo>
                    <a:pt x="421" y="176"/>
                  </a:lnTo>
                  <a:lnTo>
                    <a:pt x="452" y="147"/>
                  </a:lnTo>
                  <a:lnTo>
                    <a:pt x="448" y="139"/>
                  </a:lnTo>
                  <a:lnTo>
                    <a:pt x="413" y="137"/>
                  </a:lnTo>
                  <a:lnTo>
                    <a:pt x="392" y="137"/>
                  </a:lnTo>
                  <a:lnTo>
                    <a:pt x="399" y="135"/>
                  </a:lnTo>
                  <a:lnTo>
                    <a:pt x="411" y="118"/>
                  </a:lnTo>
                  <a:lnTo>
                    <a:pt x="421" y="110"/>
                  </a:lnTo>
                  <a:lnTo>
                    <a:pt x="399" y="91"/>
                  </a:lnTo>
                  <a:lnTo>
                    <a:pt x="388" y="93"/>
                  </a:lnTo>
                  <a:lnTo>
                    <a:pt x="374" y="85"/>
                  </a:lnTo>
                  <a:lnTo>
                    <a:pt x="376" y="95"/>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67" name="Google Shape;2267;g7826bb8c5e_0_4294"/>
            <p:cNvSpPr/>
            <p:nvPr/>
          </p:nvSpPr>
          <p:spPr>
            <a:xfrm>
              <a:off x="3079418" y="3871246"/>
              <a:ext cx="7627" cy="4096"/>
            </a:xfrm>
            <a:custGeom>
              <a:avLst/>
              <a:gdLst/>
              <a:ahLst/>
              <a:cxnLst/>
              <a:rect l="l" t="t" r="r" b="b"/>
              <a:pathLst>
                <a:path w="16" h="4" extrusionOk="0">
                  <a:moveTo>
                    <a:pt x="16" y="4"/>
                  </a:moveTo>
                  <a:lnTo>
                    <a:pt x="16" y="2"/>
                  </a:lnTo>
                  <a:lnTo>
                    <a:pt x="0" y="0"/>
                  </a:lnTo>
                  <a:lnTo>
                    <a:pt x="16" y="4"/>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68" name="Google Shape;2268;g7826bb8c5e_0_4294"/>
            <p:cNvSpPr/>
            <p:nvPr/>
          </p:nvSpPr>
          <p:spPr>
            <a:xfrm>
              <a:off x="2741254" y="3592724"/>
              <a:ext cx="181794" cy="72361"/>
            </a:xfrm>
            <a:custGeom>
              <a:avLst/>
              <a:gdLst/>
              <a:ahLst/>
              <a:cxnLst/>
              <a:rect l="l" t="t" r="r" b="b"/>
              <a:pathLst>
                <a:path w="345" h="122" extrusionOk="0">
                  <a:moveTo>
                    <a:pt x="242" y="48"/>
                  </a:moveTo>
                  <a:lnTo>
                    <a:pt x="242" y="52"/>
                  </a:lnTo>
                  <a:lnTo>
                    <a:pt x="209" y="35"/>
                  </a:lnTo>
                  <a:lnTo>
                    <a:pt x="176" y="17"/>
                  </a:lnTo>
                  <a:lnTo>
                    <a:pt x="151" y="8"/>
                  </a:lnTo>
                  <a:lnTo>
                    <a:pt x="126" y="2"/>
                  </a:lnTo>
                  <a:lnTo>
                    <a:pt x="114" y="0"/>
                  </a:lnTo>
                  <a:lnTo>
                    <a:pt x="73" y="8"/>
                  </a:lnTo>
                  <a:lnTo>
                    <a:pt x="35" y="15"/>
                  </a:lnTo>
                  <a:lnTo>
                    <a:pt x="17" y="39"/>
                  </a:lnTo>
                  <a:lnTo>
                    <a:pt x="0" y="50"/>
                  </a:lnTo>
                  <a:lnTo>
                    <a:pt x="11" y="46"/>
                  </a:lnTo>
                  <a:lnTo>
                    <a:pt x="38" y="35"/>
                  </a:lnTo>
                  <a:lnTo>
                    <a:pt x="66" y="21"/>
                  </a:lnTo>
                  <a:lnTo>
                    <a:pt x="108" y="21"/>
                  </a:lnTo>
                  <a:lnTo>
                    <a:pt x="93" y="27"/>
                  </a:lnTo>
                  <a:lnTo>
                    <a:pt x="122" y="35"/>
                  </a:lnTo>
                  <a:lnTo>
                    <a:pt x="139" y="40"/>
                  </a:lnTo>
                  <a:lnTo>
                    <a:pt x="149" y="46"/>
                  </a:lnTo>
                  <a:lnTo>
                    <a:pt x="195" y="58"/>
                  </a:lnTo>
                  <a:lnTo>
                    <a:pt x="205" y="79"/>
                  </a:lnTo>
                  <a:lnTo>
                    <a:pt x="244" y="99"/>
                  </a:lnTo>
                  <a:lnTo>
                    <a:pt x="226" y="122"/>
                  </a:lnTo>
                  <a:lnTo>
                    <a:pt x="257" y="122"/>
                  </a:lnTo>
                  <a:lnTo>
                    <a:pt x="290" y="120"/>
                  </a:lnTo>
                  <a:lnTo>
                    <a:pt x="318" y="116"/>
                  </a:lnTo>
                  <a:lnTo>
                    <a:pt x="345" y="112"/>
                  </a:lnTo>
                  <a:lnTo>
                    <a:pt x="319" y="101"/>
                  </a:lnTo>
                  <a:lnTo>
                    <a:pt x="296" y="87"/>
                  </a:lnTo>
                  <a:lnTo>
                    <a:pt x="294" y="75"/>
                  </a:lnTo>
                  <a:lnTo>
                    <a:pt x="271" y="68"/>
                  </a:lnTo>
                  <a:lnTo>
                    <a:pt x="246" y="58"/>
                  </a:lnTo>
                  <a:lnTo>
                    <a:pt x="242" y="48"/>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69" name="Google Shape;2269;g7826bb8c5e_0_4294"/>
            <p:cNvSpPr/>
            <p:nvPr/>
          </p:nvSpPr>
          <p:spPr>
            <a:xfrm>
              <a:off x="2771766" y="3620029"/>
              <a:ext cx="11442" cy="9557"/>
            </a:xfrm>
            <a:custGeom>
              <a:avLst/>
              <a:gdLst/>
              <a:ahLst/>
              <a:cxnLst/>
              <a:rect l="l" t="t" r="r" b="b"/>
              <a:pathLst>
                <a:path w="17" h="16" extrusionOk="0">
                  <a:moveTo>
                    <a:pt x="0" y="16"/>
                  </a:moveTo>
                  <a:lnTo>
                    <a:pt x="17" y="16"/>
                  </a:lnTo>
                  <a:lnTo>
                    <a:pt x="6" y="0"/>
                  </a:lnTo>
                  <a:lnTo>
                    <a:pt x="0" y="16"/>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70" name="Google Shape;2270;g7826bb8c5e_0_4294"/>
            <p:cNvSpPr/>
            <p:nvPr/>
          </p:nvSpPr>
          <p:spPr>
            <a:xfrm>
              <a:off x="2794650" y="3677373"/>
              <a:ext cx="6356" cy="5462"/>
            </a:xfrm>
            <a:custGeom>
              <a:avLst/>
              <a:gdLst/>
              <a:ahLst/>
              <a:cxnLst/>
              <a:rect l="l" t="t" r="r" b="b"/>
              <a:pathLst>
                <a:path w="10" h="6" extrusionOk="0">
                  <a:moveTo>
                    <a:pt x="10" y="4"/>
                  </a:moveTo>
                  <a:lnTo>
                    <a:pt x="10" y="2"/>
                  </a:lnTo>
                  <a:lnTo>
                    <a:pt x="8" y="2"/>
                  </a:lnTo>
                  <a:lnTo>
                    <a:pt x="6" y="2"/>
                  </a:lnTo>
                  <a:lnTo>
                    <a:pt x="4" y="2"/>
                  </a:lnTo>
                  <a:lnTo>
                    <a:pt x="4" y="4"/>
                  </a:lnTo>
                  <a:lnTo>
                    <a:pt x="2" y="4"/>
                  </a:lnTo>
                  <a:lnTo>
                    <a:pt x="0" y="4"/>
                  </a:lnTo>
                  <a:lnTo>
                    <a:pt x="0" y="2"/>
                  </a:lnTo>
                  <a:lnTo>
                    <a:pt x="0" y="0"/>
                  </a:lnTo>
                  <a:lnTo>
                    <a:pt x="2" y="0"/>
                  </a:lnTo>
                  <a:lnTo>
                    <a:pt x="0" y="0"/>
                  </a:lnTo>
                  <a:lnTo>
                    <a:pt x="0" y="2"/>
                  </a:lnTo>
                  <a:lnTo>
                    <a:pt x="0" y="4"/>
                  </a:lnTo>
                  <a:lnTo>
                    <a:pt x="0" y="6"/>
                  </a:lnTo>
                  <a:lnTo>
                    <a:pt x="2" y="6"/>
                  </a:lnTo>
                  <a:lnTo>
                    <a:pt x="4" y="6"/>
                  </a:lnTo>
                  <a:lnTo>
                    <a:pt x="6" y="4"/>
                  </a:lnTo>
                  <a:lnTo>
                    <a:pt x="8" y="4"/>
                  </a:lnTo>
                  <a:lnTo>
                    <a:pt x="10" y="4"/>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71" name="Google Shape;2271;g7826bb8c5e_0_4294"/>
            <p:cNvSpPr/>
            <p:nvPr/>
          </p:nvSpPr>
          <p:spPr>
            <a:xfrm>
              <a:off x="2823889" y="3669181"/>
              <a:ext cx="1271" cy="4096"/>
            </a:xfrm>
            <a:custGeom>
              <a:avLst/>
              <a:gdLst/>
              <a:ahLst/>
              <a:cxnLst/>
              <a:rect l="l" t="t" r="r" b="b"/>
              <a:pathLst>
                <a:path w="4" h="4" extrusionOk="0">
                  <a:moveTo>
                    <a:pt x="4" y="0"/>
                  </a:moveTo>
                  <a:lnTo>
                    <a:pt x="2" y="0"/>
                  </a:lnTo>
                  <a:lnTo>
                    <a:pt x="2" y="2"/>
                  </a:lnTo>
                  <a:lnTo>
                    <a:pt x="0" y="2"/>
                  </a:lnTo>
                  <a:lnTo>
                    <a:pt x="0" y="4"/>
                  </a:lnTo>
                  <a:lnTo>
                    <a:pt x="0" y="2"/>
                  </a:lnTo>
                  <a:lnTo>
                    <a:pt x="2" y="2"/>
                  </a:lnTo>
                  <a:lnTo>
                    <a:pt x="4" y="2"/>
                  </a:lnTo>
                  <a:lnTo>
                    <a:pt x="4" y="0"/>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72" name="Google Shape;2272;g7826bb8c5e_0_4294"/>
            <p:cNvSpPr/>
            <p:nvPr/>
          </p:nvSpPr>
          <p:spPr>
            <a:xfrm>
              <a:off x="2818804" y="3671911"/>
              <a:ext cx="3813" cy="1364"/>
            </a:xfrm>
            <a:custGeom>
              <a:avLst/>
              <a:gdLst/>
              <a:ahLst/>
              <a:cxnLst/>
              <a:rect l="l" t="t" r="r" b="b"/>
              <a:pathLst>
                <a:path w="4" h="2" extrusionOk="0">
                  <a:moveTo>
                    <a:pt x="4" y="0"/>
                  </a:moveTo>
                  <a:lnTo>
                    <a:pt x="2" y="0"/>
                  </a:lnTo>
                  <a:lnTo>
                    <a:pt x="0" y="0"/>
                  </a:lnTo>
                  <a:lnTo>
                    <a:pt x="0" y="2"/>
                  </a:lnTo>
                  <a:lnTo>
                    <a:pt x="2" y="2"/>
                  </a:lnTo>
                  <a:lnTo>
                    <a:pt x="2" y="0"/>
                  </a:lnTo>
                  <a:lnTo>
                    <a:pt x="4" y="0"/>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73" name="Google Shape;2273;g7826bb8c5e_0_4294"/>
            <p:cNvSpPr/>
            <p:nvPr/>
          </p:nvSpPr>
          <p:spPr>
            <a:xfrm>
              <a:off x="3081960" y="3701947"/>
              <a:ext cx="3814" cy="0"/>
            </a:xfrm>
            <a:custGeom>
              <a:avLst/>
              <a:gdLst/>
              <a:ahLst/>
              <a:cxnLst/>
              <a:rect l="l" t="t" r="r" b="b"/>
              <a:pathLst>
                <a:path w="6" h="2" extrusionOk="0">
                  <a:moveTo>
                    <a:pt x="6" y="0"/>
                  </a:moveTo>
                  <a:lnTo>
                    <a:pt x="4" y="0"/>
                  </a:lnTo>
                  <a:lnTo>
                    <a:pt x="2" y="0"/>
                  </a:lnTo>
                  <a:lnTo>
                    <a:pt x="2" y="0"/>
                  </a:lnTo>
                  <a:lnTo>
                    <a:pt x="0" y="0"/>
                  </a:lnTo>
                  <a:lnTo>
                    <a:pt x="2" y="0"/>
                  </a:lnTo>
                  <a:lnTo>
                    <a:pt x="4" y="0"/>
                  </a:lnTo>
                  <a:lnTo>
                    <a:pt x="4" y="0"/>
                  </a:lnTo>
                  <a:lnTo>
                    <a:pt x="4" y="0"/>
                  </a:lnTo>
                  <a:lnTo>
                    <a:pt x="4" y="0"/>
                  </a:lnTo>
                  <a:lnTo>
                    <a:pt x="6" y="0"/>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74" name="Google Shape;2274;g7826bb8c5e_0_4294"/>
            <p:cNvSpPr/>
            <p:nvPr/>
          </p:nvSpPr>
          <p:spPr>
            <a:xfrm>
              <a:off x="3088317" y="3693756"/>
              <a:ext cx="2542" cy="0"/>
            </a:xfrm>
            <a:custGeom>
              <a:avLst/>
              <a:gdLst/>
              <a:ahLst/>
              <a:cxnLst/>
              <a:rect l="l" t="t" r="r" b="b"/>
              <a:pathLst>
                <a:path w="4" h="2" extrusionOk="0">
                  <a:moveTo>
                    <a:pt x="4" y="0"/>
                  </a:moveTo>
                  <a:lnTo>
                    <a:pt x="4" y="0"/>
                  </a:lnTo>
                  <a:lnTo>
                    <a:pt x="2" y="0"/>
                  </a:lnTo>
                  <a:lnTo>
                    <a:pt x="0" y="0"/>
                  </a:lnTo>
                  <a:lnTo>
                    <a:pt x="2" y="0"/>
                  </a:lnTo>
                  <a:lnTo>
                    <a:pt x="2" y="0"/>
                  </a:lnTo>
                  <a:lnTo>
                    <a:pt x="4" y="0"/>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75" name="Google Shape;2275;g7826bb8c5e_0_4294"/>
            <p:cNvSpPr/>
            <p:nvPr/>
          </p:nvSpPr>
          <p:spPr>
            <a:xfrm>
              <a:off x="3087045" y="3700581"/>
              <a:ext cx="1272" cy="1366"/>
            </a:xfrm>
            <a:custGeom>
              <a:avLst/>
              <a:gdLst/>
              <a:ahLst/>
              <a:cxnLst/>
              <a:rect l="l" t="t" r="r" b="b"/>
              <a:pathLst>
                <a:path w="4" h="2" extrusionOk="0">
                  <a:moveTo>
                    <a:pt x="4" y="0"/>
                  </a:moveTo>
                  <a:lnTo>
                    <a:pt x="2" y="0"/>
                  </a:lnTo>
                  <a:lnTo>
                    <a:pt x="2" y="2"/>
                  </a:lnTo>
                  <a:lnTo>
                    <a:pt x="0" y="2"/>
                  </a:lnTo>
                  <a:lnTo>
                    <a:pt x="0" y="0"/>
                  </a:lnTo>
                  <a:lnTo>
                    <a:pt x="2" y="0"/>
                  </a:lnTo>
                  <a:lnTo>
                    <a:pt x="4" y="0"/>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76" name="Google Shape;2276;g7826bb8c5e_0_4294"/>
            <p:cNvSpPr/>
            <p:nvPr/>
          </p:nvSpPr>
          <p:spPr>
            <a:xfrm>
              <a:off x="3079418" y="3701947"/>
              <a:ext cx="2542" cy="0"/>
            </a:xfrm>
            <a:custGeom>
              <a:avLst/>
              <a:gdLst/>
              <a:ahLst/>
              <a:cxnLst/>
              <a:rect l="l" t="t" r="r" b="b"/>
              <a:pathLst>
                <a:path w="2" h="120000" extrusionOk="0">
                  <a:moveTo>
                    <a:pt x="2" y="0"/>
                  </a:moveTo>
                  <a:lnTo>
                    <a:pt x="0" y="0"/>
                  </a:lnTo>
                  <a:lnTo>
                    <a:pt x="2" y="0"/>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77" name="Google Shape;2277;g7826bb8c5e_0_4294"/>
            <p:cNvSpPr/>
            <p:nvPr/>
          </p:nvSpPr>
          <p:spPr>
            <a:xfrm>
              <a:off x="3084503" y="3704679"/>
              <a:ext cx="1272" cy="0"/>
            </a:xfrm>
            <a:custGeom>
              <a:avLst/>
              <a:gdLst/>
              <a:ahLst/>
              <a:cxnLst/>
              <a:rect l="l" t="t" r="r" b="b"/>
              <a:pathLst>
                <a:path w="2" h="120000" extrusionOk="0">
                  <a:moveTo>
                    <a:pt x="2" y="0"/>
                  </a:moveTo>
                  <a:lnTo>
                    <a:pt x="0" y="0"/>
                  </a:lnTo>
                  <a:lnTo>
                    <a:pt x="2" y="0"/>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78" name="Google Shape;2278;g7826bb8c5e_0_4294"/>
            <p:cNvSpPr/>
            <p:nvPr/>
          </p:nvSpPr>
          <p:spPr>
            <a:xfrm>
              <a:off x="3083232" y="3704679"/>
              <a:ext cx="1200" cy="0"/>
            </a:xfrm>
            <a:prstGeom prst="rect">
              <a:avLst/>
            </a:prstGeom>
            <a:solidFill>
              <a:srgbClr val="FDE3D3"/>
            </a:solidFill>
            <a:ln w="9525" cap="flat" cmpd="sng">
              <a:solidFill>
                <a:srgbClr val="E7E6E6"/>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79" name="Google Shape;2279;g7826bb8c5e_0_4294"/>
            <p:cNvSpPr/>
            <p:nvPr/>
          </p:nvSpPr>
          <p:spPr>
            <a:xfrm>
              <a:off x="2958646" y="3666449"/>
              <a:ext cx="62292" cy="54612"/>
            </a:xfrm>
            <a:custGeom>
              <a:avLst/>
              <a:gdLst/>
              <a:ahLst/>
              <a:cxnLst/>
              <a:rect l="l" t="t" r="r" b="b"/>
              <a:pathLst>
                <a:path w="118" h="87" extrusionOk="0">
                  <a:moveTo>
                    <a:pt x="9" y="6"/>
                  </a:moveTo>
                  <a:lnTo>
                    <a:pt x="5" y="33"/>
                  </a:lnTo>
                  <a:lnTo>
                    <a:pt x="0" y="46"/>
                  </a:lnTo>
                  <a:lnTo>
                    <a:pt x="3" y="70"/>
                  </a:lnTo>
                  <a:lnTo>
                    <a:pt x="13" y="87"/>
                  </a:lnTo>
                  <a:lnTo>
                    <a:pt x="27" y="66"/>
                  </a:lnTo>
                  <a:lnTo>
                    <a:pt x="44" y="56"/>
                  </a:lnTo>
                  <a:lnTo>
                    <a:pt x="60" y="58"/>
                  </a:lnTo>
                  <a:lnTo>
                    <a:pt x="102" y="60"/>
                  </a:lnTo>
                  <a:lnTo>
                    <a:pt x="118" y="46"/>
                  </a:lnTo>
                  <a:lnTo>
                    <a:pt x="81" y="29"/>
                  </a:lnTo>
                  <a:lnTo>
                    <a:pt x="89" y="21"/>
                  </a:lnTo>
                  <a:lnTo>
                    <a:pt x="71" y="13"/>
                  </a:lnTo>
                  <a:lnTo>
                    <a:pt x="25" y="0"/>
                  </a:lnTo>
                  <a:lnTo>
                    <a:pt x="9" y="6"/>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80" name="Google Shape;2280;g7826bb8c5e_0_4294"/>
            <p:cNvSpPr/>
            <p:nvPr/>
          </p:nvSpPr>
          <p:spPr>
            <a:xfrm>
              <a:off x="2912879" y="3667815"/>
              <a:ext cx="50852" cy="42325"/>
            </a:xfrm>
            <a:custGeom>
              <a:avLst/>
              <a:gdLst/>
              <a:ahLst/>
              <a:cxnLst/>
              <a:rect l="l" t="t" r="r" b="b"/>
              <a:pathLst>
                <a:path w="95" h="68" extrusionOk="0">
                  <a:moveTo>
                    <a:pt x="95" y="4"/>
                  </a:moveTo>
                  <a:lnTo>
                    <a:pt x="91" y="31"/>
                  </a:lnTo>
                  <a:lnTo>
                    <a:pt x="86" y="44"/>
                  </a:lnTo>
                  <a:lnTo>
                    <a:pt x="89" y="68"/>
                  </a:lnTo>
                  <a:lnTo>
                    <a:pt x="55" y="66"/>
                  </a:lnTo>
                  <a:lnTo>
                    <a:pt x="22" y="64"/>
                  </a:lnTo>
                  <a:lnTo>
                    <a:pt x="0" y="52"/>
                  </a:lnTo>
                  <a:lnTo>
                    <a:pt x="18" y="46"/>
                  </a:lnTo>
                  <a:lnTo>
                    <a:pt x="45" y="48"/>
                  </a:lnTo>
                  <a:lnTo>
                    <a:pt x="72" y="48"/>
                  </a:lnTo>
                  <a:lnTo>
                    <a:pt x="60" y="19"/>
                  </a:lnTo>
                  <a:lnTo>
                    <a:pt x="47" y="8"/>
                  </a:lnTo>
                  <a:lnTo>
                    <a:pt x="43" y="0"/>
                  </a:lnTo>
                  <a:lnTo>
                    <a:pt x="76" y="2"/>
                  </a:lnTo>
                  <a:lnTo>
                    <a:pt x="95" y="4"/>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81" name="Google Shape;2281;g7826bb8c5e_0_4294"/>
            <p:cNvSpPr/>
            <p:nvPr/>
          </p:nvSpPr>
          <p:spPr>
            <a:xfrm>
              <a:off x="2958646" y="3622760"/>
              <a:ext cx="2542" cy="1364"/>
            </a:xfrm>
            <a:custGeom>
              <a:avLst/>
              <a:gdLst/>
              <a:ahLst/>
              <a:cxnLst/>
              <a:rect l="l" t="t" r="r" b="b"/>
              <a:pathLst>
                <a:path w="7" h="4" extrusionOk="0">
                  <a:moveTo>
                    <a:pt x="3" y="4"/>
                  </a:moveTo>
                  <a:lnTo>
                    <a:pt x="2" y="2"/>
                  </a:lnTo>
                  <a:lnTo>
                    <a:pt x="0" y="0"/>
                  </a:lnTo>
                  <a:lnTo>
                    <a:pt x="7" y="2"/>
                  </a:lnTo>
                  <a:lnTo>
                    <a:pt x="3" y="4"/>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82" name="Google Shape;2282;g7826bb8c5e_0_4294"/>
            <p:cNvSpPr/>
            <p:nvPr/>
          </p:nvSpPr>
          <p:spPr>
            <a:xfrm>
              <a:off x="3137897" y="3802980"/>
              <a:ext cx="3814" cy="8192"/>
            </a:xfrm>
            <a:custGeom>
              <a:avLst/>
              <a:gdLst/>
              <a:ahLst/>
              <a:cxnLst/>
              <a:rect l="l" t="t" r="r" b="b"/>
              <a:pathLst>
                <a:path w="7" h="13" extrusionOk="0">
                  <a:moveTo>
                    <a:pt x="3" y="13"/>
                  </a:moveTo>
                  <a:lnTo>
                    <a:pt x="0" y="8"/>
                  </a:lnTo>
                  <a:lnTo>
                    <a:pt x="7" y="0"/>
                  </a:lnTo>
                  <a:lnTo>
                    <a:pt x="3" y="13"/>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83" name="Google Shape;2283;g7826bb8c5e_0_4294"/>
            <p:cNvSpPr/>
            <p:nvPr/>
          </p:nvSpPr>
          <p:spPr>
            <a:xfrm>
              <a:off x="2700574" y="3871246"/>
              <a:ext cx="57208" cy="68265"/>
            </a:xfrm>
            <a:custGeom>
              <a:avLst/>
              <a:gdLst/>
              <a:ahLst/>
              <a:cxnLst/>
              <a:rect l="l" t="t" r="r" b="b"/>
              <a:pathLst>
                <a:path w="109" h="115" extrusionOk="0">
                  <a:moveTo>
                    <a:pt x="23" y="58"/>
                  </a:moveTo>
                  <a:lnTo>
                    <a:pt x="0" y="27"/>
                  </a:lnTo>
                  <a:lnTo>
                    <a:pt x="6" y="10"/>
                  </a:lnTo>
                  <a:lnTo>
                    <a:pt x="6" y="4"/>
                  </a:lnTo>
                  <a:lnTo>
                    <a:pt x="10" y="0"/>
                  </a:lnTo>
                  <a:lnTo>
                    <a:pt x="56" y="10"/>
                  </a:lnTo>
                  <a:lnTo>
                    <a:pt x="76" y="6"/>
                  </a:lnTo>
                  <a:lnTo>
                    <a:pt x="93" y="31"/>
                  </a:lnTo>
                  <a:lnTo>
                    <a:pt x="109" y="56"/>
                  </a:lnTo>
                  <a:lnTo>
                    <a:pt x="97" y="60"/>
                  </a:lnTo>
                  <a:lnTo>
                    <a:pt x="97" y="86"/>
                  </a:lnTo>
                  <a:lnTo>
                    <a:pt x="95" y="115"/>
                  </a:lnTo>
                  <a:lnTo>
                    <a:pt x="80" y="89"/>
                  </a:lnTo>
                  <a:lnTo>
                    <a:pt x="80" y="101"/>
                  </a:lnTo>
                  <a:lnTo>
                    <a:pt x="72" y="89"/>
                  </a:lnTo>
                  <a:lnTo>
                    <a:pt x="64" y="66"/>
                  </a:lnTo>
                  <a:lnTo>
                    <a:pt x="41" y="49"/>
                  </a:lnTo>
                  <a:lnTo>
                    <a:pt x="22" y="31"/>
                  </a:lnTo>
                  <a:lnTo>
                    <a:pt x="29" y="51"/>
                  </a:lnTo>
                  <a:lnTo>
                    <a:pt x="23" y="58"/>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84" name="Google Shape;2284;g7826bb8c5e_0_4294"/>
            <p:cNvSpPr/>
            <p:nvPr/>
          </p:nvSpPr>
          <p:spPr>
            <a:xfrm>
              <a:off x="2980257" y="3835748"/>
              <a:ext cx="2542" cy="4096"/>
            </a:xfrm>
            <a:custGeom>
              <a:avLst/>
              <a:gdLst/>
              <a:ahLst/>
              <a:cxnLst/>
              <a:rect l="l" t="t" r="r" b="b"/>
              <a:pathLst>
                <a:path w="6" h="8" extrusionOk="0">
                  <a:moveTo>
                    <a:pt x="2" y="0"/>
                  </a:moveTo>
                  <a:lnTo>
                    <a:pt x="0" y="2"/>
                  </a:lnTo>
                  <a:lnTo>
                    <a:pt x="6" y="8"/>
                  </a:lnTo>
                  <a:lnTo>
                    <a:pt x="2" y="0"/>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85" name="Google Shape;2285;g7826bb8c5e_0_4294"/>
            <p:cNvSpPr/>
            <p:nvPr/>
          </p:nvSpPr>
          <p:spPr>
            <a:xfrm>
              <a:off x="3162051" y="3819363"/>
              <a:ext cx="2542" cy="5462"/>
            </a:xfrm>
            <a:custGeom>
              <a:avLst/>
              <a:gdLst/>
              <a:ahLst/>
              <a:cxnLst/>
              <a:rect l="l" t="t" r="r" b="b"/>
              <a:pathLst>
                <a:path w="8" h="8" extrusionOk="0">
                  <a:moveTo>
                    <a:pt x="8" y="6"/>
                  </a:moveTo>
                  <a:lnTo>
                    <a:pt x="2" y="8"/>
                  </a:lnTo>
                  <a:lnTo>
                    <a:pt x="0" y="0"/>
                  </a:lnTo>
                  <a:lnTo>
                    <a:pt x="8" y="6"/>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86" name="Google Shape;2286;g7826bb8c5e_0_4294"/>
            <p:cNvSpPr/>
            <p:nvPr/>
          </p:nvSpPr>
          <p:spPr>
            <a:xfrm>
              <a:off x="3132812" y="3766117"/>
              <a:ext cx="2542" cy="9557"/>
            </a:xfrm>
            <a:custGeom>
              <a:avLst/>
              <a:gdLst/>
              <a:ahLst/>
              <a:cxnLst/>
              <a:rect l="l" t="t" r="r" b="b"/>
              <a:pathLst>
                <a:path w="6" h="15" extrusionOk="0">
                  <a:moveTo>
                    <a:pt x="6" y="9"/>
                  </a:moveTo>
                  <a:lnTo>
                    <a:pt x="2" y="15"/>
                  </a:lnTo>
                  <a:lnTo>
                    <a:pt x="0" y="0"/>
                  </a:lnTo>
                  <a:lnTo>
                    <a:pt x="4" y="0"/>
                  </a:lnTo>
                  <a:lnTo>
                    <a:pt x="6" y="9"/>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87" name="Google Shape;2287;g7826bb8c5e_0_4294"/>
            <p:cNvSpPr/>
            <p:nvPr/>
          </p:nvSpPr>
          <p:spPr>
            <a:xfrm>
              <a:off x="2633195" y="3793423"/>
              <a:ext cx="39409" cy="30036"/>
            </a:xfrm>
            <a:custGeom>
              <a:avLst/>
              <a:gdLst/>
              <a:ahLst/>
              <a:cxnLst/>
              <a:rect l="l" t="t" r="r" b="b"/>
              <a:pathLst>
                <a:path w="76" h="49" extrusionOk="0">
                  <a:moveTo>
                    <a:pt x="76" y="37"/>
                  </a:moveTo>
                  <a:lnTo>
                    <a:pt x="66" y="49"/>
                  </a:lnTo>
                  <a:lnTo>
                    <a:pt x="49" y="45"/>
                  </a:lnTo>
                  <a:lnTo>
                    <a:pt x="26" y="35"/>
                  </a:lnTo>
                  <a:lnTo>
                    <a:pt x="0" y="26"/>
                  </a:lnTo>
                  <a:lnTo>
                    <a:pt x="27" y="0"/>
                  </a:lnTo>
                  <a:lnTo>
                    <a:pt x="49" y="16"/>
                  </a:lnTo>
                  <a:lnTo>
                    <a:pt x="76" y="20"/>
                  </a:lnTo>
                  <a:lnTo>
                    <a:pt x="76" y="37"/>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88" name="Google Shape;2288;g7826bb8c5e_0_4294"/>
            <p:cNvSpPr/>
            <p:nvPr/>
          </p:nvSpPr>
          <p:spPr>
            <a:xfrm>
              <a:off x="3123913" y="3845304"/>
              <a:ext cx="2542" cy="5462"/>
            </a:xfrm>
            <a:custGeom>
              <a:avLst/>
              <a:gdLst/>
              <a:ahLst/>
              <a:cxnLst/>
              <a:rect l="l" t="t" r="r" b="b"/>
              <a:pathLst>
                <a:path w="6" h="9" extrusionOk="0">
                  <a:moveTo>
                    <a:pt x="6" y="4"/>
                  </a:moveTo>
                  <a:lnTo>
                    <a:pt x="6" y="2"/>
                  </a:lnTo>
                  <a:lnTo>
                    <a:pt x="6" y="0"/>
                  </a:lnTo>
                  <a:lnTo>
                    <a:pt x="4" y="0"/>
                  </a:lnTo>
                  <a:lnTo>
                    <a:pt x="2" y="2"/>
                  </a:lnTo>
                  <a:lnTo>
                    <a:pt x="2" y="4"/>
                  </a:lnTo>
                  <a:lnTo>
                    <a:pt x="0" y="5"/>
                  </a:lnTo>
                  <a:lnTo>
                    <a:pt x="2" y="5"/>
                  </a:lnTo>
                  <a:lnTo>
                    <a:pt x="2" y="7"/>
                  </a:lnTo>
                  <a:lnTo>
                    <a:pt x="0" y="7"/>
                  </a:lnTo>
                  <a:lnTo>
                    <a:pt x="0" y="9"/>
                  </a:lnTo>
                  <a:lnTo>
                    <a:pt x="0" y="7"/>
                  </a:lnTo>
                  <a:lnTo>
                    <a:pt x="2" y="7"/>
                  </a:lnTo>
                  <a:lnTo>
                    <a:pt x="4" y="7"/>
                  </a:lnTo>
                  <a:lnTo>
                    <a:pt x="6" y="7"/>
                  </a:lnTo>
                  <a:lnTo>
                    <a:pt x="6" y="5"/>
                  </a:lnTo>
                  <a:lnTo>
                    <a:pt x="6" y="4"/>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89" name="Google Shape;2289;g7826bb8c5e_0_4294"/>
            <p:cNvSpPr/>
            <p:nvPr/>
          </p:nvSpPr>
          <p:spPr>
            <a:xfrm>
              <a:off x="3127726" y="3842574"/>
              <a:ext cx="2400" cy="1366"/>
            </a:xfrm>
            <a:custGeom>
              <a:avLst/>
              <a:gdLst/>
              <a:ahLst/>
              <a:cxnLst/>
              <a:rect l="l" t="t" r="r" b="b"/>
              <a:pathLst>
                <a:path w="120000" h="2" extrusionOk="0">
                  <a:moveTo>
                    <a:pt x="0" y="0"/>
                  </a:moveTo>
                  <a:lnTo>
                    <a:pt x="0" y="2"/>
                  </a:lnTo>
                  <a:lnTo>
                    <a:pt x="0" y="0"/>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90" name="Google Shape;2290;g7826bb8c5e_0_4294"/>
            <p:cNvSpPr/>
            <p:nvPr/>
          </p:nvSpPr>
          <p:spPr>
            <a:xfrm>
              <a:off x="2645909" y="3759291"/>
              <a:ext cx="110601" cy="66900"/>
            </a:xfrm>
            <a:custGeom>
              <a:avLst/>
              <a:gdLst/>
              <a:ahLst/>
              <a:cxnLst/>
              <a:rect l="l" t="t" r="r" b="b"/>
              <a:pathLst>
                <a:path w="210" h="111" extrusionOk="0">
                  <a:moveTo>
                    <a:pt x="113" y="76"/>
                  </a:moveTo>
                  <a:lnTo>
                    <a:pt x="101" y="80"/>
                  </a:lnTo>
                  <a:lnTo>
                    <a:pt x="84" y="87"/>
                  </a:lnTo>
                  <a:lnTo>
                    <a:pt x="72" y="111"/>
                  </a:lnTo>
                  <a:lnTo>
                    <a:pt x="64" y="111"/>
                  </a:lnTo>
                  <a:lnTo>
                    <a:pt x="61" y="97"/>
                  </a:lnTo>
                  <a:lnTo>
                    <a:pt x="49" y="93"/>
                  </a:lnTo>
                  <a:lnTo>
                    <a:pt x="49" y="76"/>
                  </a:lnTo>
                  <a:lnTo>
                    <a:pt x="22" y="72"/>
                  </a:lnTo>
                  <a:lnTo>
                    <a:pt x="0" y="56"/>
                  </a:lnTo>
                  <a:lnTo>
                    <a:pt x="22" y="25"/>
                  </a:lnTo>
                  <a:lnTo>
                    <a:pt x="43" y="6"/>
                  </a:lnTo>
                  <a:lnTo>
                    <a:pt x="49" y="6"/>
                  </a:lnTo>
                  <a:lnTo>
                    <a:pt x="80" y="4"/>
                  </a:lnTo>
                  <a:lnTo>
                    <a:pt x="111" y="0"/>
                  </a:lnTo>
                  <a:lnTo>
                    <a:pt x="138" y="2"/>
                  </a:lnTo>
                  <a:lnTo>
                    <a:pt x="165" y="2"/>
                  </a:lnTo>
                  <a:lnTo>
                    <a:pt x="187" y="18"/>
                  </a:lnTo>
                  <a:lnTo>
                    <a:pt x="181" y="14"/>
                  </a:lnTo>
                  <a:lnTo>
                    <a:pt x="185" y="21"/>
                  </a:lnTo>
                  <a:lnTo>
                    <a:pt x="196" y="21"/>
                  </a:lnTo>
                  <a:lnTo>
                    <a:pt x="210" y="35"/>
                  </a:lnTo>
                  <a:lnTo>
                    <a:pt x="183" y="39"/>
                  </a:lnTo>
                  <a:lnTo>
                    <a:pt x="156" y="43"/>
                  </a:lnTo>
                  <a:lnTo>
                    <a:pt x="113" y="76"/>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91" name="Google Shape;2291;g7826bb8c5e_0_4294"/>
            <p:cNvSpPr/>
            <p:nvPr/>
          </p:nvSpPr>
          <p:spPr>
            <a:xfrm>
              <a:off x="3135354" y="3783866"/>
              <a:ext cx="6356" cy="9557"/>
            </a:xfrm>
            <a:custGeom>
              <a:avLst/>
              <a:gdLst/>
              <a:ahLst/>
              <a:cxnLst/>
              <a:rect l="l" t="t" r="r" b="b"/>
              <a:pathLst>
                <a:path w="11" h="13" extrusionOk="0">
                  <a:moveTo>
                    <a:pt x="11" y="11"/>
                  </a:moveTo>
                  <a:lnTo>
                    <a:pt x="0" y="0"/>
                  </a:lnTo>
                  <a:lnTo>
                    <a:pt x="11" y="13"/>
                  </a:lnTo>
                  <a:lnTo>
                    <a:pt x="11" y="11"/>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92" name="Google Shape;2292;g7826bb8c5e_0_4294"/>
            <p:cNvSpPr/>
            <p:nvPr/>
          </p:nvSpPr>
          <p:spPr>
            <a:xfrm>
              <a:off x="2672606" y="3779770"/>
              <a:ext cx="83905" cy="96937"/>
            </a:xfrm>
            <a:custGeom>
              <a:avLst/>
              <a:gdLst/>
              <a:ahLst/>
              <a:cxnLst/>
              <a:rect l="l" t="t" r="r" b="b"/>
              <a:pathLst>
                <a:path w="159" h="159" extrusionOk="0">
                  <a:moveTo>
                    <a:pt x="62" y="41"/>
                  </a:moveTo>
                  <a:lnTo>
                    <a:pt x="50" y="45"/>
                  </a:lnTo>
                  <a:lnTo>
                    <a:pt x="33" y="52"/>
                  </a:lnTo>
                  <a:lnTo>
                    <a:pt x="21" y="76"/>
                  </a:lnTo>
                  <a:lnTo>
                    <a:pt x="13" y="76"/>
                  </a:lnTo>
                  <a:lnTo>
                    <a:pt x="0" y="79"/>
                  </a:lnTo>
                  <a:lnTo>
                    <a:pt x="31" y="114"/>
                  </a:lnTo>
                  <a:lnTo>
                    <a:pt x="62" y="149"/>
                  </a:lnTo>
                  <a:lnTo>
                    <a:pt x="108" y="159"/>
                  </a:lnTo>
                  <a:lnTo>
                    <a:pt x="128" y="155"/>
                  </a:lnTo>
                  <a:lnTo>
                    <a:pt x="128" y="130"/>
                  </a:lnTo>
                  <a:lnTo>
                    <a:pt x="130" y="110"/>
                  </a:lnTo>
                  <a:lnTo>
                    <a:pt x="137" y="87"/>
                  </a:lnTo>
                  <a:lnTo>
                    <a:pt x="139" y="95"/>
                  </a:lnTo>
                  <a:lnTo>
                    <a:pt x="143" y="66"/>
                  </a:lnTo>
                  <a:lnTo>
                    <a:pt x="149" y="35"/>
                  </a:lnTo>
                  <a:lnTo>
                    <a:pt x="149" y="6"/>
                  </a:lnTo>
                  <a:lnTo>
                    <a:pt x="159" y="0"/>
                  </a:lnTo>
                  <a:lnTo>
                    <a:pt x="132" y="4"/>
                  </a:lnTo>
                  <a:lnTo>
                    <a:pt x="105" y="8"/>
                  </a:lnTo>
                  <a:lnTo>
                    <a:pt x="62" y="41"/>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93" name="Google Shape;2293;g7826bb8c5e_0_4294"/>
            <p:cNvSpPr/>
            <p:nvPr/>
          </p:nvSpPr>
          <p:spPr>
            <a:xfrm>
              <a:off x="3132812" y="3819363"/>
              <a:ext cx="1272" cy="4096"/>
            </a:xfrm>
            <a:custGeom>
              <a:avLst/>
              <a:gdLst/>
              <a:ahLst/>
              <a:cxnLst/>
              <a:rect l="l" t="t" r="r" b="b"/>
              <a:pathLst>
                <a:path w="4" h="8" extrusionOk="0">
                  <a:moveTo>
                    <a:pt x="4" y="8"/>
                  </a:moveTo>
                  <a:lnTo>
                    <a:pt x="4" y="0"/>
                  </a:lnTo>
                  <a:lnTo>
                    <a:pt x="0" y="4"/>
                  </a:lnTo>
                  <a:lnTo>
                    <a:pt x="4" y="8"/>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94" name="Google Shape;2294;g7826bb8c5e_0_4294"/>
            <p:cNvSpPr/>
            <p:nvPr/>
          </p:nvSpPr>
          <p:spPr>
            <a:xfrm>
              <a:off x="3116286" y="3730619"/>
              <a:ext cx="1271" cy="1366"/>
            </a:xfrm>
            <a:custGeom>
              <a:avLst/>
              <a:gdLst/>
              <a:ahLst/>
              <a:cxnLst/>
              <a:rect l="l" t="t" r="r" b="b"/>
              <a:pathLst>
                <a:path w="2" h="2" extrusionOk="0">
                  <a:moveTo>
                    <a:pt x="0" y="2"/>
                  </a:moveTo>
                  <a:lnTo>
                    <a:pt x="0" y="0"/>
                  </a:lnTo>
                  <a:lnTo>
                    <a:pt x="2" y="2"/>
                  </a:lnTo>
                  <a:lnTo>
                    <a:pt x="0" y="2"/>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95" name="Google Shape;2295;g7826bb8c5e_0_4294"/>
            <p:cNvSpPr/>
            <p:nvPr/>
          </p:nvSpPr>
          <p:spPr>
            <a:xfrm>
              <a:off x="3131541" y="3749734"/>
              <a:ext cx="1271" cy="6827"/>
            </a:xfrm>
            <a:custGeom>
              <a:avLst/>
              <a:gdLst/>
              <a:ahLst/>
              <a:cxnLst/>
              <a:rect l="l" t="t" r="r" b="b"/>
              <a:pathLst>
                <a:path w="6" h="9" extrusionOk="0">
                  <a:moveTo>
                    <a:pt x="6" y="0"/>
                  </a:moveTo>
                  <a:lnTo>
                    <a:pt x="6" y="1"/>
                  </a:lnTo>
                  <a:lnTo>
                    <a:pt x="0" y="9"/>
                  </a:lnTo>
                  <a:lnTo>
                    <a:pt x="6" y="0"/>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96" name="Google Shape;2296;g7826bb8c5e_0_4294"/>
            <p:cNvSpPr/>
            <p:nvPr/>
          </p:nvSpPr>
          <p:spPr>
            <a:xfrm>
              <a:off x="3107386" y="3704679"/>
              <a:ext cx="5085" cy="1364"/>
            </a:xfrm>
            <a:custGeom>
              <a:avLst/>
              <a:gdLst/>
              <a:ahLst/>
              <a:cxnLst/>
              <a:rect l="l" t="t" r="r" b="b"/>
              <a:pathLst>
                <a:path w="8" h="4" extrusionOk="0">
                  <a:moveTo>
                    <a:pt x="8" y="0"/>
                  </a:moveTo>
                  <a:lnTo>
                    <a:pt x="6" y="0"/>
                  </a:lnTo>
                  <a:lnTo>
                    <a:pt x="4" y="0"/>
                  </a:lnTo>
                  <a:lnTo>
                    <a:pt x="4" y="2"/>
                  </a:lnTo>
                  <a:lnTo>
                    <a:pt x="2" y="2"/>
                  </a:lnTo>
                  <a:lnTo>
                    <a:pt x="2" y="4"/>
                  </a:lnTo>
                  <a:lnTo>
                    <a:pt x="0" y="4"/>
                  </a:lnTo>
                  <a:lnTo>
                    <a:pt x="2" y="4"/>
                  </a:lnTo>
                  <a:lnTo>
                    <a:pt x="4" y="4"/>
                  </a:lnTo>
                  <a:lnTo>
                    <a:pt x="6" y="2"/>
                  </a:lnTo>
                  <a:lnTo>
                    <a:pt x="8" y="0"/>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97" name="Google Shape;2297;g7826bb8c5e_0_4294"/>
            <p:cNvSpPr/>
            <p:nvPr/>
          </p:nvSpPr>
          <p:spPr>
            <a:xfrm>
              <a:off x="3130270" y="3730619"/>
              <a:ext cx="2542" cy="4096"/>
            </a:xfrm>
            <a:custGeom>
              <a:avLst/>
              <a:gdLst/>
              <a:ahLst/>
              <a:cxnLst/>
              <a:rect l="l" t="t" r="r" b="b"/>
              <a:pathLst>
                <a:path w="8" h="5" extrusionOk="0">
                  <a:moveTo>
                    <a:pt x="4" y="0"/>
                  </a:moveTo>
                  <a:lnTo>
                    <a:pt x="2" y="2"/>
                  </a:lnTo>
                  <a:lnTo>
                    <a:pt x="0" y="5"/>
                  </a:lnTo>
                  <a:lnTo>
                    <a:pt x="8" y="3"/>
                  </a:lnTo>
                  <a:lnTo>
                    <a:pt x="4" y="0"/>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98" name="Google Shape;2298;g7826bb8c5e_0_4294"/>
            <p:cNvSpPr/>
            <p:nvPr/>
          </p:nvSpPr>
          <p:spPr>
            <a:xfrm>
              <a:off x="3131541" y="3718332"/>
              <a:ext cx="1271" cy="2730"/>
            </a:xfrm>
            <a:custGeom>
              <a:avLst/>
              <a:gdLst/>
              <a:ahLst/>
              <a:cxnLst/>
              <a:rect l="l" t="t" r="r" b="b"/>
              <a:pathLst>
                <a:path w="6" h="4" extrusionOk="0">
                  <a:moveTo>
                    <a:pt x="6" y="4"/>
                  </a:moveTo>
                  <a:lnTo>
                    <a:pt x="4" y="4"/>
                  </a:lnTo>
                  <a:lnTo>
                    <a:pt x="0" y="0"/>
                  </a:lnTo>
                  <a:lnTo>
                    <a:pt x="2" y="2"/>
                  </a:lnTo>
                  <a:lnTo>
                    <a:pt x="2" y="0"/>
                  </a:lnTo>
                  <a:lnTo>
                    <a:pt x="6" y="2"/>
                  </a:lnTo>
                  <a:lnTo>
                    <a:pt x="6" y="4"/>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299" name="Google Shape;2299;g7826bb8c5e_0_4294"/>
            <p:cNvSpPr/>
            <p:nvPr/>
          </p:nvSpPr>
          <p:spPr>
            <a:xfrm>
              <a:off x="2653537" y="3700581"/>
              <a:ext cx="21611" cy="58708"/>
            </a:xfrm>
            <a:custGeom>
              <a:avLst/>
              <a:gdLst/>
              <a:ahLst/>
              <a:cxnLst/>
              <a:rect l="l" t="t" r="r" b="b"/>
              <a:pathLst>
                <a:path w="45" h="99" extrusionOk="0">
                  <a:moveTo>
                    <a:pt x="27" y="80"/>
                  </a:moveTo>
                  <a:lnTo>
                    <a:pt x="10" y="99"/>
                  </a:lnTo>
                  <a:lnTo>
                    <a:pt x="0" y="99"/>
                  </a:lnTo>
                  <a:lnTo>
                    <a:pt x="6" y="62"/>
                  </a:lnTo>
                  <a:lnTo>
                    <a:pt x="12" y="25"/>
                  </a:lnTo>
                  <a:lnTo>
                    <a:pt x="41" y="0"/>
                  </a:lnTo>
                  <a:lnTo>
                    <a:pt x="45" y="6"/>
                  </a:lnTo>
                  <a:lnTo>
                    <a:pt x="35" y="43"/>
                  </a:lnTo>
                  <a:lnTo>
                    <a:pt x="27" y="8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00" name="Google Shape;2300;g7826bb8c5e_0_4294"/>
            <p:cNvSpPr/>
            <p:nvPr/>
          </p:nvSpPr>
          <p:spPr>
            <a:xfrm>
              <a:off x="2596328" y="3714234"/>
              <a:ext cx="73735" cy="95572"/>
            </a:xfrm>
            <a:custGeom>
              <a:avLst/>
              <a:gdLst/>
              <a:ahLst/>
              <a:cxnLst/>
              <a:rect l="l" t="t" r="r" b="b"/>
              <a:pathLst>
                <a:path w="139" h="156" extrusionOk="0">
                  <a:moveTo>
                    <a:pt x="13" y="138"/>
                  </a:moveTo>
                  <a:lnTo>
                    <a:pt x="0" y="124"/>
                  </a:lnTo>
                  <a:lnTo>
                    <a:pt x="3" y="97"/>
                  </a:lnTo>
                  <a:lnTo>
                    <a:pt x="25" y="68"/>
                  </a:lnTo>
                  <a:lnTo>
                    <a:pt x="67" y="60"/>
                  </a:lnTo>
                  <a:lnTo>
                    <a:pt x="44" y="26"/>
                  </a:lnTo>
                  <a:lnTo>
                    <a:pt x="56" y="22"/>
                  </a:lnTo>
                  <a:lnTo>
                    <a:pt x="58" y="0"/>
                  </a:lnTo>
                  <a:lnTo>
                    <a:pt x="89" y="0"/>
                  </a:lnTo>
                  <a:lnTo>
                    <a:pt x="120" y="0"/>
                  </a:lnTo>
                  <a:lnTo>
                    <a:pt x="114" y="37"/>
                  </a:lnTo>
                  <a:lnTo>
                    <a:pt x="108" y="74"/>
                  </a:lnTo>
                  <a:lnTo>
                    <a:pt x="118" y="74"/>
                  </a:lnTo>
                  <a:lnTo>
                    <a:pt x="129" y="76"/>
                  </a:lnTo>
                  <a:lnTo>
                    <a:pt x="139" y="80"/>
                  </a:lnTo>
                  <a:lnTo>
                    <a:pt x="118" y="99"/>
                  </a:lnTo>
                  <a:lnTo>
                    <a:pt x="96" y="130"/>
                  </a:lnTo>
                  <a:lnTo>
                    <a:pt x="69" y="156"/>
                  </a:lnTo>
                  <a:lnTo>
                    <a:pt x="42" y="148"/>
                  </a:lnTo>
                  <a:lnTo>
                    <a:pt x="13" y="138"/>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01" name="Google Shape;2301;g7826bb8c5e_0_4294"/>
            <p:cNvSpPr/>
            <p:nvPr/>
          </p:nvSpPr>
          <p:spPr>
            <a:xfrm>
              <a:off x="2845500" y="3700581"/>
              <a:ext cx="36868" cy="15019"/>
            </a:xfrm>
            <a:custGeom>
              <a:avLst/>
              <a:gdLst/>
              <a:ahLst/>
              <a:cxnLst/>
              <a:rect l="l" t="t" r="r" b="b"/>
              <a:pathLst>
                <a:path w="72" h="27" extrusionOk="0">
                  <a:moveTo>
                    <a:pt x="29" y="0"/>
                  </a:moveTo>
                  <a:lnTo>
                    <a:pt x="0" y="10"/>
                  </a:lnTo>
                  <a:lnTo>
                    <a:pt x="39" y="27"/>
                  </a:lnTo>
                  <a:lnTo>
                    <a:pt x="72" y="22"/>
                  </a:lnTo>
                  <a:lnTo>
                    <a:pt x="29"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02" name="Google Shape;2302;g7826bb8c5e_0_4294"/>
            <p:cNvSpPr/>
            <p:nvPr/>
          </p:nvSpPr>
          <p:spPr>
            <a:xfrm>
              <a:off x="3038736" y="3700581"/>
              <a:ext cx="29240" cy="10923"/>
            </a:xfrm>
            <a:custGeom>
              <a:avLst/>
              <a:gdLst/>
              <a:ahLst/>
              <a:cxnLst/>
              <a:rect l="l" t="t" r="r" b="b"/>
              <a:pathLst>
                <a:path w="52" h="20" extrusionOk="0">
                  <a:moveTo>
                    <a:pt x="52" y="10"/>
                  </a:moveTo>
                  <a:lnTo>
                    <a:pt x="48" y="12"/>
                  </a:lnTo>
                  <a:lnTo>
                    <a:pt x="11" y="20"/>
                  </a:lnTo>
                  <a:lnTo>
                    <a:pt x="0" y="16"/>
                  </a:lnTo>
                  <a:lnTo>
                    <a:pt x="3" y="0"/>
                  </a:lnTo>
                  <a:lnTo>
                    <a:pt x="52" y="1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03" name="Google Shape;2303;g7826bb8c5e_0_4294"/>
            <p:cNvSpPr/>
            <p:nvPr/>
          </p:nvSpPr>
          <p:spPr>
            <a:xfrm>
              <a:off x="3078147" y="3727887"/>
              <a:ext cx="5085" cy="1366"/>
            </a:xfrm>
            <a:custGeom>
              <a:avLst/>
              <a:gdLst/>
              <a:ahLst/>
              <a:cxnLst/>
              <a:rect l="l" t="t" r="r" b="b"/>
              <a:pathLst>
                <a:path w="10" h="2" extrusionOk="0">
                  <a:moveTo>
                    <a:pt x="10" y="2"/>
                  </a:moveTo>
                  <a:lnTo>
                    <a:pt x="4" y="0"/>
                  </a:lnTo>
                  <a:lnTo>
                    <a:pt x="0" y="2"/>
                  </a:lnTo>
                  <a:lnTo>
                    <a:pt x="10" y="2"/>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04" name="Google Shape;2304;g7826bb8c5e_0_4294"/>
            <p:cNvSpPr/>
            <p:nvPr/>
          </p:nvSpPr>
          <p:spPr>
            <a:xfrm>
              <a:off x="2244181" y="3371543"/>
              <a:ext cx="464020" cy="419149"/>
            </a:xfrm>
            <a:custGeom>
              <a:avLst/>
              <a:gdLst/>
              <a:ahLst/>
              <a:cxnLst/>
              <a:rect l="l" t="t" r="r" b="b"/>
              <a:pathLst>
                <a:path w="888" h="688" extrusionOk="0">
                  <a:moveTo>
                    <a:pt x="153" y="359"/>
                  </a:moveTo>
                  <a:lnTo>
                    <a:pt x="132" y="369"/>
                  </a:lnTo>
                  <a:lnTo>
                    <a:pt x="112" y="334"/>
                  </a:lnTo>
                  <a:lnTo>
                    <a:pt x="79" y="301"/>
                  </a:lnTo>
                  <a:lnTo>
                    <a:pt x="85" y="270"/>
                  </a:lnTo>
                  <a:lnTo>
                    <a:pt x="74" y="241"/>
                  </a:lnTo>
                  <a:lnTo>
                    <a:pt x="64" y="219"/>
                  </a:lnTo>
                  <a:lnTo>
                    <a:pt x="43" y="219"/>
                  </a:lnTo>
                  <a:lnTo>
                    <a:pt x="27" y="202"/>
                  </a:lnTo>
                  <a:lnTo>
                    <a:pt x="12" y="184"/>
                  </a:lnTo>
                  <a:lnTo>
                    <a:pt x="39" y="188"/>
                  </a:lnTo>
                  <a:lnTo>
                    <a:pt x="44" y="149"/>
                  </a:lnTo>
                  <a:lnTo>
                    <a:pt x="27" y="124"/>
                  </a:lnTo>
                  <a:lnTo>
                    <a:pt x="10" y="99"/>
                  </a:lnTo>
                  <a:lnTo>
                    <a:pt x="4" y="53"/>
                  </a:lnTo>
                  <a:lnTo>
                    <a:pt x="0" y="4"/>
                  </a:lnTo>
                  <a:lnTo>
                    <a:pt x="39" y="2"/>
                  </a:lnTo>
                  <a:lnTo>
                    <a:pt x="77" y="0"/>
                  </a:lnTo>
                  <a:lnTo>
                    <a:pt x="103" y="14"/>
                  </a:lnTo>
                  <a:lnTo>
                    <a:pt x="128" y="25"/>
                  </a:lnTo>
                  <a:lnTo>
                    <a:pt x="153" y="37"/>
                  </a:lnTo>
                  <a:lnTo>
                    <a:pt x="178" y="51"/>
                  </a:lnTo>
                  <a:lnTo>
                    <a:pt x="225" y="51"/>
                  </a:lnTo>
                  <a:lnTo>
                    <a:pt x="269" y="51"/>
                  </a:lnTo>
                  <a:lnTo>
                    <a:pt x="275" y="33"/>
                  </a:lnTo>
                  <a:lnTo>
                    <a:pt x="329" y="33"/>
                  </a:lnTo>
                  <a:lnTo>
                    <a:pt x="357" y="70"/>
                  </a:lnTo>
                  <a:lnTo>
                    <a:pt x="368" y="109"/>
                  </a:lnTo>
                  <a:lnTo>
                    <a:pt x="388" y="124"/>
                  </a:lnTo>
                  <a:lnTo>
                    <a:pt x="407" y="140"/>
                  </a:lnTo>
                  <a:lnTo>
                    <a:pt x="430" y="111"/>
                  </a:lnTo>
                  <a:lnTo>
                    <a:pt x="475" y="117"/>
                  </a:lnTo>
                  <a:lnTo>
                    <a:pt x="488" y="151"/>
                  </a:lnTo>
                  <a:lnTo>
                    <a:pt x="504" y="186"/>
                  </a:lnTo>
                  <a:lnTo>
                    <a:pt x="516" y="231"/>
                  </a:lnTo>
                  <a:lnTo>
                    <a:pt x="537" y="248"/>
                  </a:lnTo>
                  <a:lnTo>
                    <a:pt x="576" y="254"/>
                  </a:lnTo>
                  <a:lnTo>
                    <a:pt x="556" y="305"/>
                  </a:lnTo>
                  <a:lnTo>
                    <a:pt x="537" y="357"/>
                  </a:lnTo>
                  <a:lnTo>
                    <a:pt x="531" y="407"/>
                  </a:lnTo>
                  <a:lnTo>
                    <a:pt x="543" y="444"/>
                  </a:lnTo>
                  <a:lnTo>
                    <a:pt x="554" y="479"/>
                  </a:lnTo>
                  <a:lnTo>
                    <a:pt x="564" y="502"/>
                  </a:lnTo>
                  <a:lnTo>
                    <a:pt x="574" y="528"/>
                  </a:lnTo>
                  <a:lnTo>
                    <a:pt x="578" y="529"/>
                  </a:lnTo>
                  <a:lnTo>
                    <a:pt x="612" y="547"/>
                  </a:lnTo>
                  <a:lnTo>
                    <a:pt x="643" y="545"/>
                  </a:lnTo>
                  <a:lnTo>
                    <a:pt x="678" y="537"/>
                  </a:lnTo>
                  <a:lnTo>
                    <a:pt x="702" y="535"/>
                  </a:lnTo>
                  <a:lnTo>
                    <a:pt x="715" y="539"/>
                  </a:lnTo>
                  <a:lnTo>
                    <a:pt x="725" y="529"/>
                  </a:lnTo>
                  <a:lnTo>
                    <a:pt x="723" y="524"/>
                  </a:lnTo>
                  <a:lnTo>
                    <a:pt x="748" y="497"/>
                  </a:lnTo>
                  <a:lnTo>
                    <a:pt x="766" y="450"/>
                  </a:lnTo>
                  <a:lnTo>
                    <a:pt x="800" y="431"/>
                  </a:lnTo>
                  <a:lnTo>
                    <a:pt x="831" y="429"/>
                  </a:lnTo>
                  <a:lnTo>
                    <a:pt x="864" y="425"/>
                  </a:lnTo>
                  <a:lnTo>
                    <a:pt x="872" y="423"/>
                  </a:lnTo>
                  <a:lnTo>
                    <a:pt x="886" y="433"/>
                  </a:lnTo>
                  <a:lnTo>
                    <a:pt x="888" y="438"/>
                  </a:lnTo>
                  <a:lnTo>
                    <a:pt x="857" y="485"/>
                  </a:lnTo>
                  <a:lnTo>
                    <a:pt x="851" y="498"/>
                  </a:lnTo>
                  <a:lnTo>
                    <a:pt x="851" y="504"/>
                  </a:lnTo>
                  <a:lnTo>
                    <a:pt x="851" y="508"/>
                  </a:lnTo>
                  <a:lnTo>
                    <a:pt x="835" y="545"/>
                  </a:lnTo>
                  <a:lnTo>
                    <a:pt x="830" y="529"/>
                  </a:lnTo>
                  <a:lnTo>
                    <a:pt x="822" y="539"/>
                  </a:lnTo>
                  <a:lnTo>
                    <a:pt x="793" y="564"/>
                  </a:lnTo>
                  <a:lnTo>
                    <a:pt x="762" y="564"/>
                  </a:lnTo>
                  <a:lnTo>
                    <a:pt x="731" y="564"/>
                  </a:lnTo>
                  <a:lnTo>
                    <a:pt x="729" y="586"/>
                  </a:lnTo>
                  <a:lnTo>
                    <a:pt x="717" y="590"/>
                  </a:lnTo>
                  <a:lnTo>
                    <a:pt x="740" y="624"/>
                  </a:lnTo>
                  <a:lnTo>
                    <a:pt x="698" y="632"/>
                  </a:lnTo>
                  <a:lnTo>
                    <a:pt x="676" y="661"/>
                  </a:lnTo>
                  <a:lnTo>
                    <a:pt x="673" y="688"/>
                  </a:lnTo>
                  <a:lnTo>
                    <a:pt x="642" y="656"/>
                  </a:lnTo>
                  <a:lnTo>
                    <a:pt x="609" y="623"/>
                  </a:lnTo>
                  <a:lnTo>
                    <a:pt x="622" y="634"/>
                  </a:lnTo>
                  <a:lnTo>
                    <a:pt x="603" y="623"/>
                  </a:lnTo>
                  <a:lnTo>
                    <a:pt x="587" y="624"/>
                  </a:lnTo>
                  <a:lnTo>
                    <a:pt x="595" y="626"/>
                  </a:lnTo>
                  <a:lnTo>
                    <a:pt x="562" y="636"/>
                  </a:lnTo>
                  <a:lnTo>
                    <a:pt x="529" y="644"/>
                  </a:lnTo>
                  <a:lnTo>
                    <a:pt x="492" y="628"/>
                  </a:lnTo>
                  <a:lnTo>
                    <a:pt x="455" y="611"/>
                  </a:lnTo>
                  <a:lnTo>
                    <a:pt x="419" y="593"/>
                  </a:lnTo>
                  <a:lnTo>
                    <a:pt x="382" y="576"/>
                  </a:lnTo>
                  <a:lnTo>
                    <a:pt x="360" y="561"/>
                  </a:lnTo>
                  <a:lnTo>
                    <a:pt x="337" y="549"/>
                  </a:lnTo>
                  <a:lnTo>
                    <a:pt x="314" y="535"/>
                  </a:lnTo>
                  <a:lnTo>
                    <a:pt x="289" y="512"/>
                  </a:lnTo>
                  <a:lnTo>
                    <a:pt x="265" y="491"/>
                  </a:lnTo>
                  <a:lnTo>
                    <a:pt x="262" y="464"/>
                  </a:lnTo>
                  <a:lnTo>
                    <a:pt x="275" y="458"/>
                  </a:lnTo>
                  <a:lnTo>
                    <a:pt x="269" y="448"/>
                  </a:lnTo>
                  <a:lnTo>
                    <a:pt x="279" y="425"/>
                  </a:lnTo>
                  <a:lnTo>
                    <a:pt x="267" y="394"/>
                  </a:lnTo>
                  <a:lnTo>
                    <a:pt x="256" y="365"/>
                  </a:lnTo>
                  <a:lnTo>
                    <a:pt x="236" y="338"/>
                  </a:lnTo>
                  <a:lnTo>
                    <a:pt x="217" y="310"/>
                  </a:lnTo>
                  <a:lnTo>
                    <a:pt x="225" y="314"/>
                  </a:lnTo>
                  <a:lnTo>
                    <a:pt x="211" y="295"/>
                  </a:lnTo>
                  <a:lnTo>
                    <a:pt x="205" y="289"/>
                  </a:lnTo>
                  <a:lnTo>
                    <a:pt x="209" y="287"/>
                  </a:lnTo>
                  <a:lnTo>
                    <a:pt x="184" y="274"/>
                  </a:lnTo>
                  <a:lnTo>
                    <a:pt x="190" y="266"/>
                  </a:lnTo>
                  <a:lnTo>
                    <a:pt x="176" y="264"/>
                  </a:lnTo>
                  <a:lnTo>
                    <a:pt x="186" y="241"/>
                  </a:lnTo>
                  <a:lnTo>
                    <a:pt x="174" y="229"/>
                  </a:lnTo>
                  <a:lnTo>
                    <a:pt x="153" y="190"/>
                  </a:lnTo>
                  <a:lnTo>
                    <a:pt x="153" y="180"/>
                  </a:lnTo>
                  <a:lnTo>
                    <a:pt x="132" y="165"/>
                  </a:lnTo>
                  <a:lnTo>
                    <a:pt x="120" y="132"/>
                  </a:lnTo>
                  <a:lnTo>
                    <a:pt x="107" y="99"/>
                  </a:lnTo>
                  <a:lnTo>
                    <a:pt x="107" y="54"/>
                  </a:lnTo>
                  <a:lnTo>
                    <a:pt x="85" y="45"/>
                  </a:lnTo>
                  <a:lnTo>
                    <a:pt x="60" y="29"/>
                  </a:lnTo>
                  <a:lnTo>
                    <a:pt x="56" y="68"/>
                  </a:lnTo>
                  <a:lnTo>
                    <a:pt x="52" y="109"/>
                  </a:lnTo>
                  <a:lnTo>
                    <a:pt x="70" y="140"/>
                  </a:lnTo>
                  <a:lnTo>
                    <a:pt x="87" y="173"/>
                  </a:lnTo>
                  <a:lnTo>
                    <a:pt x="95" y="200"/>
                  </a:lnTo>
                  <a:lnTo>
                    <a:pt x="105" y="227"/>
                  </a:lnTo>
                  <a:lnTo>
                    <a:pt x="108" y="223"/>
                  </a:lnTo>
                  <a:lnTo>
                    <a:pt x="114" y="268"/>
                  </a:lnTo>
                  <a:lnTo>
                    <a:pt x="120" y="312"/>
                  </a:lnTo>
                  <a:lnTo>
                    <a:pt x="134" y="320"/>
                  </a:lnTo>
                  <a:lnTo>
                    <a:pt x="149" y="339"/>
                  </a:lnTo>
                  <a:lnTo>
                    <a:pt x="153" y="359"/>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05" name="Google Shape;2305;g7826bb8c5e_0_4294"/>
            <p:cNvSpPr/>
            <p:nvPr/>
          </p:nvSpPr>
          <p:spPr>
            <a:xfrm>
              <a:off x="2863298" y="3546303"/>
              <a:ext cx="7627" cy="16383"/>
            </a:xfrm>
            <a:custGeom>
              <a:avLst/>
              <a:gdLst/>
              <a:ahLst/>
              <a:cxnLst/>
              <a:rect l="l" t="t" r="r" b="b"/>
              <a:pathLst>
                <a:path w="18" h="29" extrusionOk="0">
                  <a:moveTo>
                    <a:pt x="18" y="27"/>
                  </a:moveTo>
                  <a:lnTo>
                    <a:pt x="12" y="0"/>
                  </a:lnTo>
                  <a:lnTo>
                    <a:pt x="0" y="23"/>
                  </a:lnTo>
                  <a:lnTo>
                    <a:pt x="4" y="29"/>
                  </a:lnTo>
                  <a:lnTo>
                    <a:pt x="18" y="27"/>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06" name="Google Shape;2306;g7826bb8c5e_0_4294"/>
            <p:cNvSpPr/>
            <p:nvPr/>
          </p:nvSpPr>
          <p:spPr>
            <a:xfrm>
              <a:off x="2877283" y="3505344"/>
              <a:ext cx="12713" cy="20479"/>
            </a:xfrm>
            <a:custGeom>
              <a:avLst/>
              <a:gdLst/>
              <a:ahLst/>
              <a:cxnLst/>
              <a:rect l="l" t="t" r="r" b="b"/>
              <a:pathLst>
                <a:path w="24" h="35" extrusionOk="0">
                  <a:moveTo>
                    <a:pt x="12" y="35"/>
                  </a:moveTo>
                  <a:lnTo>
                    <a:pt x="18" y="18"/>
                  </a:lnTo>
                  <a:lnTo>
                    <a:pt x="0" y="0"/>
                  </a:lnTo>
                  <a:lnTo>
                    <a:pt x="24" y="24"/>
                  </a:lnTo>
                  <a:lnTo>
                    <a:pt x="12" y="35"/>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07" name="Google Shape;2307;g7826bb8c5e_0_4294"/>
            <p:cNvSpPr/>
            <p:nvPr/>
          </p:nvSpPr>
          <p:spPr>
            <a:xfrm>
              <a:off x="2892538" y="3538112"/>
              <a:ext cx="8898" cy="16383"/>
            </a:xfrm>
            <a:custGeom>
              <a:avLst/>
              <a:gdLst/>
              <a:ahLst/>
              <a:cxnLst/>
              <a:rect l="l" t="t" r="r" b="b"/>
              <a:pathLst>
                <a:path w="15" h="27" extrusionOk="0">
                  <a:moveTo>
                    <a:pt x="9" y="27"/>
                  </a:moveTo>
                  <a:lnTo>
                    <a:pt x="15" y="15"/>
                  </a:lnTo>
                  <a:lnTo>
                    <a:pt x="1" y="0"/>
                  </a:lnTo>
                  <a:lnTo>
                    <a:pt x="0" y="1"/>
                  </a:lnTo>
                  <a:lnTo>
                    <a:pt x="7" y="9"/>
                  </a:lnTo>
                  <a:lnTo>
                    <a:pt x="13" y="15"/>
                  </a:lnTo>
                  <a:lnTo>
                    <a:pt x="7" y="25"/>
                  </a:lnTo>
                  <a:lnTo>
                    <a:pt x="9" y="27"/>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08" name="Google Shape;2308;g7826bb8c5e_0_4294"/>
            <p:cNvSpPr/>
            <p:nvPr/>
          </p:nvSpPr>
          <p:spPr>
            <a:xfrm>
              <a:off x="2934490" y="3633682"/>
              <a:ext cx="10171" cy="9557"/>
            </a:xfrm>
            <a:custGeom>
              <a:avLst/>
              <a:gdLst/>
              <a:ahLst/>
              <a:cxnLst/>
              <a:rect l="l" t="t" r="r" b="b"/>
              <a:pathLst>
                <a:path w="21" h="13" extrusionOk="0">
                  <a:moveTo>
                    <a:pt x="21" y="0"/>
                  </a:moveTo>
                  <a:lnTo>
                    <a:pt x="19" y="5"/>
                  </a:lnTo>
                  <a:lnTo>
                    <a:pt x="0" y="13"/>
                  </a:lnTo>
                  <a:lnTo>
                    <a:pt x="21" y="0"/>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09" name="Google Shape;2309;g7826bb8c5e_0_4294"/>
            <p:cNvSpPr/>
            <p:nvPr/>
          </p:nvSpPr>
          <p:spPr>
            <a:xfrm>
              <a:off x="2926863" y="3603646"/>
              <a:ext cx="7627" cy="8192"/>
            </a:xfrm>
            <a:custGeom>
              <a:avLst/>
              <a:gdLst/>
              <a:ahLst/>
              <a:cxnLst/>
              <a:rect l="l" t="t" r="r" b="b"/>
              <a:pathLst>
                <a:path w="12" h="12" extrusionOk="0">
                  <a:moveTo>
                    <a:pt x="12" y="4"/>
                  </a:moveTo>
                  <a:lnTo>
                    <a:pt x="6" y="0"/>
                  </a:lnTo>
                  <a:lnTo>
                    <a:pt x="0" y="12"/>
                  </a:lnTo>
                  <a:lnTo>
                    <a:pt x="12" y="4"/>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10" name="Google Shape;2310;g7826bb8c5e_0_4294"/>
            <p:cNvSpPr/>
            <p:nvPr/>
          </p:nvSpPr>
          <p:spPr>
            <a:xfrm>
              <a:off x="2858213" y="3510806"/>
              <a:ext cx="17798" cy="1364"/>
            </a:xfrm>
            <a:custGeom>
              <a:avLst/>
              <a:gdLst/>
              <a:ahLst/>
              <a:cxnLst/>
              <a:rect l="l" t="t" r="r" b="b"/>
              <a:pathLst>
                <a:path w="35" h="4" extrusionOk="0">
                  <a:moveTo>
                    <a:pt x="13" y="0"/>
                  </a:moveTo>
                  <a:lnTo>
                    <a:pt x="35" y="2"/>
                  </a:lnTo>
                  <a:lnTo>
                    <a:pt x="23" y="4"/>
                  </a:lnTo>
                  <a:lnTo>
                    <a:pt x="0" y="0"/>
                  </a:lnTo>
                  <a:lnTo>
                    <a:pt x="13" y="0"/>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11" name="Google Shape;2311;g7826bb8c5e_0_4294"/>
            <p:cNvSpPr/>
            <p:nvPr/>
          </p:nvSpPr>
          <p:spPr>
            <a:xfrm>
              <a:off x="2869656" y="3566782"/>
              <a:ext cx="3813" cy="8192"/>
            </a:xfrm>
            <a:custGeom>
              <a:avLst/>
              <a:gdLst/>
              <a:ahLst/>
              <a:cxnLst/>
              <a:rect l="l" t="t" r="r" b="b"/>
              <a:pathLst>
                <a:path w="8" h="14" extrusionOk="0">
                  <a:moveTo>
                    <a:pt x="8" y="12"/>
                  </a:moveTo>
                  <a:lnTo>
                    <a:pt x="4" y="4"/>
                  </a:lnTo>
                  <a:lnTo>
                    <a:pt x="0" y="0"/>
                  </a:lnTo>
                  <a:lnTo>
                    <a:pt x="4" y="14"/>
                  </a:lnTo>
                  <a:lnTo>
                    <a:pt x="8" y="12"/>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12" name="Google Shape;2312;g7826bb8c5e_0_4294"/>
            <p:cNvSpPr/>
            <p:nvPr/>
          </p:nvSpPr>
          <p:spPr>
            <a:xfrm>
              <a:off x="5185942" y="4590761"/>
              <a:ext cx="11442" cy="9557"/>
            </a:xfrm>
            <a:custGeom>
              <a:avLst/>
              <a:gdLst/>
              <a:ahLst/>
              <a:cxnLst/>
              <a:rect l="l" t="t" r="r" b="b"/>
              <a:pathLst>
                <a:path w="17" h="15" extrusionOk="0">
                  <a:moveTo>
                    <a:pt x="16" y="0"/>
                  </a:moveTo>
                  <a:lnTo>
                    <a:pt x="0" y="15"/>
                  </a:lnTo>
                  <a:lnTo>
                    <a:pt x="17" y="6"/>
                  </a:lnTo>
                  <a:lnTo>
                    <a:pt x="16"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13" name="Google Shape;2313;g7826bb8c5e_0_4294"/>
            <p:cNvSpPr/>
            <p:nvPr/>
          </p:nvSpPr>
          <p:spPr>
            <a:xfrm>
              <a:off x="6108897" y="4377773"/>
              <a:ext cx="699210" cy="651249"/>
            </a:xfrm>
            <a:custGeom>
              <a:avLst/>
              <a:gdLst/>
              <a:ahLst/>
              <a:cxnLst/>
              <a:rect l="l" t="t" r="r" b="b"/>
              <a:pathLst>
                <a:path w="1335" h="1074" extrusionOk="0">
                  <a:moveTo>
                    <a:pt x="783" y="23"/>
                  </a:moveTo>
                  <a:lnTo>
                    <a:pt x="768" y="21"/>
                  </a:lnTo>
                  <a:lnTo>
                    <a:pt x="760" y="17"/>
                  </a:lnTo>
                  <a:lnTo>
                    <a:pt x="754" y="23"/>
                  </a:lnTo>
                  <a:lnTo>
                    <a:pt x="746" y="19"/>
                  </a:lnTo>
                  <a:lnTo>
                    <a:pt x="758" y="27"/>
                  </a:lnTo>
                  <a:lnTo>
                    <a:pt x="771" y="35"/>
                  </a:lnTo>
                  <a:lnTo>
                    <a:pt x="766" y="50"/>
                  </a:lnTo>
                  <a:lnTo>
                    <a:pt x="756" y="56"/>
                  </a:lnTo>
                  <a:lnTo>
                    <a:pt x="727" y="50"/>
                  </a:lnTo>
                  <a:lnTo>
                    <a:pt x="715" y="58"/>
                  </a:lnTo>
                  <a:lnTo>
                    <a:pt x="705" y="68"/>
                  </a:lnTo>
                  <a:lnTo>
                    <a:pt x="700" y="64"/>
                  </a:lnTo>
                  <a:lnTo>
                    <a:pt x="696" y="72"/>
                  </a:lnTo>
                  <a:lnTo>
                    <a:pt x="682" y="91"/>
                  </a:lnTo>
                  <a:lnTo>
                    <a:pt x="680" y="101"/>
                  </a:lnTo>
                  <a:lnTo>
                    <a:pt x="667" y="113"/>
                  </a:lnTo>
                  <a:lnTo>
                    <a:pt x="651" y="142"/>
                  </a:lnTo>
                  <a:lnTo>
                    <a:pt x="661" y="145"/>
                  </a:lnTo>
                  <a:lnTo>
                    <a:pt x="667" y="151"/>
                  </a:lnTo>
                  <a:lnTo>
                    <a:pt x="657" y="163"/>
                  </a:lnTo>
                  <a:lnTo>
                    <a:pt x="669" y="176"/>
                  </a:lnTo>
                  <a:lnTo>
                    <a:pt x="643" y="157"/>
                  </a:lnTo>
                  <a:lnTo>
                    <a:pt x="640" y="163"/>
                  </a:lnTo>
                  <a:lnTo>
                    <a:pt x="616" y="153"/>
                  </a:lnTo>
                  <a:lnTo>
                    <a:pt x="609" y="173"/>
                  </a:lnTo>
                  <a:lnTo>
                    <a:pt x="603" y="173"/>
                  </a:lnTo>
                  <a:lnTo>
                    <a:pt x="597" y="178"/>
                  </a:lnTo>
                  <a:lnTo>
                    <a:pt x="599" y="169"/>
                  </a:lnTo>
                  <a:lnTo>
                    <a:pt x="607" y="145"/>
                  </a:lnTo>
                  <a:lnTo>
                    <a:pt x="572" y="113"/>
                  </a:lnTo>
                  <a:lnTo>
                    <a:pt x="570" y="120"/>
                  </a:lnTo>
                  <a:lnTo>
                    <a:pt x="554" y="126"/>
                  </a:lnTo>
                  <a:lnTo>
                    <a:pt x="552" y="120"/>
                  </a:lnTo>
                  <a:lnTo>
                    <a:pt x="547" y="126"/>
                  </a:lnTo>
                  <a:lnTo>
                    <a:pt x="539" y="124"/>
                  </a:lnTo>
                  <a:lnTo>
                    <a:pt x="533" y="145"/>
                  </a:lnTo>
                  <a:lnTo>
                    <a:pt x="527" y="136"/>
                  </a:lnTo>
                  <a:lnTo>
                    <a:pt x="510" y="153"/>
                  </a:lnTo>
                  <a:lnTo>
                    <a:pt x="510" y="165"/>
                  </a:lnTo>
                  <a:lnTo>
                    <a:pt x="498" y="163"/>
                  </a:lnTo>
                  <a:lnTo>
                    <a:pt x="504" y="180"/>
                  </a:lnTo>
                  <a:lnTo>
                    <a:pt x="488" y="175"/>
                  </a:lnTo>
                  <a:lnTo>
                    <a:pt x="479" y="190"/>
                  </a:lnTo>
                  <a:lnTo>
                    <a:pt x="481" y="192"/>
                  </a:lnTo>
                  <a:lnTo>
                    <a:pt x="484" y="190"/>
                  </a:lnTo>
                  <a:lnTo>
                    <a:pt x="477" y="200"/>
                  </a:lnTo>
                  <a:lnTo>
                    <a:pt x="475" y="209"/>
                  </a:lnTo>
                  <a:lnTo>
                    <a:pt x="483" y="211"/>
                  </a:lnTo>
                  <a:lnTo>
                    <a:pt x="465" y="211"/>
                  </a:lnTo>
                  <a:lnTo>
                    <a:pt x="457" y="211"/>
                  </a:lnTo>
                  <a:lnTo>
                    <a:pt x="450" y="209"/>
                  </a:lnTo>
                  <a:lnTo>
                    <a:pt x="446" y="217"/>
                  </a:lnTo>
                  <a:lnTo>
                    <a:pt x="450" y="235"/>
                  </a:lnTo>
                  <a:lnTo>
                    <a:pt x="442" y="239"/>
                  </a:lnTo>
                  <a:lnTo>
                    <a:pt x="442" y="270"/>
                  </a:lnTo>
                  <a:lnTo>
                    <a:pt x="432" y="242"/>
                  </a:lnTo>
                  <a:lnTo>
                    <a:pt x="422" y="213"/>
                  </a:lnTo>
                  <a:lnTo>
                    <a:pt x="411" y="225"/>
                  </a:lnTo>
                  <a:lnTo>
                    <a:pt x="390" y="256"/>
                  </a:lnTo>
                  <a:lnTo>
                    <a:pt x="390" y="281"/>
                  </a:lnTo>
                  <a:lnTo>
                    <a:pt x="357" y="318"/>
                  </a:lnTo>
                  <a:lnTo>
                    <a:pt x="331" y="332"/>
                  </a:lnTo>
                  <a:lnTo>
                    <a:pt x="304" y="347"/>
                  </a:lnTo>
                  <a:lnTo>
                    <a:pt x="267" y="355"/>
                  </a:lnTo>
                  <a:lnTo>
                    <a:pt x="236" y="365"/>
                  </a:lnTo>
                  <a:lnTo>
                    <a:pt x="205" y="376"/>
                  </a:lnTo>
                  <a:lnTo>
                    <a:pt x="198" y="370"/>
                  </a:lnTo>
                  <a:lnTo>
                    <a:pt x="151" y="401"/>
                  </a:lnTo>
                  <a:lnTo>
                    <a:pt x="106" y="430"/>
                  </a:lnTo>
                  <a:lnTo>
                    <a:pt x="93" y="444"/>
                  </a:lnTo>
                  <a:lnTo>
                    <a:pt x="95" y="419"/>
                  </a:lnTo>
                  <a:lnTo>
                    <a:pt x="77" y="456"/>
                  </a:lnTo>
                  <a:lnTo>
                    <a:pt x="62" y="496"/>
                  </a:lnTo>
                  <a:lnTo>
                    <a:pt x="58" y="529"/>
                  </a:lnTo>
                  <a:lnTo>
                    <a:pt x="62" y="557"/>
                  </a:lnTo>
                  <a:lnTo>
                    <a:pt x="64" y="584"/>
                  </a:lnTo>
                  <a:lnTo>
                    <a:pt x="56" y="591"/>
                  </a:lnTo>
                  <a:lnTo>
                    <a:pt x="56" y="582"/>
                  </a:lnTo>
                  <a:lnTo>
                    <a:pt x="46" y="562"/>
                  </a:lnTo>
                  <a:lnTo>
                    <a:pt x="46" y="601"/>
                  </a:lnTo>
                  <a:lnTo>
                    <a:pt x="39" y="586"/>
                  </a:lnTo>
                  <a:lnTo>
                    <a:pt x="35" y="584"/>
                  </a:lnTo>
                  <a:lnTo>
                    <a:pt x="41" y="619"/>
                  </a:lnTo>
                  <a:lnTo>
                    <a:pt x="44" y="655"/>
                  </a:lnTo>
                  <a:lnTo>
                    <a:pt x="48" y="686"/>
                  </a:lnTo>
                  <a:lnTo>
                    <a:pt x="54" y="719"/>
                  </a:lnTo>
                  <a:lnTo>
                    <a:pt x="50" y="748"/>
                  </a:lnTo>
                  <a:lnTo>
                    <a:pt x="48" y="776"/>
                  </a:lnTo>
                  <a:lnTo>
                    <a:pt x="44" y="803"/>
                  </a:lnTo>
                  <a:lnTo>
                    <a:pt x="41" y="832"/>
                  </a:lnTo>
                  <a:lnTo>
                    <a:pt x="17" y="869"/>
                  </a:lnTo>
                  <a:lnTo>
                    <a:pt x="2" y="873"/>
                  </a:lnTo>
                  <a:lnTo>
                    <a:pt x="0" y="896"/>
                  </a:lnTo>
                  <a:lnTo>
                    <a:pt x="23" y="909"/>
                  </a:lnTo>
                  <a:lnTo>
                    <a:pt x="44" y="923"/>
                  </a:lnTo>
                  <a:lnTo>
                    <a:pt x="87" y="919"/>
                  </a:lnTo>
                  <a:lnTo>
                    <a:pt x="126" y="904"/>
                  </a:lnTo>
                  <a:lnTo>
                    <a:pt x="134" y="900"/>
                  </a:lnTo>
                  <a:lnTo>
                    <a:pt x="153" y="882"/>
                  </a:lnTo>
                  <a:lnTo>
                    <a:pt x="190" y="882"/>
                  </a:lnTo>
                  <a:lnTo>
                    <a:pt x="225" y="882"/>
                  </a:lnTo>
                  <a:lnTo>
                    <a:pt x="269" y="880"/>
                  </a:lnTo>
                  <a:lnTo>
                    <a:pt x="300" y="849"/>
                  </a:lnTo>
                  <a:lnTo>
                    <a:pt x="343" y="834"/>
                  </a:lnTo>
                  <a:lnTo>
                    <a:pt x="386" y="818"/>
                  </a:lnTo>
                  <a:lnTo>
                    <a:pt x="424" y="811"/>
                  </a:lnTo>
                  <a:lnTo>
                    <a:pt x="465" y="803"/>
                  </a:lnTo>
                  <a:lnTo>
                    <a:pt x="506" y="797"/>
                  </a:lnTo>
                  <a:lnTo>
                    <a:pt x="547" y="789"/>
                  </a:lnTo>
                  <a:lnTo>
                    <a:pt x="570" y="797"/>
                  </a:lnTo>
                  <a:lnTo>
                    <a:pt x="614" y="814"/>
                  </a:lnTo>
                  <a:lnTo>
                    <a:pt x="624" y="826"/>
                  </a:lnTo>
                  <a:lnTo>
                    <a:pt x="628" y="834"/>
                  </a:lnTo>
                  <a:lnTo>
                    <a:pt x="632" y="851"/>
                  </a:lnTo>
                  <a:lnTo>
                    <a:pt x="636" y="876"/>
                  </a:lnTo>
                  <a:lnTo>
                    <a:pt x="640" y="902"/>
                  </a:lnTo>
                  <a:lnTo>
                    <a:pt x="632" y="902"/>
                  </a:lnTo>
                  <a:lnTo>
                    <a:pt x="647" y="917"/>
                  </a:lnTo>
                  <a:lnTo>
                    <a:pt x="655" y="911"/>
                  </a:lnTo>
                  <a:lnTo>
                    <a:pt x="692" y="876"/>
                  </a:lnTo>
                  <a:lnTo>
                    <a:pt x="731" y="847"/>
                  </a:lnTo>
                  <a:lnTo>
                    <a:pt x="746" y="830"/>
                  </a:lnTo>
                  <a:lnTo>
                    <a:pt x="736" y="857"/>
                  </a:lnTo>
                  <a:lnTo>
                    <a:pt x="715" y="888"/>
                  </a:lnTo>
                  <a:lnTo>
                    <a:pt x="692" y="917"/>
                  </a:lnTo>
                  <a:lnTo>
                    <a:pt x="676" y="929"/>
                  </a:lnTo>
                  <a:lnTo>
                    <a:pt x="700" y="929"/>
                  </a:lnTo>
                  <a:lnTo>
                    <a:pt x="727" y="894"/>
                  </a:lnTo>
                  <a:lnTo>
                    <a:pt x="736" y="911"/>
                  </a:lnTo>
                  <a:lnTo>
                    <a:pt x="709" y="940"/>
                  </a:lnTo>
                  <a:lnTo>
                    <a:pt x="729" y="940"/>
                  </a:lnTo>
                  <a:lnTo>
                    <a:pt x="735" y="942"/>
                  </a:lnTo>
                  <a:lnTo>
                    <a:pt x="742" y="960"/>
                  </a:lnTo>
                  <a:lnTo>
                    <a:pt x="729" y="995"/>
                  </a:lnTo>
                  <a:lnTo>
                    <a:pt x="731" y="1033"/>
                  </a:lnTo>
                  <a:lnTo>
                    <a:pt x="764" y="1047"/>
                  </a:lnTo>
                  <a:lnTo>
                    <a:pt x="787" y="1055"/>
                  </a:lnTo>
                  <a:lnTo>
                    <a:pt x="808" y="1064"/>
                  </a:lnTo>
                  <a:lnTo>
                    <a:pt x="855" y="1047"/>
                  </a:lnTo>
                  <a:lnTo>
                    <a:pt x="855" y="1041"/>
                  </a:lnTo>
                  <a:lnTo>
                    <a:pt x="874" y="1032"/>
                  </a:lnTo>
                  <a:lnTo>
                    <a:pt x="861" y="1049"/>
                  </a:lnTo>
                  <a:lnTo>
                    <a:pt x="868" y="1051"/>
                  </a:lnTo>
                  <a:lnTo>
                    <a:pt x="882" y="1051"/>
                  </a:lnTo>
                  <a:lnTo>
                    <a:pt x="888" y="1068"/>
                  </a:lnTo>
                  <a:lnTo>
                    <a:pt x="894" y="1074"/>
                  </a:lnTo>
                  <a:lnTo>
                    <a:pt x="903" y="1063"/>
                  </a:lnTo>
                  <a:lnTo>
                    <a:pt x="965" y="1032"/>
                  </a:lnTo>
                  <a:lnTo>
                    <a:pt x="994" y="1028"/>
                  </a:lnTo>
                  <a:lnTo>
                    <a:pt x="1035" y="1016"/>
                  </a:lnTo>
                  <a:lnTo>
                    <a:pt x="1051" y="997"/>
                  </a:lnTo>
                  <a:lnTo>
                    <a:pt x="1085" y="958"/>
                  </a:lnTo>
                  <a:lnTo>
                    <a:pt x="1120" y="919"/>
                  </a:lnTo>
                  <a:lnTo>
                    <a:pt x="1151" y="876"/>
                  </a:lnTo>
                  <a:lnTo>
                    <a:pt x="1163" y="867"/>
                  </a:lnTo>
                  <a:lnTo>
                    <a:pt x="1202" y="836"/>
                  </a:lnTo>
                  <a:lnTo>
                    <a:pt x="1217" y="826"/>
                  </a:lnTo>
                  <a:lnTo>
                    <a:pt x="1242" y="791"/>
                  </a:lnTo>
                  <a:lnTo>
                    <a:pt x="1270" y="754"/>
                  </a:lnTo>
                  <a:lnTo>
                    <a:pt x="1293" y="719"/>
                  </a:lnTo>
                  <a:lnTo>
                    <a:pt x="1316" y="684"/>
                  </a:lnTo>
                  <a:lnTo>
                    <a:pt x="1316" y="657"/>
                  </a:lnTo>
                  <a:lnTo>
                    <a:pt x="1318" y="632"/>
                  </a:lnTo>
                  <a:lnTo>
                    <a:pt x="1328" y="601"/>
                  </a:lnTo>
                  <a:lnTo>
                    <a:pt x="1335" y="572"/>
                  </a:lnTo>
                  <a:lnTo>
                    <a:pt x="1332" y="549"/>
                  </a:lnTo>
                  <a:lnTo>
                    <a:pt x="1320" y="527"/>
                  </a:lnTo>
                  <a:lnTo>
                    <a:pt x="1306" y="506"/>
                  </a:lnTo>
                  <a:lnTo>
                    <a:pt x="1287" y="483"/>
                  </a:lnTo>
                  <a:lnTo>
                    <a:pt x="1293" y="438"/>
                  </a:lnTo>
                  <a:lnTo>
                    <a:pt x="1289" y="448"/>
                  </a:lnTo>
                  <a:lnTo>
                    <a:pt x="1273" y="432"/>
                  </a:lnTo>
                  <a:lnTo>
                    <a:pt x="1270" y="448"/>
                  </a:lnTo>
                  <a:lnTo>
                    <a:pt x="1258" y="438"/>
                  </a:lnTo>
                  <a:lnTo>
                    <a:pt x="1258" y="407"/>
                  </a:lnTo>
                  <a:lnTo>
                    <a:pt x="1246" y="378"/>
                  </a:lnTo>
                  <a:lnTo>
                    <a:pt x="1250" y="366"/>
                  </a:lnTo>
                  <a:lnTo>
                    <a:pt x="1240" y="357"/>
                  </a:lnTo>
                  <a:lnTo>
                    <a:pt x="1217" y="332"/>
                  </a:lnTo>
                  <a:lnTo>
                    <a:pt x="1180" y="304"/>
                  </a:lnTo>
                  <a:lnTo>
                    <a:pt x="1180" y="268"/>
                  </a:lnTo>
                  <a:lnTo>
                    <a:pt x="1178" y="233"/>
                  </a:lnTo>
                  <a:lnTo>
                    <a:pt x="1173" y="206"/>
                  </a:lnTo>
                  <a:lnTo>
                    <a:pt x="1177" y="169"/>
                  </a:lnTo>
                  <a:lnTo>
                    <a:pt x="1171" y="153"/>
                  </a:lnTo>
                  <a:lnTo>
                    <a:pt x="1151" y="132"/>
                  </a:lnTo>
                  <a:lnTo>
                    <a:pt x="1130" y="136"/>
                  </a:lnTo>
                  <a:lnTo>
                    <a:pt x="1128" y="109"/>
                  </a:lnTo>
                  <a:lnTo>
                    <a:pt x="1124" y="83"/>
                  </a:lnTo>
                  <a:lnTo>
                    <a:pt x="1122" y="49"/>
                  </a:lnTo>
                  <a:lnTo>
                    <a:pt x="1113" y="27"/>
                  </a:lnTo>
                  <a:lnTo>
                    <a:pt x="1107" y="8"/>
                  </a:lnTo>
                  <a:lnTo>
                    <a:pt x="1103" y="0"/>
                  </a:lnTo>
                  <a:lnTo>
                    <a:pt x="1085" y="31"/>
                  </a:lnTo>
                  <a:lnTo>
                    <a:pt x="1080" y="47"/>
                  </a:lnTo>
                  <a:lnTo>
                    <a:pt x="1070" y="68"/>
                  </a:lnTo>
                  <a:lnTo>
                    <a:pt x="1076" y="70"/>
                  </a:lnTo>
                  <a:lnTo>
                    <a:pt x="1074" y="76"/>
                  </a:lnTo>
                  <a:lnTo>
                    <a:pt x="1064" y="89"/>
                  </a:lnTo>
                  <a:lnTo>
                    <a:pt x="1064" y="105"/>
                  </a:lnTo>
                  <a:lnTo>
                    <a:pt x="1058" y="107"/>
                  </a:lnTo>
                  <a:lnTo>
                    <a:pt x="1056" y="138"/>
                  </a:lnTo>
                  <a:lnTo>
                    <a:pt x="1052" y="169"/>
                  </a:lnTo>
                  <a:lnTo>
                    <a:pt x="1029" y="211"/>
                  </a:lnTo>
                  <a:lnTo>
                    <a:pt x="1006" y="256"/>
                  </a:lnTo>
                  <a:lnTo>
                    <a:pt x="979" y="260"/>
                  </a:lnTo>
                  <a:lnTo>
                    <a:pt x="957" y="240"/>
                  </a:lnTo>
                  <a:lnTo>
                    <a:pt x="923" y="217"/>
                  </a:lnTo>
                  <a:lnTo>
                    <a:pt x="888" y="194"/>
                  </a:lnTo>
                  <a:lnTo>
                    <a:pt x="868" y="173"/>
                  </a:lnTo>
                  <a:lnTo>
                    <a:pt x="849" y="149"/>
                  </a:lnTo>
                  <a:lnTo>
                    <a:pt x="872" y="113"/>
                  </a:lnTo>
                  <a:lnTo>
                    <a:pt x="882" y="91"/>
                  </a:lnTo>
                  <a:lnTo>
                    <a:pt x="888" y="95"/>
                  </a:lnTo>
                  <a:lnTo>
                    <a:pt x="895" y="81"/>
                  </a:lnTo>
                  <a:lnTo>
                    <a:pt x="911" y="58"/>
                  </a:lnTo>
                  <a:lnTo>
                    <a:pt x="895" y="47"/>
                  </a:lnTo>
                  <a:lnTo>
                    <a:pt x="882" y="64"/>
                  </a:lnTo>
                  <a:lnTo>
                    <a:pt x="878" y="52"/>
                  </a:lnTo>
                  <a:lnTo>
                    <a:pt x="870" y="52"/>
                  </a:lnTo>
                  <a:lnTo>
                    <a:pt x="874" y="49"/>
                  </a:lnTo>
                  <a:lnTo>
                    <a:pt x="845" y="52"/>
                  </a:lnTo>
                  <a:lnTo>
                    <a:pt x="822" y="50"/>
                  </a:lnTo>
                  <a:lnTo>
                    <a:pt x="806" y="41"/>
                  </a:lnTo>
                  <a:lnTo>
                    <a:pt x="783" y="23"/>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314" name="Google Shape;2314;g7826bb8c5e_0_4294"/>
            <p:cNvSpPr/>
            <p:nvPr/>
          </p:nvSpPr>
          <p:spPr>
            <a:xfrm>
              <a:off x="6494098" y="5088004"/>
              <a:ext cx="68650" cy="64170"/>
            </a:xfrm>
            <a:custGeom>
              <a:avLst/>
              <a:gdLst/>
              <a:ahLst/>
              <a:cxnLst/>
              <a:rect l="l" t="t" r="r" b="b"/>
              <a:pathLst>
                <a:path w="132" h="107" extrusionOk="0">
                  <a:moveTo>
                    <a:pt x="52" y="82"/>
                  </a:moveTo>
                  <a:lnTo>
                    <a:pt x="16" y="107"/>
                  </a:lnTo>
                  <a:lnTo>
                    <a:pt x="0" y="95"/>
                  </a:lnTo>
                  <a:lnTo>
                    <a:pt x="2" y="95"/>
                  </a:lnTo>
                  <a:lnTo>
                    <a:pt x="2" y="60"/>
                  </a:lnTo>
                  <a:lnTo>
                    <a:pt x="6" y="56"/>
                  </a:lnTo>
                  <a:lnTo>
                    <a:pt x="10" y="60"/>
                  </a:lnTo>
                  <a:lnTo>
                    <a:pt x="16" y="33"/>
                  </a:lnTo>
                  <a:lnTo>
                    <a:pt x="19" y="6"/>
                  </a:lnTo>
                  <a:lnTo>
                    <a:pt x="29" y="0"/>
                  </a:lnTo>
                  <a:lnTo>
                    <a:pt x="56" y="12"/>
                  </a:lnTo>
                  <a:lnTo>
                    <a:pt x="83" y="21"/>
                  </a:lnTo>
                  <a:lnTo>
                    <a:pt x="91" y="8"/>
                  </a:lnTo>
                  <a:lnTo>
                    <a:pt x="132" y="4"/>
                  </a:lnTo>
                  <a:lnTo>
                    <a:pt x="103" y="52"/>
                  </a:lnTo>
                  <a:lnTo>
                    <a:pt x="97" y="51"/>
                  </a:lnTo>
                  <a:lnTo>
                    <a:pt x="58" y="91"/>
                  </a:lnTo>
                  <a:lnTo>
                    <a:pt x="64" y="83"/>
                  </a:lnTo>
                  <a:lnTo>
                    <a:pt x="56" y="83"/>
                  </a:lnTo>
                  <a:lnTo>
                    <a:pt x="52" y="82"/>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4F81BD"/>
                </a:solidFill>
                <a:latin typeface="Arial"/>
                <a:ea typeface="Arial"/>
                <a:cs typeface="Arial"/>
                <a:sym typeface="Arial"/>
              </a:endParaRPr>
            </a:p>
          </p:txBody>
        </p:sp>
        <p:sp>
          <p:nvSpPr>
            <p:cNvPr id="2315" name="Google Shape;2315;g7826bb8c5e_0_4294"/>
            <p:cNvSpPr/>
            <p:nvPr/>
          </p:nvSpPr>
          <p:spPr>
            <a:xfrm>
              <a:off x="7029310" y="4592127"/>
              <a:ext cx="38138" cy="50517"/>
            </a:xfrm>
            <a:custGeom>
              <a:avLst/>
              <a:gdLst/>
              <a:ahLst/>
              <a:cxnLst/>
              <a:rect l="l" t="t" r="r" b="b"/>
              <a:pathLst>
                <a:path w="76" h="79" extrusionOk="0">
                  <a:moveTo>
                    <a:pt x="76" y="79"/>
                  </a:moveTo>
                  <a:lnTo>
                    <a:pt x="56" y="77"/>
                  </a:lnTo>
                  <a:lnTo>
                    <a:pt x="31" y="50"/>
                  </a:lnTo>
                  <a:lnTo>
                    <a:pt x="4" y="23"/>
                  </a:lnTo>
                  <a:lnTo>
                    <a:pt x="0" y="0"/>
                  </a:lnTo>
                  <a:lnTo>
                    <a:pt x="19" y="19"/>
                  </a:lnTo>
                  <a:lnTo>
                    <a:pt x="39" y="39"/>
                  </a:lnTo>
                  <a:lnTo>
                    <a:pt x="56" y="60"/>
                  </a:lnTo>
                  <a:lnTo>
                    <a:pt x="76" y="79"/>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16" name="Google Shape;2316;g7826bb8c5e_0_4294"/>
            <p:cNvSpPr/>
            <p:nvPr/>
          </p:nvSpPr>
          <p:spPr>
            <a:xfrm>
              <a:off x="6803020" y="5063155"/>
              <a:ext cx="199592" cy="141992"/>
            </a:xfrm>
            <a:custGeom>
              <a:avLst/>
              <a:gdLst/>
              <a:ahLst/>
              <a:cxnLst/>
              <a:rect l="l" t="t" r="r" b="b"/>
              <a:pathLst>
                <a:path w="378" h="231" extrusionOk="0">
                  <a:moveTo>
                    <a:pt x="246" y="125"/>
                  </a:moveTo>
                  <a:lnTo>
                    <a:pt x="232" y="103"/>
                  </a:lnTo>
                  <a:lnTo>
                    <a:pt x="230" y="101"/>
                  </a:lnTo>
                  <a:lnTo>
                    <a:pt x="221" y="105"/>
                  </a:lnTo>
                  <a:lnTo>
                    <a:pt x="234" y="128"/>
                  </a:lnTo>
                  <a:lnTo>
                    <a:pt x="207" y="134"/>
                  </a:lnTo>
                  <a:lnTo>
                    <a:pt x="192" y="138"/>
                  </a:lnTo>
                  <a:lnTo>
                    <a:pt x="186" y="152"/>
                  </a:lnTo>
                  <a:lnTo>
                    <a:pt x="172" y="167"/>
                  </a:lnTo>
                  <a:lnTo>
                    <a:pt x="130" y="200"/>
                  </a:lnTo>
                  <a:lnTo>
                    <a:pt x="54" y="231"/>
                  </a:lnTo>
                  <a:lnTo>
                    <a:pt x="38" y="225"/>
                  </a:lnTo>
                  <a:lnTo>
                    <a:pt x="13" y="216"/>
                  </a:lnTo>
                  <a:lnTo>
                    <a:pt x="2" y="210"/>
                  </a:lnTo>
                  <a:lnTo>
                    <a:pt x="6" y="208"/>
                  </a:lnTo>
                  <a:lnTo>
                    <a:pt x="0" y="206"/>
                  </a:lnTo>
                  <a:lnTo>
                    <a:pt x="17" y="194"/>
                  </a:lnTo>
                  <a:lnTo>
                    <a:pt x="25" y="188"/>
                  </a:lnTo>
                  <a:lnTo>
                    <a:pt x="35" y="181"/>
                  </a:lnTo>
                  <a:lnTo>
                    <a:pt x="37" y="185"/>
                  </a:lnTo>
                  <a:lnTo>
                    <a:pt x="50" y="169"/>
                  </a:lnTo>
                  <a:lnTo>
                    <a:pt x="64" y="163"/>
                  </a:lnTo>
                  <a:lnTo>
                    <a:pt x="83" y="154"/>
                  </a:lnTo>
                  <a:lnTo>
                    <a:pt x="124" y="130"/>
                  </a:lnTo>
                  <a:lnTo>
                    <a:pt x="141" y="128"/>
                  </a:lnTo>
                  <a:lnTo>
                    <a:pt x="199" y="99"/>
                  </a:lnTo>
                  <a:lnTo>
                    <a:pt x="228" y="88"/>
                  </a:lnTo>
                  <a:lnTo>
                    <a:pt x="263" y="66"/>
                  </a:lnTo>
                  <a:lnTo>
                    <a:pt x="254" y="66"/>
                  </a:lnTo>
                  <a:lnTo>
                    <a:pt x="281" y="47"/>
                  </a:lnTo>
                  <a:lnTo>
                    <a:pt x="343" y="4"/>
                  </a:lnTo>
                  <a:lnTo>
                    <a:pt x="356" y="0"/>
                  </a:lnTo>
                  <a:lnTo>
                    <a:pt x="343" y="8"/>
                  </a:lnTo>
                  <a:lnTo>
                    <a:pt x="341" y="26"/>
                  </a:lnTo>
                  <a:lnTo>
                    <a:pt x="372" y="16"/>
                  </a:lnTo>
                  <a:lnTo>
                    <a:pt x="366" y="24"/>
                  </a:lnTo>
                  <a:lnTo>
                    <a:pt x="370" y="26"/>
                  </a:lnTo>
                  <a:lnTo>
                    <a:pt x="368" y="28"/>
                  </a:lnTo>
                  <a:lnTo>
                    <a:pt x="378" y="26"/>
                  </a:lnTo>
                  <a:lnTo>
                    <a:pt x="360" y="45"/>
                  </a:lnTo>
                  <a:lnTo>
                    <a:pt x="320" y="70"/>
                  </a:lnTo>
                  <a:lnTo>
                    <a:pt x="281" y="97"/>
                  </a:lnTo>
                  <a:lnTo>
                    <a:pt x="259" y="103"/>
                  </a:lnTo>
                  <a:lnTo>
                    <a:pt x="259" y="111"/>
                  </a:lnTo>
                  <a:lnTo>
                    <a:pt x="246" y="109"/>
                  </a:lnTo>
                  <a:lnTo>
                    <a:pt x="259" y="117"/>
                  </a:lnTo>
                  <a:lnTo>
                    <a:pt x="259" y="126"/>
                  </a:lnTo>
                  <a:lnTo>
                    <a:pt x="246" y="125"/>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17" name="Google Shape;2317;g7826bb8c5e_0_4294"/>
            <p:cNvSpPr/>
            <p:nvPr/>
          </p:nvSpPr>
          <p:spPr>
            <a:xfrm>
              <a:off x="7005154" y="4923895"/>
              <a:ext cx="113146" cy="165203"/>
            </a:xfrm>
            <a:custGeom>
              <a:avLst/>
              <a:gdLst/>
              <a:ahLst/>
              <a:cxnLst/>
              <a:rect l="l" t="t" r="r" b="b"/>
              <a:pathLst>
                <a:path w="218" h="271" extrusionOk="0">
                  <a:moveTo>
                    <a:pt x="28" y="184"/>
                  </a:moveTo>
                  <a:lnTo>
                    <a:pt x="39" y="201"/>
                  </a:lnTo>
                  <a:lnTo>
                    <a:pt x="49" y="219"/>
                  </a:lnTo>
                  <a:lnTo>
                    <a:pt x="0" y="261"/>
                  </a:lnTo>
                  <a:lnTo>
                    <a:pt x="10" y="271"/>
                  </a:lnTo>
                  <a:lnTo>
                    <a:pt x="57" y="244"/>
                  </a:lnTo>
                  <a:lnTo>
                    <a:pt x="103" y="215"/>
                  </a:lnTo>
                  <a:lnTo>
                    <a:pt x="124" y="186"/>
                  </a:lnTo>
                  <a:lnTo>
                    <a:pt x="159" y="178"/>
                  </a:lnTo>
                  <a:lnTo>
                    <a:pt x="175" y="161"/>
                  </a:lnTo>
                  <a:lnTo>
                    <a:pt x="218" y="124"/>
                  </a:lnTo>
                  <a:lnTo>
                    <a:pt x="212" y="120"/>
                  </a:lnTo>
                  <a:lnTo>
                    <a:pt x="177" y="133"/>
                  </a:lnTo>
                  <a:lnTo>
                    <a:pt x="142" y="116"/>
                  </a:lnTo>
                  <a:lnTo>
                    <a:pt x="152" y="79"/>
                  </a:lnTo>
                  <a:lnTo>
                    <a:pt x="138" y="101"/>
                  </a:lnTo>
                  <a:lnTo>
                    <a:pt x="121" y="91"/>
                  </a:lnTo>
                  <a:lnTo>
                    <a:pt x="126" y="77"/>
                  </a:lnTo>
                  <a:lnTo>
                    <a:pt x="134" y="50"/>
                  </a:lnTo>
                  <a:lnTo>
                    <a:pt x="144" y="35"/>
                  </a:lnTo>
                  <a:lnTo>
                    <a:pt x="138" y="33"/>
                  </a:lnTo>
                  <a:lnTo>
                    <a:pt x="123" y="15"/>
                  </a:lnTo>
                  <a:lnTo>
                    <a:pt x="117" y="4"/>
                  </a:lnTo>
                  <a:lnTo>
                    <a:pt x="115" y="0"/>
                  </a:lnTo>
                  <a:lnTo>
                    <a:pt x="111" y="27"/>
                  </a:lnTo>
                  <a:lnTo>
                    <a:pt x="115" y="38"/>
                  </a:lnTo>
                  <a:lnTo>
                    <a:pt x="109" y="71"/>
                  </a:lnTo>
                  <a:lnTo>
                    <a:pt x="113" y="58"/>
                  </a:lnTo>
                  <a:lnTo>
                    <a:pt x="119" y="66"/>
                  </a:lnTo>
                  <a:lnTo>
                    <a:pt x="119" y="69"/>
                  </a:lnTo>
                  <a:lnTo>
                    <a:pt x="113" y="81"/>
                  </a:lnTo>
                  <a:lnTo>
                    <a:pt x="107" y="99"/>
                  </a:lnTo>
                  <a:lnTo>
                    <a:pt x="119" y="95"/>
                  </a:lnTo>
                  <a:lnTo>
                    <a:pt x="109" y="102"/>
                  </a:lnTo>
                  <a:lnTo>
                    <a:pt x="101" y="120"/>
                  </a:lnTo>
                  <a:lnTo>
                    <a:pt x="70" y="161"/>
                  </a:lnTo>
                  <a:lnTo>
                    <a:pt x="28" y="18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18" name="Google Shape;2318;g7826bb8c5e_0_4294"/>
            <p:cNvSpPr/>
            <p:nvPr/>
          </p:nvSpPr>
          <p:spPr>
            <a:xfrm>
              <a:off x="6801749" y="5207877"/>
              <a:ext cx="12713" cy="6827"/>
            </a:xfrm>
            <a:custGeom>
              <a:avLst/>
              <a:gdLst/>
              <a:ahLst/>
              <a:cxnLst/>
              <a:rect l="l" t="t" r="r" b="b"/>
              <a:pathLst>
                <a:path w="21" h="12" extrusionOk="0">
                  <a:moveTo>
                    <a:pt x="21" y="6"/>
                  </a:moveTo>
                  <a:lnTo>
                    <a:pt x="21" y="2"/>
                  </a:lnTo>
                  <a:lnTo>
                    <a:pt x="11" y="0"/>
                  </a:lnTo>
                  <a:lnTo>
                    <a:pt x="0" y="12"/>
                  </a:lnTo>
                  <a:lnTo>
                    <a:pt x="21" y="6"/>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19" name="Google Shape;2319;g7826bb8c5e_0_4294"/>
            <p:cNvSpPr/>
            <p:nvPr/>
          </p:nvSpPr>
          <p:spPr>
            <a:xfrm>
              <a:off x="5151617" y="4609874"/>
              <a:ext cx="8900" cy="8192"/>
            </a:xfrm>
            <a:custGeom>
              <a:avLst/>
              <a:gdLst/>
              <a:ahLst/>
              <a:cxnLst/>
              <a:rect l="l" t="t" r="r" b="b"/>
              <a:pathLst>
                <a:path w="18" h="14" extrusionOk="0">
                  <a:moveTo>
                    <a:pt x="6" y="0"/>
                  </a:moveTo>
                  <a:lnTo>
                    <a:pt x="0" y="14"/>
                  </a:lnTo>
                  <a:lnTo>
                    <a:pt x="18" y="12"/>
                  </a:lnTo>
                  <a:lnTo>
                    <a:pt x="6"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20" name="Google Shape;2320;g7826bb8c5e_0_4294"/>
            <p:cNvSpPr/>
            <p:nvPr/>
          </p:nvSpPr>
          <p:spPr>
            <a:xfrm>
              <a:off x="6989900" y="4342276"/>
              <a:ext cx="21612" cy="13653"/>
            </a:xfrm>
            <a:custGeom>
              <a:avLst/>
              <a:gdLst/>
              <a:ahLst/>
              <a:cxnLst/>
              <a:rect l="l" t="t" r="r" b="b"/>
              <a:pathLst>
                <a:path w="37" h="23" extrusionOk="0">
                  <a:moveTo>
                    <a:pt x="37" y="23"/>
                  </a:moveTo>
                  <a:lnTo>
                    <a:pt x="37" y="21"/>
                  </a:lnTo>
                  <a:lnTo>
                    <a:pt x="4" y="0"/>
                  </a:lnTo>
                  <a:lnTo>
                    <a:pt x="0" y="12"/>
                  </a:lnTo>
                  <a:lnTo>
                    <a:pt x="37" y="23"/>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21" name="Google Shape;2321;g7826bb8c5e_0_4294"/>
            <p:cNvSpPr/>
            <p:nvPr/>
          </p:nvSpPr>
          <p:spPr>
            <a:xfrm>
              <a:off x="6942862" y="4279470"/>
              <a:ext cx="13984" cy="19115"/>
            </a:xfrm>
            <a:custGeom>
              <a:avLst/>
              <a:gdLst/>
              <a:ahLst/>
              <a:cxnLst/>
              <a:rect l="l" t="t" r="r" b="b"/>
              <a:pathLst>
                <a:path w="29" h="27" extrusionOk="0">
                  <a:moveTo>
                    <a:pt x="0" y="0"/>
                  </a:moveTo>
                  <a:lnTo>
                    <a:pt x="29" y="27"/>
                  </a:lnTo>
                  <a:lnTo>
                    <a:pt x="8" y="19"/>
                  </a:lnTo>
                  <a:lnTo>
                    <a:pt x="0"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22" name="Google Shape;2322;g7826bb8c5e_0_4294"/>
            <p:cNvSpPr/>
            <p:nvPr/>
          </p:nvSpPr>
          <p:spPr>
            <a:xfrm>
              <a:off x="7017868" y="4361389"/>
              <a:ext cx="13985" cy="16383"/>
            </a:xfrm>
            <a:custGeom>
              <a:avLst/>
              <a:gdLst/>
              <a:ahLst/>
              <a:cxnLst/>
              <a:rect l="l" t="t" r="r" b="b"/>
              <a:pathLst>
                <a:path w="29" h="25" extrusionOk="0">
                  <a:moveTo>
                    <a:pt x="29" y="25"/>
                  </a:moveTo>
                  <a:lnTo>
                    <a:pt x="4" y="8"/>
                  </a:lnTo>
                  <a:lnTo>
                    <a:pt x="0" y="0"/>
                  </a:lnTo>
                  <a:lnTo>
                    <a:pt x="29" y="19"/>
                  </a:lnTo>
                  <a:lnTo>
                    <a:pt x="29" y="25"/>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23" name="Google Shape;2323;g7826bb8c5e_0_4294"/>
            <p:cNvSpPr/>
            <p:nvPr/>
          </p:nvSpPr>
          <p:spPr>
            <a:xfrm>
              <a:off x="6951760" y="4312238"/>
              <a:ext cx="10171" cy="12289"/>
            </a:xfrm>
            <a:custGeom>
              <a:avLst/>
              <a:gdLst/>
              <a:ahLst/>
              <a:cxnLst/>
              <a:rect l="l" t="t" r="r" b="b"/>
              <a:pathLst>
                <a:path w="17" h="22" extrusionOk="0">
                  <a:moveTo>
                    <a:pt x="17" y="22"/>
                  </a:moveTo>
                  <a:lnTo>
                    <a:pt x="9" y="0"/>
                  </a:lnTo>
                  <a:lnTo>
                    <a:pt x="0" y="8"/>
                  </a:lnTo>
                  <a:lnTo>
                    <a:pt x="5" y="10"/>
                  </a:lnTo>
                  <a:lnTo>
                    <a:pt x="17" y="22"/>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24" name="Google Shape;2324;g7826bb8c5e_0_4294"/>
            <p:cNvSpPr/>
            <p:nvPr/>
          </p:nvSpPr>
          <p:spPr>
            <a:xfrm>
              <a:off x="7011512" y="4319065"/>
              <a:ext cx="7627" cy="31402"/>
            </a:xfrm>
            <a:custGeom>
              <a:avLst/>
              <a:gdLst/>
              <a:ahLst/>
              <a:cxnLst/>
              <a:rect l="l" t="t" r="r" b="b"/>
              <a:pathLst>
                <a:path w="16" h="49" extrusionOk="0">
                  <a:moveTo>
                    <a:pt x="0" y="0"/>
                  </a:moveTo>
                  <a:lnTo>
                    <a:pt x="16" y="49"/>
                  </a:lnTo>
                  <a:lnTo>
                    <a:pt x="0" y="10"/>
                  </a:lnTo>
                  <a:lnTo>
                    <a:pt x="0"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25" name="Google Shape;2325;g7826bb8c5e_0_4294"/>
            <p:cNvSpPr/>
            <p:nvPr/>
          </p:nvSpPr>
          <p:spPr>
            <a:xfrm>
              <a:off x="6975916" y="4302682"/>
              <a:ext cx="20340" cy="21845"/>
            </a:xfrm>
            <a:custGeom>
              <a:avLst/>
              <a:gdLst/>
              <a:ahLst/>
              <a:cxnLst/>
              <a:rect l="l" t="t" r="r" b="b"/>
              <a:pathLst>
                <a:path w="41" h="37" extrusionOk="0">
                  <a:moveTo>
                    <a:pt x="37" y="37"/>
                  </a:moveTo>
                  <a:lnTo>
                    <a:pt x="41" y="37"/>
                  </a:lnTo>
                  <a:lnTo>
                    <a:pt x="20" y="19"/>
                  </a:lnTo>
                  <a:lnTo>
                    <a:pt x="0" y="0"/>
                  </a:lnTo>
                  <a:lnTo>
                    <a:pt x="20" y="17"/>
                  </a:lnTo>
                  <a:lnTo>
                    <a:pt x="37" y="37"/>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26" name="Google Shape;2326;g7826bb8c5e_0_4294"/>
            <p:cNvSpPr/>
            <p:nvPr/>
          </p:nvSpPr>
          <p:spPr>
            <a:xfrm>
              <a:off x="7094146" y="4469249"/>
              <a:ext cx="8900" cy="17749"/>
            </a:xfrm>
            <a:custGeom>
              <a:avLst/>
              <a:gdLst/>
              <a:ahLst/>
              <a:cxnLst/>
              <a:rect l="l" t="t" r="r" b="b"/>
              <a:pathLst>
                <a:path w="18" h="29" extrusionOk="0">
                  <a:moveTo>
                    <a:pt x="16" y="29"/>
                  </a:moveTo>
                  <a:lnTo>
                    <a:pt x="18" y="10"/>
                  </a:lnTo>
                  <a:lnTo>
                    <a:pt x="14" y="12"/>
                  </a:lnTo>
                  <a:lnTo>
                    <a:pt x="6" y="0"/>
                  </a:lnTo>
                  <a:lnTo>
                    <a:pt x="0" y="29"/>
                  </a:lnTo>
                  <a:lnTo>
                    <a:pt x="16" y="29"/>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27" name="Google Shape;2327;g7826bb8c5e_0_4294"/>
            <p:cNvSpPr/>
            <p:nvPr/>
          </p:nvSpPr>
          <p:spPr>
            <a:xfrm>
              <a:off x="3306978" y="5308911"/>
              <a:ext cx="24154" cy="19115"/>
            </a:xfrm>
            <a:custGeom>
              <a:avLst/>
              <a:gdLst/>
              <a:ahLst/>
              <a:cxnLst/>
              <a:rect l="l" t="t" r="r" b="b"/>
              <a:pathLst>
                <a:path w="49" h="37" extrusionOk="0">
                  <a:moveTo>
                    <a:pt x="49" y="15"/>
                  </a:moveTo>
                  <a:lnTo>
                    <a:pt x="39" y="8"/>
                  </a:lnTo>
                  <a:lnTo>
                    <a:pt x="29" y="8"/>
                  </a:lnTo>
                  <a:lnTo>
                    <a:pt x="24" y="6"/>
                  </a:lnTo>
                  <a:lnTo>
                    <a:pt x="10" y="0"/>
                  </a:lnTo>
                  <a:lnTo>
                    <a:pt x="10" y="11"/>
                  </a:lnTo>
                  <a:lnTo>
                    <a:pt x="0" y="25"/>
                  </a:lnTo>
                  <a:lnTo>
                    <a:pt x="10" y="37"/>
                  </a:lnTo>
                  <a:lnTo>
                    <a:pt x="16" y="29"/>
                  </a:lnTo>
                  <a:lnTo>
                    <a:pt x="22" y="27"/>
                  </a:lnTo>
                  <a:lnTo>
                    <a:pt x="22" y="23"/>
                  </a:lnTo>
                  <a:lnTo>
                    <a:pt x="49" y="15"/>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28" name="Google Shape;2328;g7826bb8c5e_0_4294"/>
            <p:cNvSpPr/>
            <p:nvPr/>
          </p:nvSpPr>
          <p:spPr>
            <a:xfrm>
              <a:off x="3289180" y="5310276"/>
              <a:ext cx="19069" cy="15017"/>
            </a:xfrm>
            <a:custGeom>
              <a:avLst/>
              <a:gdLst/>
              <a:ahLst/>
              <a:cxnLst/>
              <a:rect l="l" t="t" r="r" b="b"/>
              <a:pathLst>
                <a:path w="37" h="25" extrusionOk="0">
                  <a:moveTo>
                    <a:pt x="10" y="9"/>
                  </a:moveTo>
                  <a:lnTo>
                    <a:pt x="2" y="2"/>
                  </a:lnTo>
                  <a:lnTo>
                    <a:pt x="37" y="0"/>
                  </a:lnTo>
                  <a:lnTo>
                    <a:pt x="20" y="19"/>
                  </a:lnTo>
                  <a:lnTo>
                    <a:pt x="0" y="25"/>
                  </a:lnTo>
                  <a:lnTo>
                    <a:pt x="12" y="15"/>
                  </a:lnTo>
                  <a:lnTo>
                    <a:pt x="6" y="13"/>
                  </a:lnTo>
                  <a:lnTo>
                    <a:pt x="10" y="9"/>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29" name="Google Shape;2329;g7826bb8c5e_0_4294"/>
            <p:cNvSpPr/>
            <p:nvPr/>
          </p:nvSpPr>
          <p:spPr>
            <a:xfrm>
              <a:off x="4404099" y="4519764"/>
              <a:ext cx="233917" cy="274427"/>
            </a:xfrm>
            <a:custGeom>
              <a:avLst/>
              <a:gdLst/>
              <a:ahLst/>
              <a:cxnLst/>
              <a:rect l="l" t="t" r="r" b="b"/>
              <a:pathLst>
                <a:path w="447" h="453" extrusionOk="0">
                  <a:moveTo>
                    <a:pt x="265" y="296"/>
                  </a:moveTo>
                  <a:lnTo>
                    <a:pt x="265" y="244"/>
                  </a:lnTo>
                  <a:lnTo>
                    <a:pt x="267" y="192"/>
                  </a:lnTo>
                  <a:lnTo>
                    <a:pt x="300" y="192"/>
                  </a:lnTo>
                  <a:lnTo>
                    <a:pt x="302" y="157"/>
                  </a:lnTo>
                  <a:lnTo>
                    <a:pt x="304" y="122"/>
                  </a:lnTo>
                  <a:lnTo>
                    <a:pt x="304" y="87"/>
                  </a:lnTo>
                  <a:lnTo>
                    <a:pt x="306" y="52"/>
                  </a:lnTo>
                  <a:lnTo>
                    <a:pt x="345" y="46"/>
                  </a:lnTo>
                  <a:lnTo>
                    <a:pt x="383" y="42"/>
                  </a:lnTo>
                  <a:lnTo>
                    <a:pt x="395" y="56"/>
                  </a:lnTo>
                  <a:lnTo>
                    <a:pt x="422" y="40"/>
                  </a:lnTo>
                  <a:lnTo>
                    <a:pt x="447" y="31"/>
                  </a:lnTo>
                  <a:lnTo>
                    <a:pt x="411" y="21"/>
                  </a:lnTo>
                  <a:lnTo>
                    <a:pt x="387" y="25"/>
                  </a:lnTo>
                  <a:lnTo>
                    <a:pt x="339" y="31"/>
                  </a:lnTo>
                  <a:lnTo>
                    <a:pt x="288" y="36"/>
                  </a:lnTo>
                  <a:lnTo>
                    <a:pt x="257" y="31"/>
                  </a:lnTo>
                  <a:lnTo>
                    <a:pt x="224" y="23"/>
                  </a:lnTo>
                  <a:lnTo>
                    <a:pt x="221" y="15"/>
                  </a:lnTo>
                  <a:lnTo>
                    <a:pt x="182" y="15"/>
                  </a:lnTo>
                  <a:lnTo>
                    <a:pt x="143" y="13"/>
                  </a:lnTo>
                  <a:lnTo>
                    <a:pt x="104" y="13"/>
                  </a:lnTo>
                  <a:lnTo>
                    <a:pt x="66" y="11"/>
                  </a:lnTo>
                  <a:lnTo>
                    <a:pt x="40" y="0"/>
                  </a:lnTo>
                  <a:lnTo>
                    <a:pt x="0" y="11"/>
                  </a:lnTo>
                  <a:lnTo>
                    <a:pt x="0" y="33"/>
                  </a:lnTo>
                  <a:lnTo>
                    <a:pt x="21" y="79"/>
                  </a:lnTo>
                  <a:lnTo>
                    <a:pt x="44" y="124"/>
                  </a:lnTo>
                  <a:lnTo>
                    <a:pt x="66" y="170"/>
                  </a:lnTo>
                  <a:lnTo>
                    <a:pt x="87" y="217"/>
                  </a:lnTo>
                  <a:lnTo>
                    <a:pt x="91" y="236"/>
                  </a:lnTo>
                  <a:lnTo>
                    <a:pt x="85" y="234"/>
                  </a:lnTo>
                  <a:lnTo>
                    <a:pt x="91" y="273"/>
                  </a:lnTo>
                  <a:lnTo>
                    <a:pt x="97" y="312"/>
                  </a:lnTo>
                  <a:lnTo>
                    <a:pt x="100" y="351"/>
                  </a:lnTo>
                  <a:lnTo>
                    <a:pt x="106" y="389"/>
                  </a:lnTo>
                  <a:lnTo>
                    <a:pt x="126" y="417"/>
                  </a:lnTo>
                  <a:lnTo>
                    <a:pt x="143" y="442"/>
                  </a:lnTo>
                  <a:lnTo>
                    <a:pt x="162" y="420"/>
                  </a:lnTo>
                  <a:lnTo>
                    <a:pt x="174" y="446"/>
                  </a:lnTo>
                  <a:lnTo>
                    <a:pt x="223" y="453"/>
                  </a:lnTo>
                  <a:lnTo>
                    <a:pt x="252" y="438"/>
                  </a:lnTo>
                  <a:lnTo>
                    <a:pt x="256" y="403"/>
                  </a:lnTo>
                  <a:lnTo>
                    <a:pt x="257" y="368"/>
                  </a:lnTo>
                  <a:lnTo>
                    <a:pt x="261" y="331"/>
                  </a:lnTo>
                  <a:lnTo>
                    <a:pt x="265" y="296"/>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30" name="Google Shape;2330;g7826bb8c5e_0_4294"/>
            <p:cNvSpPr/>
            <p:nvPr/>
          </p:nvSpPr>
          <p:spPr>
            <a:xfrm>
              <a:off x="2985342" y="4353197"/>
              <a:ext cx="219934" cy="301732"/>
            </a:xfrm>
            <a:custGeom>
              <a:avLst/>
              <a:gdLst/>
              <a:ahLst/>
              <a:cxnLst/>
              <a:rect l="l" t="t" r="r" b="b"/>
              <a:pathLst>
                <a:path w="420" h="497" extrusionOk="0">
                  <a:moveTo>
                    <a:pt x="283" y="392"/>
                  </a:moveTo>
                  <a:lnTo>
                    <a:pt x="275" y="433"/>
                  </a:lnTo>
                  <a:lnTo>
                    <a:pt x="267" y="473"/>
                  </a:lnTo>
                  <a:lnTo>
                    <a:pt x="260" y="466"/>
                  </a:lnTo>
                  <a:lnTo>
                    <a:pt x="221" y="471"/>
                  </a:lnTo>
                  <a:lnTo>
                    <a:pt x="211" y="493"/>
                  </a:lnTo>
                  <a:lnTo>
                    <a:pt x="194" y="469"/>
                  </a:lnTo>
                  <a:lnTo>
                    <a:pt x="153" y="462"/>
                  </a:lnTo>
                  <a:lnTo>
                    <a:pt x="147" y="458"/>
                  </a:lnTo>
                  <a:lnTo>
                    <a:pt x="120" y="497"/>
                  </a:lnTo>
                  <a:lnTo>
                    <a:pt x="97" y="493"/>
                  </a:lnTo>
                  <a:lnTo>
                    <a:pt x="81" y="458"/>
                  </a:lnTo>
                  <a:lnTo>
                    <a:pt x="68" y="425"/>
                  </a:lnTo>
                  <a:lnTo>
                    <a:pt x="60" y="392"/>
                  </a:lnTo>
                  <a:lnTo>
                    <a:pt x="60" y="363"/>
                  </a:lnTo>
                  <a:lnTo>
                    <a:pt x="42" y="338"/>
                  </a:lnTo>
                  <a:lnTo>
                    <a:pt x="31" y="312"/>
                  </a:lnTo>
                  <a:lnTo>
                    <a:pt x="23" y="295"/>
                  </a:lnTo>
                  <a:lnTo>
                    <a:pt x="23" y="279"/>
                  </a:lnTo>
                  <a:lnTo>
                    <a:pt x="37" y="247"/>
                  </a:lnTo>
                  <a:lnTo>
                    <a:pt x="27" y="243"/>
                  </a:lnTo>
                  <a:lnTo>
                    <a:pt x="21" y="212"/>
                  </a:lnTo>
                  <a:lnTo>
                    <a:pt x="23" y="181"/>
                  </a:lnTo>
                  <a:lnTo>
                    <a:pt x="29" y="159"/>
                  </a:lnTo>
                  <a:lnTo>
                    <a:pt x="29" y="113"/>
                  </a:lnTo>
                  <a:lnTo>
                    <a:pt x="35" y="103"/>
                  </a:lnTo>
                  <a:lnTo>
                    <a:pt x="17" y="74"/>
                  </a:lnTo>
                  <a:lnTo>
                    <a:pt x="0" y="45"/>
                  </a:lnTo>
                  <a:lnTo>
                    <a:pt x="44" y="47"/>
                  </a:lnTo>
                  <a:lnTo>
                    <a:pt x="60" y="35"/>
                  </a:lnTo>
                  <a:lnTo>
                    <a:pt x="87" y="18"/>
                  </a:lnTo>
                  <a:lnTo>
                    <a:pt x="114" y="0"/>
                  </a:lnTo>
                  <a:lnTo>
                    <a:pt x="141" y="2"/>
                  </a:lnTo>
                  <a:lnTo>
                    <a:pt x="143" y="35"/>
                  </a:lnTo>
                  <a:lnTo>
                    <a:pt x="147" y="66"/>
                  </a:lnTo>
                  <a:lnTo>
                    <a:pt x="172" y="93"/>
                  </a:lnTo>
                  <a:lnTo>
                    <a:pt x="198" y="103"/>
                  </a:lnTo>
                  <a:lnTo>
                    <a:pt x="227" y="117"/>
                  </a:lnTo>
                  <a:lnTo>
                    <a:pt x="263" y="142"/>
                  </a:lnTo>
                  <a:lnTo>
                    <a:pt x="302" y="150"/>
                  </a:lnTo>
                  <a:lnTo>
                    <a:pt x="312" y="165"/>
                  </a:lnTo>
                  <a:lnTo>
                    <a:pt x="316" y="202"/>
                  </a:lnTo>
                  <a:lnTo>
                    <a:pt x="310" y="202"/>
                  </a:lnTo>
                  <a:lnTo>
                    <a:pt x="324" y="217"/>
                  </a:lnTo>
                  <a:lnTo>
                    <a:pt x="327" y="247"/>
                  </a:lnTo>
                  <a:lnTo>
                    <a:pt x="358" y="250"/>
                  </a:lnTo>
                  <a:lnTo>
                    <a:pt x="389" y="254"/>
                  </a:lnTo>
                  <a:lnTo>
                    <a:pt x="393" y="287"/>
                  </a:lnTo>
                  <a:lnTo>
                    <a:pt x="415" y="307"/>
                  </a:lnTo>
                  <a:lnTo>
                    <a:pt x="420" y="322"/>
                  </a:lnTo>
                  <a:lnTo>
                    <a:pt x="413" y="351"/>
                  </a:lnTo>
                  <a:lnTo>
                    <a:pt x="407" y="378"/>
                  </a:lnTo>
                  <a:lnTo>
                    <a:pt x="411" y="392"/>
                  </a:lnTo>
                  <a:lnTo>
                    <a:pt x="407" y="396"/>
                  </a:lnTo>
                  <a:lnTo>
                    <a:pt x="407" y="390"/>
                  </a:lnTo>
                  <a:lnTo>
                    <a:pt x="372" y="365"/>
                  </a:lnTo>
                  <a:lnTo>
                    <a:pt x="329" y="371"/>
                  </a:lnTo>
                  <a:lnTo>
                    <a:pt x="287" y="376"/>
                  </a:lnTo>
                  <a:lnTo>
                    <a:pt x="283" y="392"/>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31" name="Google Shape;2331;g7826bb8c5e_0_4294"/>
            <p:cNvSpPr/>
            <p:nvPr/>
          </p:nvSpPr>
          <p:spPr>
            <a:xfrm>
              <a:off x="4542670" y="4538879"/>
              <a:ext cx="160182" cy="206162"/>
            </a:xfrm>
            <a:custGeom>
              <a:avLst/>
              <a:gdLst/>
              <a:ahLst/>
              <a:cxnLst/>
              <a:rect l="l" t="t" r="r" b="b"/>
              <a:pathLst>
                <a:path w="308" h="343" extrusionOk="0">
                  <a:moveTo>
                    <a:pt x="0" y="265"/>
                  </a:moveTo>
                  <a:lnTo>
                    <a:pt x="0" y="213"/>
                  </a:lnTo>
                  <a:lnTo>
                    <a:pt x="2" y="161"/>
                  </a:lnTo>
                  <a:lnTo>
                    <a:pt x="35" y="161"/>
                  </a:lnTo>
                  <a:lnTo>
                    <a:pt x="37" y="126"/>
                  </a:lnTo>
                  <a:lnTo>
                    <a:pt x="39" y="91"/>
                  </a:lnTo>
                  <a:lnTo>
                    <a:pt x="39" y="56"/>
                  </a:lnTo>
                  <a:lnTo>
                    <a:pt x="41" y="21"/>
                  </a:lnTo>
                  <a:lnTo>
                    <a:pt x="80" y="15"/>
                  </a:lnTo>
                  <a:lnTo>
                    <a:pt x="118" y="11"/>
                  </a:lnTo>
                  <a:lnTo>
                    <a:pt x="130" y="25"/>
                  </a:lnTo>
                  <a:lnTo>
                    <a:pt x="157" y="9"/>
                  </a:lnTo>
                  <a:lnTo>
                    <a:pt x="182" y="0"/>
                  </a:lnTo>
                  <a:lnTo>
                    <a:pt x="202" y="38"/>
                  </a:lnTo>
                  <a:lnTo>
                    <a:pt x="221" y="75"/>
                  </a:lnTo>
                  <a:lnTo>
                    <a:pt x="244" y="93"/>
                  </a:lnTo>
                  <a:lnTo>
                    <a:pt x="250" y="102"/>
                  </a:lnTo>
                  <a:lnTo>
                    <a:pt x="260" y="112"/>
                  </a:lnTo>
                  <a:lnTo>
                    <a:pt x="272" y="145"/>
                  </a:lnTo>
                  <a:lnTo>
                    <a:pt x="301" y="159"/>
                  </a:lnTo>
                  <a:lnTo>
                    <a:pt x="308" y="164"/>
                  </a:lnTo>
                  <a:lnTo>
                    <a:pt x="306" y="166"/>
                  </a:lnTo>
                  <a:lnTo>
                    <a:pt x="262" y="196"/>
                  </a:lnTo>
                  <a:lnTo>
                    <a:pt x="229" y="225"/>
                  </a:lnTo>
                  <a:lnTo>
                    <a:pt x="211" y="259"/>
                  </a:lnTo>
                  <a:lnTo>
                    <a:pt x="192" y="271"/>
                  </a:lnTo>
                  <a:lnTo>
                    <a:pt x="173" y="302"/>
                  </a:lnTo>
                  <a:lnTo>
                    <a:pt x="124" y="296"/>
                  </a:lnTo>
                  <a:lnTo>
                    <a:pt x="97" y="287"/>
                  </a:lnTo>
                  <a:lnTo>
                    <a:pt x="80" y="312"/>
                  </a:lnTo>
                  <a:lnTo>
                    <a:pt x="62" y="337"/>
                  </a:lnTo>
                  <a:lnTo>
                    <a:pt x="27" y="343"/>
                  </a:lnTo>
                  <a:lnTo>
                    <a:pt x="16" y="339"/>
                  </a:lnTo>
                  <a:lnTo>
                    <a:pt x="22" y="302"/>
                  </a:lnTo>
                  <a:lnTo>
                    <a:pt x="0" y="265"/>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32" name="Google Shape;2332;g7826bb8c5e_0_4294"/>
            <p:cNvSpPr/>
            <p:nvPr/>
          </p:nvSpPr>
          <p:spPr>
            <a:xfrm>
              <a:off x="4954568" y="4391426"/>
              <a:ext cx="2542" cy="10923"/>
            </a:xfrm>
            <a:custGeom>
              <a:avLst/>
              <a:gdLst/>
              <a:ahLst/>
              <a:cxnLst/>
              <a:rect l="l" t="t" r="r" b="b"/>
              <a:pathLst>
                <a:path w="8" h="20" extrusionOk="0">
                  <a:moveTo>
                    <a:pt x="8" y="20"/>
                  </a:moveTo>
                  <a:lnTo>
                    <a:pt x="8" y="16"/>
                  </a:lnTo>
                  <a:lnTo>
                    <a:pt x="0" y="0"/>
                  </a:lnTo>
                  <a:lnTo>
                    <a:pt x="8" y="2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33" name="Google Shape;2333;g7826bb8c5e_0_4294"/>
            <p:cNvSpPr/>
            <p:nvPr/>
          </p:nvSpPr>
          <p:spPr>
            <a:xfrm>
              <a:off x="4655815" y="4788730"/>
              <a:ext cx="39410" cy="46421"/>
            </a:xfrm>
            <a:custGeom>
              <a:avLst/>
              <a:gdLst/>
              <a:ahLst/>
              <a:cxnLst/>
              <a:rect l="l" t="t" r="r" b="b"/>
              <a:pathLst>
                <a:path w="76" h="75" extrusionOk="0">
                  <a:moveTo>
                    <a:pt x="33" y="9"/>
                  </a:moveTo>
                  <a:lnTo>
                    <a:pt x="0" y="42"/>
                  </a:lnTo>
                  <a:lnTo>
                    <a:pt x="24" y="75"/>
                  </a:lnTo>
                  <a:lnTo>
                    <a:pt x="37" y="64"/>
                  </a:lnTo>
                  <a:lnTo>
                    <a:pt x="68" y="40"/>
                  </a:lnTo>
                  <a:lnTo>
                    <a:pt x="76" y="17"/>
                  </a:lnTo>
                  <a:lnTo>
                    <a:pt x="47" y="0"/>
                  </a:lnTo>
                  <a:lnTo>
                    <a:pt x="33" y="9"/>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34" name="Google Shape;2334;g7826bb8c5e_0_4294"/>
            <p:cNvSpPr/>
            <p:nvPr/>
          </p:nvSpPr>
          <p:spPr>
            <a:xfrm>
              <a:off x="4944397" y="4406445"/>
              <a:ext cx="130942" cy="311290"/>
            </a:xfrm>
            <a:custGeom>
              <a:avLst/>
              <a:gdLst/>
              <a:ahLst/>
              <a:cxnLst/>
              <a:rect l="l" t="t" r="r" b="b"/>
              <a:pathLst>
                <a:path w="256" h="512" extrusionOk="0">
                  <a:moveTo>
                    <a:pt x="93" y="144"/>
                  </a:moveTo>
                  <a:lnTo>
                    <a:pt x="79" y="146"/>
                  </a:lnTo>
                  <a:lnTo>
                    <a:pt x="50" y="161"/>
                  </a:lnTo>
                  <a:lnTo>
                    <a:pt x="42" y="192"/>
                  </a:lnTo>
                  <a:lnTo>
                    <a:pt x="33" y="221"/>
                  </a:lnTo>
                  <a:lnTo>
                    <a:pt x="39" y="260"/>
                  </a:lnTo>
                  <a:lnTo>
                    <a:pt x="44" y="299"/>
                  </a:lnTo>
                  <a:lnTo>
                    <a:pt x="27" y="326"/>
                  </a:lnTo>
                  <a:lnTo>
                    <a:pt x="8" y="351"/>
                  </a:lnTo>
                  <a:lnTo>
                    <a:pt x="0" y="402"/>
                  </a:lnTo>
                  <a:lnTo>
                    <a:pt x="8" y="444"/>
                  </a:lnTo>
                  <a:lnTo>
                    <a:pt x="19" y="493"/>
                  </a:lnTo>
                  <a:lnTo>
                    <a:pt x="62" y="512"/>
                  </a:lnTo>
                  <a:lnTo>
                    <a:pt x="91" y="497"/>
                  </a:lnTo>
                  <a:lnTo>
                    <a:pt x="120" y="481"/>
                  </a:lnTo>
                  <a:lnTo>
                    <a:pt x="132" y="446"/>
                  </a:lnTo>
                  <a:lnTo>
                    <a:pt x="143" y="412"/>
                  </a:lnTo>
                  <a:lnTo>
                    <a:pt x="157" y="379"/>
                  </a:lnTo>
                  <a:lnTo>
                    <a:pt x="168" y="344"/>
                  </a:lnTo>
                  <a:lnTo>
                    <a:pt x="180" y="309"/>
                  </a:lnTo>
                  <a:lnTo>
                    <a:pt x="192" y="274"/>
                  </a:lnTo>
                  <a:lnTo>
                    <a:pt x="203" y="239"/>
                  </a:lnTo>
                  <a:lnTo>
                    <a:pt x="215" y="204"/>
                  </a:lnTo>
                  <a:lnTo>
                    <a:pt x="229" y="181"/>
                  </a:lnTo>
                  <a:lnTo>
                    <a:pt x="229" y="126"/>
                  </a:lnTo>
                  <a:lnTo>
                    <a:pt x="246" y="142"/>
                  </a:lnTo>
                  <a:lnTo>
                    <a:pt x="256" y="123"/>
                  </a:lnTo>
                  <a:lnTo>
                    <a:pt x="244" y="74"/>
                  </a:lnTo>
                  <a:lnTo>
                    <a:pt x="232" y="26"/>
                  </a:lnTo>
                  <a:lnTo>
                    <a:pt x="223" y="0"/>
                  </a:lnTo>
                  <a:lnTo>
                    <a:pt x="215" y="0"/>
                  </a:lnTo>
                  <a:lnTo>
                    <a:pt x="205" y="12"/>
                  </a:lnTo>
                  <a:lnTo>
                    <a:pt x="199" y="49"/>
                  </a:lnTo>
                  <a:lnTo>
                    <a:pt x="186" y="57"/>
                  </a:lnTo>
                  <a:lnTo>
                    <a:pt x="182" y="63"/>
                  </a:lnTo>
                  <a:lnTo>
                    <a:pt x="172" y="57"/>
                  </a:lnTo>
                  <a:lnTo>
                    <a:pt x="174" y="78"/>
                  </a:lnTo>
                  <a:lnTo>
                    <a:pt x="166" y="94"/>
                  </a:lnTo>
                  <a:lnTo>
                    <a:pt x="170" y="97"/>
                  </a:lnTo>
                  <a:lnTo>
                    <a:pt x="153" y="109"/>
                  </a:lnTo>
                  <a:lnTo>
                    <a:pt x="155" y="97"/>
                  </a:lnTo>
                  <a:lnTo>
                    <a:pt x="143" y="123"/>
                  </a:lnTo>
                  <a:lnTo>
                    <a:pt x="137" y="125"/>
                  </a:lnTo>
                  <a:lnTo>
                    <a:pt x="130" y="123"/>
                  </a:lnTo>
                  <a:lnTo>
                    <a:pt x="118" y="142"/>
                  </a:lnTo>
                  <a:lnTo>
                    <a:pt x="93" y="14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35" name="Google Shape;2335;g7826bb8c5e_0_4294"/>
            <p:cNvSpPr/>
            <p:nvPr/>
          </p:nvSpPr>
          <p:spPr>
            <a:xfrm>
              <a:off x="4770230" y="4345006"/>
              <a:ext cx="52123" cy="177490"/>
            </a:xfrm>
            <a:custGeom>
              <a:avLst/>
              <a:gdLst/>
              <a:ahLst/>
              <a:cxnLst/>
              <a:rect l="l" t="t" r="r" b="b"/>
              <a:pathLst>
                <a:path w="103" h="292" extrusionOk="0">
                  <a:moveTo>
                    <a:pt x="60" y="205"/>
                  </a:moveTo>
                  <a:lnTo>
                    <a:pt x="49" y="244"/>
                  </a:lnTo>
                  <a:lnTo>
                    <a:pt x="64" y="269"/>
                  </a:lnTo>
                  <a:lnTo>
                    <a:pt x="80" y="292"/>
                  </a:lnTo>
                  <a:lnTo>
                    <a:pt x="76" y="271"/>
                  </a:lnTo>
                  <a:lnTo>
                    <a:pt x="93" y="254"/>
                  </a:lnTo>
                  <a:lnTo>
                    <a:pt x="99" y="227"/>
                  </a:lnTo>
                  <a:lnTo>
                    <a:pt x="103" y="199"/>
                  </a:lnTo>
                  <a:lnTo>
                    <a:pt x="84" y="176"/>
                  </a:lnTo>
                  <a:lnTo>
                    <a:pt x="64" y="155"/>
                  </a:lnTo>
                  <a:lnTo>
                    <a:pt x="59" y="116"/>
                  </a:lnTo>
                  <a:lnTo>
                    <a:pt x="64" y="89"/>
                  </a:lnTo>
                  <a:lnTo>
                    <a:pt x="76" y="81"/>
                  </a:lnTo>
                  <a:lnTo>
                    <a:pt x="78" y="81"/>
                  </a:lnTo>
                  <a:lnTo>
                    <a:pt x="68" y="52"/>
                  </a:lnTo>
                  <a:lnTo>
                    <a:pt x="59" y="11"/>
                  </a:lnTo>
                  <a:lnTo>
                    <a:pt x="45" y="4"/>
                  </a:lnTo>
                  <a:lnTo>
                    <a:pt x="12" y="0"/>
                  </a:lnTo>
                  <a:lnTo>
                    <a:pt x="14" y="7"/>
                  </a:lnTo>
                  <a:lnTo>
                    <a:pt x="33" y="38"/>
                  </a:lnTo>
                  <a:lnTo>
                    <a:pt x="26" y="52"/>
                  </a:lnTo>
                  <a:lnTo>
                    <a:pt x="26" y="81"/>
                  </a:lnTo>
                  <a:lnTo>
                    <a:pt x="24" y="110"/>
                  </a:lnTo>
                  <a:lnTo>
                    <a:pt x="18" y="120"/>
                  </a:lnTo>
                  <a:lnTo>
                    <a:pt x="0" y="157"/>
                  </a:lnTo>
                  <a:lnTo>
                    <a:pt x="16" y="174"/>
                  </a:lnTo>
                  <a:lnTo>
                    <a:pt x="26" y="190"/>
                  </a:lnTo>
                  <a:lnTo>
                    <a:pt x="47" y="192"/>
                  </a:lnTo>
                  <a:lnTo>
                    <a:pt x="60" y="205"/>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36" name="Google Shape;2336;g7826bb8c5e_0_4294"/>
            <p:cNvSpPr/>
            <p:nvPr/>
          </p:nvSpPr>
          <p:spPr>
            <a:xfrm>
              <a:off x="4725736" y="4369582"/>
              <a:ext cx="181794" cy="378191"/>
            </a:xfrm>
            <a:custGeom>
              <a:avLst/>
              <a:gdLst/>
              <a:ahLst/>
              <a:cxnLst/>
              <a:rect l="l" t="t" r="r" b="b"/>
              <a:pathLst>
                <a:path w="351" h="623" extrusionOk="0">
                  <a:moveTo>
                    <a:pt x="144" y="388"/>
                  </a:moveTo>
                  <a:lnTo>
                    <a:pt x="142" y="363"/>
                  </a:lnTo>
                  <a:lnTo>
                    <a:pt x="140" y="351"/>
                  </a:lnTo>
                  <a:lnTo>
                    <a:pt x="153" y="351"/>
                  </a:lnTo>
                  <a:lnTo>
                    <a:pt x="192" y="320"/>
                  </a:lnTo>
                  <a:lnTo>
                    <a:pt x="215" y="287"/>
                  </a:lnTo>
                  <a:lnTo>
                    <a:pt x="244" y="270"/>
                  </a:lnTo>
                  <a:lnTo>
                    <a:pt x="273" y="252"/>
                  </a:lnTo>
                  <a:lnTo>
                    <a:pt x="316" y="225"/>
                  </a:lnTo>
                  <a:lnTo>
                    <a:pt x="343" y="179"/>
                  </a:lnTo>
                  <a:lnTo>
                    <a:pt x="351" y="150"/>
                  </a:lnTo>
                  <a:lnTo>
                    <a:pt x="347" y="152"/>
                  </a:lnTo>
                  <a:lnTo>
                    <a:pt x="343" y="97"/>
                  </a:lnTo>
                  <a:lnTo>
                    <a:pt x="347" y="78"/>
                  </a:lnTo>
                  <a:lnTo>
                    <a:pt x="347" y="26"/>
                  </a:lnTo>
                  <a:lnTo>
                    <a:pt x="349" y="0"/>
                  </a:lnTo>
                  <a:lnTo>
                    <a:pt x="347" y="0"/>
                  </a:lnTo>
                  <a:lnTo>
                    <a:pt x="312" y="18"/>
                  </a:lnTo>
                  <a:lnTo>
                    <a:pt x="277" y="33"/>
                  </a:lnTo>
                  <a:lnTo>
                    <a:pt x="258" y="35"/>
                  </a:lnTo>
                  <a:lnTo>
                    <a:pt x="235" y="45"/>
                  </a:lnTo>
                  <a:lnTo>
                    <a:pt x="196" y="39"/>
                  </a:lnTo>
                  <a:lnTo>
                    <a:pt x="176" y="41"/>
                  </a:lnTo>
                  <a:lnTo>
                    <a:pt x="161" y="41"/>
                  </a:lnTo>
                  <a:lnTo>
                    <a:pt x="149" y="49"/>
                  </a:lnTo>
                  <a:lnTo>
                    <a:pt x="144" y="76"/>
                  </a:lnTo>
                  <a:lnTo>
                    <a:pt x="149" y="115"/>
                  </a:lnTo>
                  <a:lnTo>
                    <a:pt x="169" y="136"/>
                  </a:lnTo>
                  <a:lnTo>
                    <a:pt x="188" y="159"/>
                  </a:lnTo>
                  <a:lnTo>
                    <a:pt x="184" y="187"/>
                  </a:lnTo>
                  <a:lnTo>
                    <a:pt x="178" y="214"/>
                  </a:lnTo>
                  <a:lnTo>
                    <a:pt x="161" y="231"/>
                  </a:lnTo>
                  <a:lnTo>
                    <a:pt x="165" y="252"/>
                  </a:lnTo>
                  <a:lnTo>
                    <a:pt x="149" y="229"/>
                  </a:lnTo>
                  <a:lnTo>
                    <a:pt x="134" y="204"/>
                  </a:lnTo>
                  <a:lnTo>
                    <a:pt x="145" y="165"/>
                  </a:lnTo>
                  <a:lnTo>
                    <a:pt x="132" y="152"/>
                  </a:lnTo>
                  <a:lnTo>
                    <a:pt x="111" y="150"/>
                  </a:lnTo>
                  <a:lnTo>
                    <a:pt x="101" y="134"/>
                  </a:lnTo>
                  <a:lnTo>
                    <a:pt x="76" y="144"/>
                  </a:lnTo>
                  <a:lnTo>
                    <a:pt x="50" y="156"/>
                  </a:lnTo>
                  <a:lnTo>
                    <a:pt x="25" y="165"/>
                  </a:lnTo>
                  <a:lnTo>
                    <a:pt x="0" y="175"/>
                  </a:lnTo>
                  <a:lnTo>
                    <a:pt x="6" y="196"/>
                  </a:lnTo>
                  <a:lnTo>
                    <a:pt x="4" y="210"/>
                  </a:lnTo>
                  <a:lnTo>
                    <a:pt x="21" y="210"/>
                  </a:lnTo>
                  <a:lnTo>
                    <a:pt x="54" y="223"/>
                  </a:lnTo>
                  <a:lnTo>
                    <a:pt x="85" y="237"/>
                  </a:lnTo>
                  <a:lnTo>
                    <a:pt x="85" y="283"/>
                  </a:lnTo>
                  <a:lnTo>
                    <a:pt x="80" y="316"/>
                  </a:lnTo>
                  <a:lnTo>
                    <a:pt x="83" y="349"/>
                  </a:lnTo>
                  <a:lnTo>
                    <a:pt x="72" y="382"/>
                  </a:lnTo>
                  <a:lnTo>
                    <a:pt x="64" y="413"/>
                  </a:lnTo>
                  <a:lnTo>
                    <a:pt x="43" y="435"/>
                  </a:lnTo>
                  <a:lnTo>
                    <a:pt x="23" y="454"/>
                  </a:lnTo>
                  <a:lnTo>
                    <a:pt x="29" y="481"/>
                  </a:lnTo>
                  <a:lnTo>
                    <a:pt x="35" y="508"/>
                  </a:lnTo>
                  <a:lnTo>
                    <a:pt x="37" y="549"/>
                  </a:lnTo>
                  <a:lnTo>
                    <a:pt x="37" y="588"/>
                  </a:lnTo>
                  <a:lnTo>
                    <a:pt x="41" y="623"/>
                  </a:lnTo>
                  <a:lnTo>
                    <a:pt x="64" y="623"/>
                  </a:lnTo>
                  <a:lnTo>
                    <a:pt x="66" y="598"/>
                  </a:lnTo>
                  <a:lnTo>
                    <a:pt x="58" y="590"/>
                  </a:lnTo>
                  <a:lnTo>
                    <a:pt x="97" y="557"/>
                  </a:lnTo>
                  <a:lnTo>
                    <a:pt x="124" y="541"/>
                  </a:lnTo>
                  <a:lnTo>
                    <a:pt x="153" y="524"/>
                  </a:lnTo>
                  <a:lnTo>
                    <a:pt x="153" y="508"/>
                  </a:lnTo>
                  <a:lnTo>
                    <a:pt x="157" y="475"/>
                  </a:lnTo>
                  <a:lnTo>
                    <a:pt x="161" y="442"/>
                  </a:lnTo>
                  <a:lnTo>
                    <a:pt x="155" y="454"/>
                  </a:lnTo>
                  <a:lnTo>
                    <a:pt x="149" y="421"/>
                  </a:lnTo>
                  <a:lnTo>
                    <a:pt x="144" y="388"/>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337" name="Google Shape;2337;g7826bb8c5e_0_4294"/>
            <p:cNvSpPr/>
            <p:nvPr/>
          </p:nvSpPr>
          <p:spPr>
            <a:xfrm>
              <a:off x="4479106" y="4639912"/>
              <a:ext cx="279684" cy="290810"/>
            </a:xfrm>
            <a:custGeom>
              <a:avLst/>
              <a:gdLst/>
              <a:ahLst/>
              <a:cxnLst/>
              <a:rect l="l" t="t" r="r" b="b"/>
              <a:pathLst>
                <a:path w="537" h="479" extrusionOk="0">
                  <a:moveTo>
                    <a:pt x="122" y="99"/>
                  </a:moveTo>
                  <a:lnTo>
                    <a:pt x="118" y="134"/>
                  </a:lnTo>
                  <a:lnTo>
                    <a:pt x="114" y="171"/>
                  </a:lnTo>
                  <a:lnTo>
                    <a:pt x="113" y="206"/>
                  </a:lnTo>
                  <a:lnTo>
                    <a:pt x="109" y="241"/>
                  </a:lnTo>
                  <a:lnTo>
                    <a:pt x="80" y="256"/>
                  </a:lnTo>
                  <a:lnTo>
                    <a:pt x="31" y="249"/>
                  </a:lnTo>
                  <a:lnTo>
                    <a:pt x="19" y="223"/>
                  </a:lnTo>
                  <a:lnTo>
                    <a:pt x="0" y="245"/>
                  </a:lnTo>
                  <a:lnTo>
                    <a:pt x="16" y="280"/>
                  </a:lnTo>
                  <a:lnTo>
                    <a:pt x="27" y="315"/>
                  </a:lnTo>
                  <a:lnTo>
                    <a:pt x="41" y="351"/>
                  </a:lnTo>
                  <a:lnTo>
                    <a:pt x="54" y="386"/>
                  </a:lnTo>
                  <a:lnTo>
                    <a:pt x="41" y="404"/>
                  </a:lnTo>
                  <a:lnTo>
                    <a:pt x="45" y="421"/>
                  </a:lnTo>
                  <a:lnTo>
                    <a:pt x="54" y="460"/>
                  </a:lnTo>
                  <a:lnTo>
                    <a:pt x="66" y="458"/>
                  </a:lnTo>
                  <a:lnTo>
                    <a:pt x="81" y="470"/>
                  </a:lnTo>
                  <a:lnTo>
                    <a:pt x="103" y="479"/>
                  </a:lnTo>
                  <a:lnTo>
                    <a:pt x="136" y="468"/>
                  </a:lnTo>
                  <a:lnTo>
                    <a:pt x="171" y="456"/>
                  </a:lnTo>
                  <a:lnTo>
                    <a:pt x="204" y="456"/>
                  </a:lnTo>
                  <a:lnTo>
                    <a:pt x="239" y="454"/>
                  </a:lnTo>
                  <a:lnTo>
                    <a:pt x="281" y="448"/>
                  </a:lnTo>
                  <a:lnTo>
                    <a:pt x="304" y="442"/>
                  </a:lnTo>
                  <a:lnTo>
                    <a:pt x="339" y="421"/>
                  </a:lnTo>
                  <a:lnTo>
                    <a:pt x="374" y="402"/>
                  </a:lnTo>
                  <a:lnTo>
                    <a:pt x="394" y="379"/>
                  </a:lnTo>
                  <a:lnTo>
                    <a:pt x="415" y="357"/>
                  </a:lnTo>
                  <a:lnTo>
                    <a:pt x="436" y="334"/>
                  </a:lnTo>
                  <a:lnTo>
                    <a:pt x="458" y="311"/>
                  </a:lnTo>
                  <a:lnTo>
                    <a:pt x="483" y="282"/>
                  </a:lnTo>
                  <a:lnTo>
                    <a:pt x="506" y="252"/>
                  </a:lnTo>
                  <a:lnTo>
                    <a:pt x="522" y="216"/>
                  </a:lnTo>
                  <a:lnTo>
                    <a:pt x="537" y="179"/>
                  </a:lnTo>
                  <a:lnTo>
                    <a:pt x="514" y="179"/>
                  </a:lnTo>
                  <a:lnTo>
                    <a:pt x="506" y="196"/>
                  </a:lnTo>
                  <a:lnTo>
                    <a:pt x="475" y="183"/>
                  </a:lnTo>
                  <a:lnTo>
                    <a:pt x="477" y="156"/>
                  </a:lnTo>
                  <a:lnTo>
                    <a:pt x="492" y="136"/>
                  </a:lnTo>
                  <a:lnTo>
                    <a:pt x="510" y="144"/>
                  </a:lnTo>
                  <a:lnTo>
                    <a:pt x="510" y="105"/>
                  </a:lnTo>
                  <a:lnTo>
                    <a:pt x="508" y="64"/>
                  </a:lnTo>
                  <a:lnTo>
                    <a:pt x="502" y="37"/>
                  </a:lnTo>
                  <a:lnTo>
                    <a:pt x="496" y="10"/>
                  </a:lnTo>
                  <a:lnTo>
                    <a:pt x="463" y="6"/>
                  </a:lnTo>
                  <a:lnTo>
                    <a:pt x="432" y="0"/>
                  </a:lnTo>
                  <a:lnTo>
                    <a:pt x="428" y="0"/>
                  </a:lnTo>
                  <a:lnTo>
                    <a:pt x="384" y="30"/>
                  </a:lnTo>
                  <a:lnTo>
                    <a:pt x="351" y="59"/>
                  </a:lnTo>
                  <a:lnTo>
                    <a:pt x="333" y="93"/>
                  </a:lnTo>
                  <a:lnTo>
                    <a:pt x="314" y="105"/>
                  </a:lnTo>
                  <a:lnTo>
                    <a:pt x="295" y="136"/>
                  </a:lnTo>
                  <a:lnTo>
                    <a:pt x="246" y="130"/>
                  </a:lnTo>
                  <a:lnTo>
                    <a:pt x="219" y="121"/>
                  </a:lnTo>
                  <a:lnTo>
                    <a:pt x="202" y="146"/>
                  </a:lnTo>
                  <a:lnTo>
                    <a:pt x="184" y="171"/>
                  </a:lnTo>
                  <a:lnTo>
                    <a:pt x="149" y="177"/>
                  </a:lnTo>
                  <a:lnTo>
                    <a:pt x="138" y="173"/>
                  </a:lnTo>
                  <a:lnTo>
                    <a:pt x="144" y="136"/>
                  </a:lnTo>
                  <a:lnTo>
                    <a:pt x="122" y="99"/>
                  </a:lnTo>
                  <a:lnTo>
                    <a:pt x="374" y="256"/>
                  </a:lnTo>
                  <a:lnTo>
                    <a:pt x="341" y="289"/>
                  </a:lnTo>
                  <a:lnTo>
                    <a:pt x="365" y="322"/>
                  </a:lnTo>
                  <a:lnTo>
                    <a:pt x="378" y="311"/>
                  </a:lnTo>
                  <a:lnTo>
                    <a:pt x="409" y="287"/>
                  </a:lnTo>
                  <a:lnTo>
                    <a:pt x="417" y="264"/>
                  </a:lnTo>
                  <a:lnTo>
                    <a:pt x="388" y="247"/>
                  </a:lnTo>
                  <a:lnTo>
                    <a:pt x="374" y="256"/>
                  </a:lnTo>
                  <a:lnTo>
                    <a:pt x="122" y="99"/>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38" name="Google Shape;2338;g7826bb8c5e_0_4294"/>
            <p:cNvSpPr/>
            <p:nvPr/>
          </p:nvSpPr>
          <p:spPr>
            <a:xfrm>
              <a:off x="4479106" y="4639912"/>
              <a:ext cx="279684" cy="290810"/>
            </a:xfrm>
            <a:custGeom>
              <a:avLst/>
              <a:gdLst/>
              <a:ahLst/>
              <a:cxnLst/>
              <a:rect l="l" t="t" r="r" b="b"/>
              <a:pathLst>
                <a:path w="537" h="479" extrusionOk="0">
                  <a:moveTo>
                    <a:pt x="122" y="99"/>
                  </a:moveTo>
                  <a:lnTo>
                    <a:pt x="118" y="134"/>
                  </a:lnTo>
                  <a:lnTo>
                    <a:pt x="114" y="171"/>
                  </a:lnTo>
                  <a:lnTo>
                    <a:pt x="113" y="206"/>
                  </a:lnTo>
                  <a:lnTo>
                    <a:pt x="109" y="241"/>
                  </a:lnTo>
                  <a:lnTo>
                    <a:pt x="80" y="256"/>
                  </a:lnTo>
                  <a:lnTo>
                    <a:pt x="31" y="249"/>
                  </a:lnTo>
                  <a:lnTo>
                    <a:pt x="19" y="223"/>
                  </a:lnTo>
                  <a:lnTo>
                    <a:pt x="0" y="245"/>
                  </a:lnTo>
                  <a:lnTo>
                    <a:pt x="16" y="280"/>
                  </a:lnTo>
                  <a:lnTo>
                    <a:pt x="27" y="315"/>
                  </a:lnTo>
                  <a:lnTo>
                    <a:pt x="41" y="351"/>
                  </a:lnTo>
                  <a:lnTo>
                    <a:pt x="54" y="386"/>
                  </a:lnTo>
                  <a:lnTo>
                    <a:pt x="41" y="404"/>
                  </a:lnTo>
                  <a:lnTo>
                    <a:pt x="45" y="421"/>
                  </a:lnTo>
                  <a:lnTo>
                    <a:pt x="54" y="460"/>
                  </a:lnTo>
                  <a:lnTo>
                    <a:pt x="66" y="458"/>
                  </a:lnTo>
                  <a:lnTo>
                    <a:pt x="81" y="470"/>
                  </a:lnTo>
                  <a:lnTo>
                    <a:pt x="103" y="479"/>
                  </a:lnTo>
                  <a:lnTo>
                    <a:pt x="136" y="468"/>
                  </a:lnTo>
                  <a:lnTo>
                    <a:pt x="171" y="456"/>
                  </a:lnTo>
                  <a:lnTo>
                    <a:pt x="204" y="456"/>
                  </a:lnTo>
                  <a:lnTo>
                    <a:pt x="239" y="454"/>
                  </a:lnTo>
                  <a:lnTo>
                    <a:pt x="281" y="448"/>
                  </a:lnTo>
                  <a:lnTo>
                    <a:pt x="304" y="442"/>
                  </a:lnTo>
                  <a:lnTo>
                    <a:pt x="339" y="421"/>
                  </a:lnTo>
                  <a:lnTo>
                    <a:pt x="374" y="402"/>
                  </a:lnTo>
                  <a:lnTo>
                    <a:pt x="394" y="379"/>
                  </a:lnTo>
                  <a:lnTo>
                    <a:pt x="415" y="357"/>
                  </a:lnTo>
                  <a:lnTo>
                    <a:pt x="436" y="334"/>
                  </a:lnTo>
                  <a:lnTo>
                    <a:pt x="458" y="311"/>
                  </a:lnTo>
                  <a:lnTo>
                    <a:pt x="483" y="282"/>
                  </a:lnTo>
                  <a:lnTo>
                    <a:pt x="506" y="252"/>
                  </a:lnTo>
                  <a:lnTo>
                    <a:pt x="522" y="216"/>
                  </a:lnTo>
                  <a:lnTo>
                    <a:pt x="537" y="179"/>
                  </a:lnTo>
                  <a:lnTo>
                    <a:pt x="514" y="179"/>
                  </a:lnTo>
                  <a:lnTo>
                    <a:pt x="506" y="196"/>
                  </a:lnTo>
                  <a:lnTo>
                    <a:pt x="475" y="183"/>
                  </a:lnTo>
                  <a:lnTo>
                    <a:pt x="477" y="156"/>
                  </a:lnTo>
                  <a:lnTo>
                    <a:pt x="492" y="136"/>
                  </a:lnTo>
                  <a:lnTo>
                    <a:pt x="510" y="144"/>
                  </a:lnTo>
                  <a:lnTo>
                    <a:pt x="510" y="105"/>
                  </a:lnTo>
                  <a:lnTo>
                    <a:pt x="508" y="64"/>
                  </a:lnTo>
                  <a:lnTo>
                    <a:pt x="502" y="37"/>
                  </a:lnTo>
                  <a:lnTo>
                    <a:pt x="496" y="10"/>
                  </a:lnTo>
                  <a:lnTo>
                    <a:pt x="463" y="6"/>
                  </a:lnTo>
                  <a:lnTo>
                    <a:pt x="432" y="0"/>
                  </a:lnTo>
                  <a:lnTo>
                    <a:pt x="428" y="0"/>
                  </a:lnTo>
                  <a:lnTo>
                    <a:pt x="384" y="30"/>
                  </a:lnTo>
                  <a:lnTo>
                    <a:pt x="351" y="59"/>
                  </a:lnTo>
                  <a:lnTo>
                    <a:pt x="333" y="93"/>
                  </a:lnTo>
                  <a:lnTo>
                    <a:pt x="314" y="105"/>
                  </a:lnTo>
                  <a:lnTo>
                    <a:pt x="295" y="136"/>
                  </a:lnTo>
                  <a:lnTo>
                    <a:pt x="246" y="130"/>
                  </a:lnTo>
                  <a:lnTo>
                    <a:pt x="219" y="121"/>
                  </a:lnTo>
                  <a:lnTo>
                    <a:pt x="202" y="146"/>
                  </a:lnTo>
                  <a:lnTo>
                    <a:pt x="184" y="171"/>
                  </a:lnTo>
                  <a:lnTo>
                    <a:pt x="149" y="177"/>
                  </a:lnTo>
                  <a:lnTo>
                    <a:pt x="138" y="173"/>
                  </a:lnTo>
                  <a:lnTo>
                    <a:pt x="144" y="136"/>
                  </a:lnTo>
                  <a:lnTo>
                    <a:pt x="122" y="99"/>
                  </a:lnTo>
                  <a:close/>
                </a:path>
              </a:pathLst>
            </a:custGeom>
            <a:no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39" name="Google Shape;2339;g7826bb8c5e_0_4294"/>
            <p:cNvSpPr/>
            <p:nvPr/>
          </p:nvSpPr>
          <p:spPr>
            <a:xfrm>
              <a:off x="4655815" y="4788730"/>
              <a:ext cx="39410" cy="46421"/>
            </a:xfrm>
            <a:custGeom>
              <a:avLst/>
              <a:gdLst/>
              <a:ahLst/>
              <a:cxnLst/>
              <a:rect l="l" t="t" r="r" b="b"/>
              <a:pathLst>
                <a:path w="76" h="75" extrusionOk="0">
                  <a:moveTo>
                    <a:pt x="33" y="9"/>
                  </a:moveTo>
                  <a:lnTo>
                    <a:pt x="0" y="42"/>
                  </a:lnTo>
                  <a:lnTo>
                    <a:pt x="24" y="75"/>
                  </a:lnTo>
                  <a:lnTo>
                    <a:pt x="37" y="64"/>
                  </a:lnTo>
                  <a:lnTo>
                    <a:pt x="68" y="40"/>
                  </a:lnTo>
                  <a:lnTo>
                    <a:pt x="76" y="17"/>
                  </a:lnTo>
                  <a:lnTo>
                    <a:pt x="47" y="0"/>
                  </a:lnTo>
                  <a:lnTo>
                    <a:pt x="33" y="9"/>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40" name="Google Shape;2340;g7826bb8c5e_0_4294"/>
            <p:cNvSpPr/>
            <p:nvPr/>
          </p:nvSpPr>
          <p:spPr>
            <a:xfrm>
              <a:off x="4447324" y="4652199"/>
              <a:ext cx="3814" cy="10923"/>
            </a:xfrm>
            <a:custGeom>
              <a:avLst/>
              <a:gdLst/>
              <a:ahLst/>
              <a:cxnLst/>
              <a:rect l="l" t="t" r="r" b="b"/>
              <a:pathLst>
                <a:path w="6" h="19" extrusionOk="0">
                  <a:moveTo>
                    <a:pt x="6" y="19"/>
                  </a:moveTo>
                  <a:lnTo>
                    <a:pt x="0" y="17"/>
                  </a:lnTo>
                  <a:lnTo>
                    <a:pt x="2" y="0"/>
                  </a:lnTo>
                  <a:lnTo>
                    <a:pt x="6" y="19"/>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41" name="Google Shape;2341;g7826bb8c5e_0_4294"/>
            <p:cNvSpPr/>
            <p:nvPr/>
          </p:nvSpPr>
          <p:spPr>
            <a:xfrm>
              <a:off x="4727007" y="4723196"/>
              <a:ext cx="20340" cy="35498"/>
            </a:xfrm>
            <a:custGeom>
              <a:avLst/>
              <a:gdLst/>
              <a:ahLst/>
              <a:cxnLst/>
              <a:rect l="l" t="t" r="r" b="b"/>
              <a:pathLst>
                <a:path w="39" h="60" extrusionOk="0">
                  <a:moveTo>
                    <a:pt x="17" y="0"/>
                  </a:moveTo>
                  <a:lnTo>
                    <a:pt x="2" y="20"/>
                  </a:lnTo>
                  <a:lnTo>
                    <a:pt x="0" y="47"/>
                  </a:lnTo>
                  <a:lnTo>
                    <a:pt x="31" y="60"/>
                  </a:lnTo>
                  <a:lnTo>
                    <a:pt x="39" y="43"/>
                  </a:lnTo>
                  <a:lnTo>
                    <a:pt x="35" y="8"/>
                  </a:lnTo>
                  <a:lnTo>
                    <a:pt x="17"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42" name="Google Shape;2342;g7826bb8c5e_0_4294"/>
            <p:cNvSpPr/>
            <p:nvPr/>
          </p:nvSpPr>
          <p:spPr>
            <a:xfrm>
              <a:off x="4404099" y="4261723"/>
              <a:ext cx="213576" cy="279887"/>
            </a:xfrm>
            <a:custGeom>
              <a:avLst/>
              <a:gdLst/>
              <a:ahLst/>
              <a:cxnLst/>
              <a:rect l="l" t="t" r="r" b="b"/>
              <a:pathLst>
                <a:path w="413" h="459" extrusionOk="0">
                  <a:moveTo>
                    <a:pt x="411" y="269"/>
                  </a:moveTo>
                  <a:lnTo>
                    <a:pt x="378" y="271"/>
                  </a:lnTo>
                  <a:lnTo>
                    <a:pt x="343" y="271"/>
                  </a:lnTo>
                  <a:lnTo>
                    <a:pt x="343" y="302"/>
                  </a:lnTo>
                  <a:lnTo>
                    <a:pt x="343" y="332"/>
                  </a:lnTo>
                  <a:lnTo>
                    <a:pt x="341" y="363"/>
                  </a:lnTo>
                  <a:lnTo>
                    <a:pt x="341" y="392"/>
                  </a:lnTo>
                  <a:lnTo>
                    <a:pt x="364" y="421"/>
                  </a:lnTo>
                  <a:lnTo>
                    <a:pt x="387" y="448"/>
                  </a:lnTo>
                  <a:lnTo>
                    <a:pt x="339" y="454"/>
                  </a:lnTo>
                  <a:lnTo>
                    <a:pt x="288" y="459"/>
                  </a:lnTo>
                  <a:lnTo>
                    <a:pt x="257" y="454"/>
                  </a:lnTo>
                  <a:lnTo>
                    <a:pt x="224" y="446"/>
                  </a:lnTo>
                  <a:lnTo>
                    <a:pt x="221" y="438"/>
                  </a:lnTo>
                  <a:lnTo>
                    <a:pt x="182" y="438"/>
                  </a:lnTo>
                  <a:lnTo>
                    <a:pt x="143" y="436"/>
                  </a:lnTo>
                  <a:lnTo>
                    <a:pt x="104" y="436"/>
                  </a:lnTo>
                  <a:lnTo>
                    <a:pt x="66" y="434"/>
                  </a:lnTo>
                  <a:lnTo>
                    <a:pt x="40" y="423"/>
                  </a:lnTo>
                  <a:lnTo>
                    <a:pt x="0" y="434"/>
                  </a:lnTo>
                  <a:lnTo>
                    <a:pt x="4" y="403"/>
                  </a:lnTo>
                  <a:lnTo>
                    <a:pt x="5" y="372"/>
                  </a:lnTo>
                  <a:lnTo>
                    <a:pt x="21" y="326"/>
                  </a:lnTo>
                  <a:lnTo>
                    <a:pt x="36" y="277"/>
                  </a:lnTo>
                  <a:lnTo>
                    <a:pt x="54" y="252"/>
                  </a:lnTo>
                  <a:lnTo>
                    <a:pt x="71" y="227"/>
                  </a:lnTo>
                  <a:lnTo>
                    <a:pt x="66" y="176"/>
                  </a:lnTo>
                  <a:lnTo>
                    <a:pt x="56" y="147"/>
                  </a:lnTo>
                  <a:lnTo>
                    <a:pt x="46" y="118"/>
                  </a:lnTo>
                  <a:lnTo>
                    <a:pt x="58" y="99"/>
                  </a:lnTo>
                  <a:lnTo>
                    <a:pt x="40" y="54"/>
                  </a:lnTo>
                  <a:lnTo>
                    <a:pt x="25" y="8"/>
                  </a:lnTo>
                  <a:lnTo>
                    <a:pt x="52" y="0"/>
                  </a:lnTo>
                  <a:lnTo>
                    <a:pt x="81" y="2"/>
                  </a:lnTo>
                  <a:lnTo>
                    <a:pt x="110" y="2"/>
                  </a:lnTo>
                  <a:lnTo>
                    <a:pt x="137" y="4"/>
                  </a:lnTo>
                  <a:lnTo>
                    <a:pt x="166" y="4"/>
                  </a:lnTo>
                  <a:lnTo>
                    <a:pt x="180" y="41"/>
                  </a:lnTo>
                  <a:lnTo>
                    <a:pt x="193" y="76"/>
                  </a:lnTo>
                  <a:lnTo>
                    <a:pt x="217" y="85"/>
                  </a:lnTo>
                  <a:lnTo>
                    <a:pt x="257" y="78"/>
                  </a:lnTo>
                  <a:lnTo>
                    <a:pt x="265" y="43"/>
                  </a:lnTo>
                  <a:lnTo>
                    <a:pt x="300" y="47"/>
                  </a:lnTo>
                  <a:lnTo>
                    <a:pt x="298" y="54"/>
                  </a:lnTo>
                  <a:lnTo>
                    <a:pt x="343" y="60"/>
                  </a:lnTo>
                  <a:lnTo>
                    <a:pt x="343" y="105"/>
                  </a:lnTo>
                  <a:lnTo>
                    <a:pt x="345" y="147"/>
                  </a:lnTo>
                  <a:lnTo>
                    <a:pt x="356" y="188"/>
                  </a:lnTo>
                  <a:lnTo>
                    <a:pt x="356" y="204"/>
                  </a:lnTo>
                  <a:lnTo>
                    <a:pt x="383" y="196"/>
                  </a:lnTo>
                  <a:lnTo>
                    <a:pt x="413" y="190"/>
                  </a:lnTo>
                  <a:lnTo>
                    <a:pt x="411" y="231"/>
                  </a:lnTo>
                  <a:lnTo>
                    <a:pt x="411" y="269"/>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43" name="Google Shape;2343;g7826bb8c5e_0_4294"/>
            <p:cNvSpPr/>
            <p:nvPr/>
          </p:nvSpPr>
          <p:spPr>
            <a:xfrm>
              <a:off x="4410457" y="4231685"/>
              <a:ext cx="19069" cy="28670"/>
            </a:xfrm>
            <a:custGeom>
              <a:avLst/>
              <a:gdLst/>
              <a:ahLst/>
              <a:cxnLst/>
              <a:rect l="l" t="t" r="r" b="b"/>
              <a:pathLst>
                <a:path w="37" h="50" extrusionOk="0">
                  <a:moveTo>
                    <a:pt x="6" y="50"/>
                  </a:moveTo>
                  <a:lnTo>
                    <a:pt x="0" y="19"/>
                  </a:lnTo>
                  <a:lnTo>
                    <a:pt x="23" y="0"/>
                  </a:lnTo>
                  <a:lnTo>
                    <a:pt x="37" y="5"/>
                  </a:lnTo>
                  <a:lnTo>
                    <a:pt x="20" y="17"/>
                  </a:lnTo>
                  <a:lnTo>
                    <a:pt x="18" y="46"/>
                  </a:lnTo>
                  <a:lnTo>
                    <a:pt x="6" y="5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44" name="Google Shape;2344;g7826bb8c5e_0_4294"/>
            <p:cNvSpPr/>
            <p:nvPr/>
          </p:nvSpPr>
          <p:spPr>
            <a:xfrm>
              <a:off x="2906523" y="4006410"/>
              <a:ext cx="685225" cy="899734"/>
            </a:xfrm>
            <a:custGeom>
              <a:avLst/>
              <a:gdLst/>
              <a:ahLst/>
              <a:cxnLst/>
              <a:rect l="l" t="t" r="r" b="b"/>
              <a:pathLst>
                <a:path w="1310" h="1484" extrusionOk="0">
                  <a:moveTo>
                    <a:pt x="994" y="291"/>
                  </a:moveTo>
                  <a:lnTo>
                    <a:pt x="988" y="297"/>
                  </a:lnTo>
                  <a:lnTo>
                    <a:pt x="975" y="320"/>
                  </a:lnTo>
                  <a:lnTo>
                    <a:pt x="984" y="291"/>
                  </a:lnTo>
                  <a:lnTo>
                    <a:pt x="981" y="285"/>
                  </a:lnTo>
                  <a:lnTo>
                    <a:pt x="975" y="287"/>
                  </a:lnTo>
                  <a:lnTo>
                    <a:pt x="979" y="270"/>
                  </a:lnTo>
                  <a:lnTo>
                    <a:pt x="967" y="258"/>
                  </a:lnTo>
                  <a:lnTo>
                    <a:pt x="953" y="260"/>
                  </a:lnTo>
                  <a:lnTo>
                    <a:pt x="949" y="254"/>
                  </a:lnTo>
                  <a:lnTo>
                    <a:pt x="938" y="248"/>
                  </a:lnTo>
                  <a:lnTo>
                    <a:pt x="924" y="241"/>
                  </a:lnTo>
                  <a:lnTo>
                    <a:pt x="911" y="235"/>
                  </a:lnTo>
                  <a:lnTo>
                    <a:pt x="899" y="233"/>
                  </a:lnTo>
                  <a:lnTo>
                    <a:pt x="882" y="223"/>
                  </a:lnTo>
                  <a:lnTo>
                    <a:pt x="882" y="227"/>
                  </a:lnTo>
                  <a:lnTo>
                    <a:pt x="858" y="233"/>
                  </a:lnTo>
                  <a:lnTo>
                    <a:pt x="847" y="256"/>
                  </a:lnTo>
                  <a:lnTo>
                    <a:pt x="847" y="260"/>
                  </a:lnTo>
                  <a:lnTo>
                    <a:pt x="833" y="266"/>
                  </a:lnTo>
                  <a:lnTo>
                    <a:pt x="810" y="299"/>
                  </a:lnTo>
                  <a:lnTo>
                    <a:pt x="812" y="272"/>
                  </a:lnTo>
                  <a:lnTo>
                    <a:pt x="802" y="279"/>
                  </a:lnTo>
                  <a:lnTo>
                    <a:pt x="791" y="274"/>
                  </a:lnTo>
                  <a:lnTo>
                    <a:pt x="779" y="274"/>
                  </a:lnTo>
                  <a:lnTo>
                    <a:pt x="769" y="237"/>
                  </a:lnTo>
                  <a:lnTo>
                    <a:pt x="746" y="248"/>
                  </a:lnTo>
                  <a:lnTo>
                    <a:pt x="723" y="262"/>
                  </a:lnTo>
                  <a:lnTo>
                    <a:pt x="711" y="258"/>
                  </a:lnTo>
                  <a:lnTo>
                    <a:pt x="734" y="243"/>
                  </a:lnTo>
                  <a:lnTo>
                    <a:pt x="756" y="202"/>
                  </a:lnTo>
                  <a:lnTo>
                    <a:pt x="777" y="177"/>
                  </a:lnTo>
                  <a:lnTo>
                    <a:pt x="800" y="152"/>
                  </a:lnTo>
                  <a:lnTo>
                    <a:pt x="791" y="132"/>
                  </a:lnTo>
                  <a:lnTo>
                    <a:pt x="775" y="119"/>
                  </a:lnTo>
                  <a:lnTo>
                    <a:pt x="767" y="86"/>
                  </a:lnTo>
                  <a:lnTo>
                    <a:pt x="760" y="53"/>
                  </a:lnTo>
                  <a:lnTo>
                    <a:pt x="760" y="57"/>
                  </a:lnTo>
                  <a:lnTo>
                    <a:pt x="746" y="37"/>
                  </a:lnTo>
                  <a:lnTo>
                    <a:pt x="748" y="45"/>
                  </a:lnTo>
                  <a:lnTo>
                    <a:pt x="744" y="45"/>
                  </a:lnTo>
                  <a:lnTo>
                    <a:pt x="742" y="47"/>
                  </a:lnTo>
                  <a:lnTo>
                    <a:pt x="719" y="82"/>
                  </a:lnTo>
                  <a:lnTo>
                    <a:pt x="697" y="117"/>
                  </a:lnTo>
                  <a:lnTo>
                    <a:pt x="665" y="115"/>
                  </a:lnTo>
                  <a:lnTo>
                    <a:pt x="643" y="111"/>
                  </a:lnTo>
                  <a:lnTo>
                    <a:pt x="622" y="105"/>
                  </a:lnTo>
                  <a:lnTo>
                    <a:pt x="593" y="111"/>
                  </a:lnTo>
                  <a:lnTo>
                    <a:pt x="595" y="130"/>
                  </a:lnTo>
                  <a:lnTo>
                    <a:pt x="579" y="126"/>
                  </a:lnTo>
                  <a:lnTo>
                    <a:pt x="546" y="132"/>
                  </a:lnTo>
                  <a:lnTo>
                    <a:pt x="511" y="150"/>
                  </a:lnTo>
                  <a:lnTo>
                    <a:pt x="492" y="150"/>
                  </a:lnTo>
                  <a:lnTo>
                    <a:pt x="469" y="121"/>
                  </a:lnTo>
                  <a:lnTo>
                    <a:pt x="465" y="76"/>
                  </a:lnTo>
                  <a:lnTo>
                    <a:pt x="475" y="43"/>
                  </a:lnTo>
                  <a:lnTo>
                    <a:pt x="461" y="22"/>
                  </a:lnTo>
                  <a:lnTo>
                    <a:pt x="457" y="0"/>
                  </a:lnTo>
                  <a:lnTo>
                    <a:pt x="438" y="2"/>
                  </a:lnTo>
                  <a:lnTo>
                    <a:pt x="442" y="2"/>
                  </a:lnTo>
                  <a:lnTo>
                    <a:pt x="432" y="24"/>
                  </a:lnTo>
                  <a:lnTo>
                    <a:pt x="405" y="35"/>
                  </a:lnTo>
                  <a:lnTo>
                    <a:pt x="376" y="47"/>
                  </a:lnTo>
                  <a:lnTo>
                    <a:pt x="370" y="60"/>
                  </a:lnTo>
                  <a:lnTo>
                    <a:pt x="339" y="49"/>
                  </a:lnTo>
                  <a:lnTo>
                    <a:pt x="306" y="39"/>
                  </a:lnTo>
                  <a:lnTo>
                    <a:pt x="318" y="58"/>
                  </a:lnTo>
                  <a:lnTo>
                    <a:pt x="327" y="101"/>
                  </a:lnTo>
                  <a:lnTo>
                    <a:pt x="349" y="109"/>
                  </a:lnTo>
                  <a:lnTo>
                    <a:pt x="343" y="119"/>
                  </a:lnTo>
                  <a:lnTo>
                    <a:pt x="314" y="146"/>
                  </a:lnTo>
                  <a:lnTo>
                    <a:pt x="279" y="171"/>
                  </a:lnTo>
                  <a:lnTo>
                    <a:pt x="275" y="169"/>
                  </a:lnTo>
                  <a:lnTo>
                    <a:pt x="257" y="171"/>
                  </a:lnTo>
                  <a:lnTo>
                    <a:pt x="230" y="153"/>
                  </a:lnTo>
                  <a:lnTo>
                    <a:pt x="223" y="152"/>
                  </a:lnTo>
                  <a:lnTo>
                    <a:pt x="211" y="119"/>
                  </a:lnTo>
                  <a:lnTo>
                    <a:pt x="192" y="132"/>
                  </a:lnTo>
                  <a:lnTo>
                    <a:pt x="184" y="128"/>
                  </a:lnTo>
                  <a:lnTo>
                    <a:pt x="188" y="134"/>
                  </a:lnTo>
                  <a:lnTo>
                    <a:pt x="159" y="134"/>
                  </a:lnTo>
                  <a:lnTo>
                    <a:pt x="130" y="134"/>
                  </a:lnTo>
                  <a:lnTo>
                    <a:pt x="133" y="159"/>
                  </a:lnTo>
                  <a:lnTo>
                    <a:pt x="153" y="167"/>
                  </a:lnTo>
                  <a:lnTo>
                    <a:pt x="147" y="177"/>
                  </a:lnTo>
                  <a:lnTo>
                    <a:pt x="122" y="179"/>
                  </a:lnTo>
                  <a:lnTo>
                    <a:pt x="130" y="214"/>
                  </a:lnTo>
                  <a:lnTo>
                    <a:pt x="143" y="254"/>
                  </a:lnTo>
                  <a:lnTo>
                    <a:pt x="135" y="307"/>
                  </a:lnTo>
                  <a:lnTo>
                    <a:pt x="128" y="361"/>
                  </a:lnTo>
                  <a:lnTo>
                    <a:pt x="116" y="359"/>
                  </a:lnTo>
                  <a:lnTo>
                    <a:pt x="89" y="367"/>
                  </a:lnTo>
                  <a:lnTo>
                    <a:pt x="62" y="380"/>
                  </a:lnTo>
                  <a:lnTo>
                    <a:pt x="35" y="392"/>
                  </a:lnTo>
                  <a:lnTo>
                    <a:pt x="27" y="421"/>
                  </a:lnTo>
                  <a:lnTo>
                    <a:pt x="17" y="450"/>
                  </a:lnTo>
                  <a:lnTo>
                    <a:pt x="0" y="481"/>
                  </a:lnTo>
                  <a:lnTo>
                    <a:pt x="15" y="510"/>
                  </a:lnTo>
                  <a:lnTo>
                    <a:pt x="31" y="539"/>
                  </a:lnTo>
                  <a:lnTo>
                    <a:pt x="29" y="555"/>
                  </a:lnTo>
                  <a:lnTo>
                    <a:pt x="42" y="559"/>
                  </a:lnTo>
                  <a:lnTo>
                    <a:pt x="62" y="574"/>
                  </a:lnTo>
                  <a:lnTo>
                    <a:pt x="89" y="580"/>
                  </a:lnTo>
                  <a:lnTo>
                    <a:pt x="112" y="563"/>
                  </a:lnTo>
                  <a:lnTo>
                    <a:pt x="114" y="592"/>
                  </a:lnTo>
                  <a:lnTo>
                    <a:pt x="116" y="619"/>
                  </a:lnTo>
                  <a:lnTo>
                    <a:pt x="151" y="617"/>
                  </a:lnTo>
                  <a:lnTo>
                    <a:pt x="195" y="619"/>
                  </a:lnTo>
                  <a:lnTo>
                    <a:pt x="211" y="607"/>
                  </a:lnTo>
                  <a:lnTo>
                    <a:pt x="238" y="590"/>
                  </a:lnTo>
                  <a:lnTo>
                    <a:pt x="265" y="572"/>
                  </a:lnTo>
                  <a:lnTo>
                    <a:pt x="292" y="574"/>
                  </a:lnTo>
                  <a:lnTo>
                    <a:pt x="294" y="607"/>
                  </a:lnTo>
                  <a:lnTo>
                    <a:pt x="298" y="638"/>
                  </a:lnTo>
                  <a:lnTo>
                    <a:pt x="323" y="665"/>
                  </a:lnTo>
                  <a:lnTo>
                    <a:pt x="349" y="675"/>
                  </a:lnTo>
                  <a:lnTo>
                    <a:pt x="378" y="689"/>
                  </a:lnTo>
                  <a:lnTo>
                    <a:pt x="414" y="714"/>
                  </a:lnTo>
                  <a:lnTo>
                    <a:pt x="453" y="722"/>
                  </a:lnTo>
                  <a:lnTo>
                    <a:pt x="463" y="737"/>
                  </a:lnTo>
                  <a:lnTo>
                    <a:pt x="467" y="774"/>
                  </a:lnTo>
                  <a:lnTo>
                    <a:pt x="461" y="774"/>
                  </a:lnTo>
                  <a:lnTo>
                    <a:pt x="475" y="789"/>
                  </a:lnTo>
                  <a:lnTo>
                    <a:pt x="478" y="819"/>
                  </a:lnTo>
                  <a:lnTo>
                    <a:pt x="509" y="822"/>
                  </a:lnTo>
                  <a:lnTo>
                    <a:pt x="540" y="826"/>
                  </a:lnTo>
                  <a:lnTo>
                    <a:pt x="544" y="859"/>
                  </a:lnTo>
                  <a:lnTo>
                    <a:pt x="566" y="879"/>
                  </a:lnTo>
                  <a:lnTo>
                    <a:pt x="571" y="894"/>
                  </a:lnTo>
                  <a:lnTo>
                    <a:pt x="564" y="923"/>
                  </a:lnTo>
                  <a:lnTo>
                    <a:pt x="558" y="950"/>
                  </a:lnTo>
                  <a:lnTo>
                    <a:pt x="562" y="964"/>
                  </a:lnTo>
                  <a:lnTo>
                    <a:pt x="558" y="968"/>
                  </a:lnTo>
                  <a:lnTo>
                    <a:pt x="564" y="985"/>
                  </a:lnTo>
                  <a:lnTo>
                    <a:pt x="570" y="1038"/>
                  </a:lnTo>
                  <a:lnTo>
                    <a:pt x="616" y="1045"/>
                  </a:lnTo>
                  <a:lnTo>
                    <a:pt x="641" y="1047"/>
                  </a:lnTo>
                  <a:lnTo>
                    <a:pt x="651" y="1080"/>
                  </a:lnTo>
                  <a:lnTo>
                    <a:pt x="661" y="1111"/>
                  </a:lnTo>
                  <a:lnTo>
                    <a:pt x="678" y="1109"/>
                  </a:lnTo>
                  <a:lnTo>
                    <a:pt x="696" y="1113"/>
                  </a:lnTo>
                  <a:lnTo>
                    <a:pt x="694" y="1142"/>
                  </a:lnTo>
                  <a:lnTo>
                    <a:pt x="694" y="1173"/>
                  </a:lnTo>
                  <a:lnTo>
                    <a:pt x="715" y="1175"/>
                  </a:lnTo>
                  <a:lnTo>
                    <a:pt x="729" y="1224"/>
                  </a:lnTo>
                  <a:lnTo>
                    <a:pt x="709" y="1241"/>
                  </a:lnTo>
                  <a:lnTo>
                    <a:pt x="688" y="1261"/>
                  </a:lnTo>
                  <a:lnTo>
                    <a:pt x="670" y="1282"/>
                  </a:lnTo>
                  <a:lnTo>
                    <a:pt x="653" y="1305"/>
                  </a:lnTo>
                  <a:lnTo>
                    <a:pt x="635" y="1326"/>
                  </a:lnTo>
                  <a:lnTo>
                    <a:pt x="618" y="1348"/>
                  </a:lnTo>
                  <a:lnTo>
                    <a:pt x="618" y="1350"/>
                  </a:lnTo>
                  <a:lnTo>
                    <a:pt x="635" y="1346"/>
                  </a:lnTo>
                  <a:lnTo>
                    <a:pt x="676" y="1377"/>
                  </a:lnTo>
                  <a:lnTo>
                    <a:pt x="686" y="1379"/>
                  </a:lnTo>
                  <a:lnTo>
                    <a:pt x="705" y="1390"/>
                  </a:lnTo>
                  <a:lnTo>
                    <a:pt x="740" y="1416"/>
                  </a:lnTo>
                  <a:lnTo>
                    <a:pt x="775" y="1441"/>
                  </a:lnTo>
                  <a:lnTo>
                    <a:pt x="771" y="1458"/>
                  </a:lnTo>
                  <a:lnTo>
                    <a:pt x="779" y="1484"/>
                  </a:lnTo>
                  <a:lnTo>
                    <a:pt x="791" y="1460"/>
                  </a:lnTo>
                  <a:lnTo>
                    <a:pt x="802" y="1437"/>
                  </a:lnTo>
                  <a:lnTo>
                    <a:pt x="804" y="1414"/>
                  </a:lnTo>
                  <a:lnTo>
                    <a:pt x="814" y="1390"/>
                  </a:lnTo>
                  <a:lnTo>
                    <a:pt x="827" y="1373"/>
                  </a:lnTo>
                  <a:lnTo>
                    <a:pt x="823" y="1350"/>
                  </a:lnTo>
                  <a:lnTo>
                    <a:pt x="825" y="1348"/>
                  </a:lnTo>
                  <a:lnTo>
                    <a:pt x="841" y="1354"/>
                  </a:lnTo>
                  <a:lnTo>
                    <a:pt x="849" y="1356"/>
                  </a:lnTo>
                  <a:lnTo>
                    <a:pt x="833" y="1383"/>
                  </a:lnTo>
                  <a:lnTo>
                    <a:pt x="820" y="1410"/>
                  </a:lnTo>
                  <a:lnTo>
                    <a:pt x="810" y="1418"/>
                  </a:lnTo>
                  <a:lnTo>
                    <a:pt x="812" y="1422"/>
                  </a:lnTo>
                  <a:lnTo>
                    <a:pt x="833" y="1390"/>
                  </a:lnTo>
                  <a:lnTo>
                    <a:pt x="856" y="1359"/>
                  </a:lnTo>
                  <a:lnTo>
                    <a:pt x="870" y="1328"/>
                  </a:lnTo>
                  <a:lnTo>
                    <a:pt x="884" y="1297"/>
                  </a:lnTo>
                  <a:lnTo>
                    <a:pt x="893" y="1280"/>
                  </a:lnTo>
                  <a:lnTo>
                    <a:pt x="895" y="1280"/>
                  </a:lnTo>
                  <a:lnTo>
                    <a:pt x="895" y="1249"/>
                  </a:lnTo>
                  <a:lnTo>
                    <a:pt x="895" y="1218"/>
                  </a:lnTo>
                  <a:lnTo>
                    <a:pt x="887" y="1199"/>
                  </a:lnTo>
                  <a:lnTo>
                    <a:pt x="887" y="1185"/>
                  </a:lnTo>
                  <a:lnTo>
                    <a:pt x="893" y="1171"/>
                  </a:lnTo>
                  <a:lnTo>
                    <a:pt x="887" y="1169"/>
                  </a:lnTo>
                  <a:lnTo>
                    <a:pt x="901" y="1166"/>
                  </a:lnTo>
                  <a:lnTo>
                    <a:pt x="930" y="1138"/>
                  </a:lnTo>
                  <a:lnTo>
                    <a:pt x="959" y="1109"/>
                  </a:lnTo>
                  <a:lnTo>
                    <a:pt x="986" y="1102"/>
                  </a:lnTo>
                  <a:lnTo>
                    <a:pt x="1012" y="1084"/>
                  </a:lnTo>
                  <a:lnTo>
                    <a:pt x="1023" y="1074"/>
                  </a:lnTo>
                  <a:lnTo>
                    <a:pt x="1046" y="1076"/>
                  </a:lnTo>
                  <a:lnTo>
                    <a:pt x="1035" y="1078"/>
                  </a:lnTo>
                  <a:lnTo>
                    <a:pt x="1058" y="1071"/>
                  </a:lnTo>
                  <a:lnTo>
                    <a:pt x="1062" y="1069"/>
                  </a:lnTo>
                  <a:lnTo>
                    <a:pt x="1101" y="1069"/>
                  </a:lnTo>
                  <a:lnTo>
                    <a:pt x="1108" y="1047"/>
                  </a:lnTo>
                  <a:lnTo>
                    <a:pt x="1130" y="1036"/>
                  </a:lnTo>
                  <a:lnTo>
                    <a:pt x="1134" y="993"/>
                  </a:lnTo>
                  <a:lnTo>
                    <a:pt x="1149" y="964"/>
                  </a:lnTo>
                  <a:lnTo>
                    <a:pt x="1165" y="935"/>
                  </a:lnTo>
                  <a:lnTo>
                    <a:pt x="1170" y="882"/>
                  </a:lnTo>
                  <a:lnTo>
                    <a:pt x="1178" y="865"/>
                  </a:lnTo>
                  <a:lnTo>
                    <a:pt x="1180" y="828"/>
                  </a:lnTo>
                  <a:lnTo>
                    <a:pt x="1182" y="791"/>
                  </a:lnTo>
                  <a:lnTo>
                    <a:pt x="1180" y="762"/>
                  </a:lnTo>
                  <a:lnTo>
                    <a:pt x="1180" y="735"/>
                  </a:lnTo>
                  <a:lnTo>
                    <a:pt x="1174" y="724"/>
                  </a:lnTo>
                  <a:lnTo>
                    <a:pt x="1180" y="687"/>
                  </a:lnTo>
                  <a:lnTo>
                    <a:pt x="1190" y="685"/>
                  </a:lnTo>
                  <a:lnTo>
                    <a:pt x="1194" y="696"/>
                  </a:lnTo>
                  <a:lnTo>
                    <a:pt x="1211" y="665"/>
                  </a:lnTo>
                  <a:lnTo>
                    <a:pt x="1229" y="636"/>
                  </a:lnTo>
                  <a:lnTo>
                    <a:pt x="1229" y="632"/>
                  </a:lnTo>
                  <a:lnTo>
                    <a:pt x="1236" y="623"/>
                  </a:lnTo>
                  <a:lnTo>
                    <a:pt x="1256" y="596"/>
                  </a:lnTo>
                  <a:lnTo>
                    <a:pt x="1275" y="568"/>
                  </a:lnTo>
                  <a:lnTo>
                    <a:pt x="1304" y="526"/>
                  </a:lnTo>
                  <a:lnTo>
                    <a:pt x="1310" y="473"/>
                  </a:lnTo>
                  <a:lnTo>
                    <a:pt x="1296" y="435"/>
                  </a:lnTo>
                  <a:lnTo>
                    <a:pt x="1283" y="394"/>
                  </a:lnTo>
                  <a:lnTo>
                    <a:pt x="1254" y="390"/>
                  </a:lnTo>
                  <a:lnTo>
                    <a:pt x="1227" y="386"/>
                  </a:lnTo>
                  <a:lnTo>
                    <a:pt x="1192" y="353"/>
                  </a:lnTo>
                  <a:lnTo>
                    <a:pt x="1155" y="320"/>
                  </a:lnTo>
                  <a:lnTo>
                    <a:pt x="1108" y="309"/>
                  </a:lnTo>
                  <a:lnTo>
                    <a:pt x="1077" y="309"/>
                  </a:lnTo>
                  <a:lnTo>
                    <a:pt x="1046" y="303"/>
                  </a:lnTo>
                  <a:lnTo>
                    <a:pt x="1017" y="295"/>
                  </a:lnTo>
                  <a:lnTo>
                    <a:pt x="992" y="303"/>
                  </a:lnTo>
                  <a:lnTo>
                    <a:pt x="994" y="291"/>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45" name="Google Shape;2345;g7826bb8c5e_0_4294"/>
            <p:cNvSpPr/>
            <p:nvPr/>
          </p:nvSpPr>
          <p:spPr>
            <a:xfrm>
              <a:off x="3310792" y="4129288"/>
              <a:ext cx="40681" cy="39595"/>
            </a:xfrm>
            <a:custGeom>
              <a:avLst/>
              <a:gdLst/>
              <a:ahLst/>
              <a:cxnLst/>
              <a:rect l="l" t="t" r="r" b="b"/>
              <a:pathLst>
                <a:path w="80" h="66" extrusionOk="0">
                  <a:moveTo>
                    <a:pt x="41" y="60"/>
                  </a:moveTo>
                  <a:lnTo>
                    <a:pt x="35" y="64"/>
                  </a:lnTo>
                  <a:lnTo>
                    <a:pt x="18" y="56"/>
                  </a:lnTo>
                  <a:lnTo>
                    <a:pt x="12" y="66"/>
                  </a:lnTo>
                  <a:lnTo>
                    <a:pt x="0" y="37"/>
                  </a:lnTo>
                  <a:lnTo>
                    <a:pt x="4" y="37"/>
                  </a:lnTo>
                  <a:lnTo>
                    <a:pt x="2" y="21"/>
                  </a:lnTo>
                  <a:lnTo>
                    <a:pt x="14" y="0"/>
                  </a:lnTo>
                  <a:lnTo>
                    <a:pt x="47" y="6"/>
                  </a:lnTo>
                  <a:lnTo>
                    <a:pt x="80" y="10"/>
                  </a:lnTo>
                  <a:lnTo>
                    <a:pt x="64" y="43"/>
                  </a:lnTo>
                  <a:lnTo>
                    <a:pt x="62" y="46"/>
                  </a:lnTo>
                  <a:lnTo>
                    <a:pt x="58" y="54"/>
                  </a:lnTo>
                  <a:lnTo>
                    <a:pt x="52" y="54"/>
                  </a:lnTo>
                  <a:lnTo>
                    <a:pt x="41" y="6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46" name="Google Shape;2346;g7826bb8c5e_0_4294"/>
            <p:cNvSpPr/>
            <p:nvPr/>
          </p:nvSpPr>
          <p:spPr>
            <a:xfrm>
              <a:off x="4365961" y="4073310"/>
              <a:ext cx="34325" cy="31402"/>
            </a:xfrm>
            <a:custGeom>
              <a:avLst/>
              <a:gdLst/>
              <a:ahLst/>
              <a:cxnLst/>
              <a:rect l="l" t="t" r="r" b="b"/>
              <a:pathLst>
                <a:path w="64" h="50" extrusionOk="0">
                  <a:moveTo>
                    <a:pt x="12" y="50"/>
                  </a:moveTo>
                  <a:lnTo>
                    <a:pt x="0" y="46"/>
                  </a:lnTo>
                  <a:lnTo>
                    <a:pt x="4" y="33"/>
                  </a:lnTo>
                  <a:lnTo>
                    <a:pt x="12" y="0"/>
                  </a:lnTo>
                  <a:lnTo>
                    <a:pt x="37" y="4"/>
                  </a:lnTo>
                  <a:lnTo>
                    <a:pt x="62" y="6"/>
                  </a:lnTo>
                  <a:lnTo>
                    <a:pt x="64" y="50"/>
                  </a:lnTo>
                  <a:lnTo>
                    <a:pt x="37" y="50"/>
                  </a:lnTo>
                  <a:lnTo>
                    <a:pt x="12" y="5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47" name="Google Shape;2347;g7826bb8c5e_0_4294"/>
            <p:cNvSpPr/>
            <p:nvPr/>
          </p:nvSpPr>
          <p:spPr>
            <a:xfrm>
              <a:off x="4348163" y="4040544"/>
              <a:ext cx="7627" cy="9557"/>
            </a:xfrm>
            <a:custGeom>
              <a:avLst/>
              <a:gdLst/>
              <a:ahLst/>
              <a:cxnLst/>
              <a:rect l="l" t="t" r="r" b="b"/>
              <a:pathLst>
                <a:path w="15" h="19" extrusionOk="0">
                  <a:moveTo>
                    <a:pt x="15" y="1"/>
                  </a:moveTo>
                  <a:lnTo>
                    <a:pt x="12" y="0"/>
                  </a:lnTo>
                  <a:lnTo>
                    <a:pt x="0" y="19"/>
                  </a:lnTo>
                  <a:lnTo>
                    <a:pt x="15" y="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48" name="Google Shape;2348;g7826bb8c5e_0_4294"/>
            <p:cNvSpPr/>
            <p:nvPr/>
          </p:nvSpPr>
          <p:spPr>
            <a:xfrm>
              <a:off x="4354520" y="4077406"/>
              <a:ext cx="100432" cy="140626"/>
            </a:xfrm>
            <a:custGeom>
              <a:avLst/>
              <a:gdLst/>
              <a:ahLst/>
              <a:cxnLst/>
              <a:rect l="l" t="t" r="r" b="b"/>
              <a:pathLst>
                <a:path w="190" h="234" extrusionOk="0">
                  <a:moveTo>
                    <a:pt x="31" y="44"/>
                  </a:moveTo>
                  <a:lnTo>
                    <a:pt x="27" y="60"/>
                  </a:lnTo>
                  <a:lnTo>
                    <a:pt x="17" y="60"/>
                  </a:lnTo>
                  <a:lnTo>
                    <a:pt x="38" y="77"/>
                  </a:lnTo>
                  <a:lnTo>
                    <a:pt x="19" y="75"/>
                  </a:lnTo>
                  <a:lnTo>
                    <a:pt x="7" y="110"/>
                  </a:lnTo>
                  <a:lnTo>
                    <a:pt x="0" y="110"/>
                  </a:lnTo>
                  <a:lnTo>
                    <a:pt x="11" y="135"/>
                  </a:lnTo>
                  <a:lnTo>
                    <a:pt x="19" y="143"/>
                  </a:lnTo>
                  <a:lnTo>
                    <a:pt x="7" y="135"/>
                  </a:lnTo>
                  <a:lnTo>
                    <a:pt x="23" y="157"/>
                  </a:lnTo>
                  <a:lnTo>
                    <a:pt x="19" y="157"/>
                  </a:lnTo>
                  <a:lnTo>
                    <a:pt x="38" y="180"/>
                  </a:lnTo>
                  <a:lnTo>
                    <a:pt x="34" y="178"/>
                  </a:lnTo>
                  <a:lnTo>
                    <a:pt x="56" y="205"/>
                  </a:lnTo>
                  <a:lnTo>
                    <a:pt x="77" y="234"/>
                  </a:lnTo>
                  <a:lnTo>
                    <a:pt x="89" y="217"/>
                  </a:lnTo>
                  <a:lnTo>
                    <a:pt x="98" y="223"/>
                  </a:lnTo>
                  <a:lnTo>
                    <a:pt x="104" y="215"/>
                  </a:lnTo>
                  <a:lnTo>
                    <a:pt x="98" y="199"/>
                  </a:lnTo>
                  <a:lnTo>
                    <a:pt x="95" y="190"/>
                  </a:lnTo>
                  <a:lnTo>
                    <a:pt x="93" y="178"/>
                  </a:lnTo>
                  <a:lnTo>
                    <a:pt x="124" y="176"/>
                  </a:lnTo>
                  <a:lnTo>
                    <a:pt x="126" y="153"/>
                  </a:lnTo>
                  <a:lnTo>
                    <a:pt x="145" y="174"/>
                  </a:lnTo>
                  <a:lnTo>
                    <a:pt x="164" y="166"/>
                  </a:lnTo>
                  <a:lnTo>
                    <a:pt x="170" y="176"/>
                  </a:lnTo>
                  <a:lnTo>
                    <a:pt x="182" y="166"/>
                  </a:lnTo>
                  <a:lnTo>
                    <a:pt x="190" y="114"/>
                  </a:lnTo>
                  <a:lnTo>
                    <a:pt x="170" y="81"/>
                  </a:lnTo>
                  <a:lnTo>
                    <a:pt x="186" y="60"/>
                  </a:lnTo>
                  <a:lnTo>
                    <a:pt x="184" y="33"/>
                  </a:lnTo>
                  <a:lnTo>
                    <a:pt x="147" y="36"/>
                  </a:lnTo>
                  <a:lnTo>
                    <a:pt x="149" y="0"/>
                  </a:lnTo>
                  <a:lnTo>
                    <a:pt x="116" y="0"/>
                  </a:lnTo>
                  <a:lnTo>
                    <a:pt x="83" y="0"/>
                  </a:lnTo>
                  <a:lnTo>
                    <a:pt x="85" y="44"/>
                  </a:lnTo>
                  <a:lnTo>
                    <a:pt x="58" y="44"/>
                  </a:lnTo>
                  <a:lnTo>
                    <a:pt x="33" y="44"/>
                  </a:lnTo>
                  <a:lnTo>
                    <a:pt x="31" y="4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49" name="Google Shape;2349;g7826bb8c5e_0_4294"/>
            <p:cNvSpPr/>
            <p:nvPr/>
          </p:nvSpPr>
          <p:spPr>
            <a:xfrm>
              <a:off x="3125184" y="4574376"/>
              <a:ext cx="144927" cy="188411"/>
            </a:xfrm>
            <a:custGeom>
              <a:avLst/>
              <a:gdLst/>
              <a:ahLst/>
              <a:cxnLst/>
              <a:rect l="l" t="t" r="r" b="b"/>
              <a:pathLst>
                <a:path w="278" h="308" extrusionOk="0">
                  <a:moveTo>
                    <a:pt x="16" y="27"/>
                  </a:moveTo>
                  <a:lnTo>
                    <a:pt x="8" y="68"/>
                  </a:lnTo>
                  <a:lnTo>
                    <a:pt x="0" y="108"/>
                  </a:lnTo>
                  <a:lnTo>
                    <a:pt x="31" y="139"/>
                  </a:lnTo>
                  <a:lnTo>
                    <a:pt x="64" y="170"/>
                  </a:lnTo>
                  <a:lnTo>
                    <a:pt x="91" y="184"/>
                  </a:lnTo>
                  <a:lnTo>
                    <a:pt x="119" y="196"/>
                  </a:lnTo>
                  <a:lnTo>
                    <a:pt x="150" y="213"/>
                  </a:lnTo>
                  <a:lnTo>
                    <a:pt x="179" y="231"/>
                  </a:lnTo>
                  <a:lnTo>
                    <a:pt x="167" y="267"/>
                  </a:lnTo>
                  <a:lnTo>
                    <a:pt x="153" y="302"/>
                  </a:lnTo>
                  <a:lnTo>
                    <a:pt x="192" y="306"/>
                  </a:lnTo>
                  <a:lnTo>
                    <a:pt x="231" y="308"/>
                  </a:lnTo>
                  <a:lnTo>
                    <a:pt x="252" y="300"/>
                  </a:lnTo>
                  <a:lnTo>
                    <a:pt x="278" y="260"/>
                  </a:lnTo>
                  <a:lnTo>
                    <a:pt x="276" y="236"/>
                  </a:lnTo>
                  <a:lnTo>
                    <a:pt x="276" y="205"/>
                  </a:lnTo>
                  <a:lnTo>
                    <a:pt x="278" y="176"/>
                  </a:lnTo>
                  <a:lnTo>
                    <a:pt x="260" y="172"/>
                  </a:lnTo>
                  <a:lnTo>
                    <a:pt x="243" y="174"/>
                  </a:lnTo>
                  <a:lnTo>
                    <a:pt x="233" y="143"/>
                  </a:lnTo>
                  <a:lnTo>
                    <a:pt x="223" y="110"/>
                  </a:lnTo>
                  <a:lnTo>
                    <a:pt x="198" y="108"/>
                  </a:lnTo>
                  <a:lnTo>
                    <a:pt x="152" y="101"/>
                  </a:lnTo>
                  <a:lnTo>
                    <a:pt x="146" y="48"/>
                  </a:lnTo>
                  <a:lnTo>
                    <a:pt x="140" y="31"/>
                  </a:lnTo>
                  <a:lnTo>
                    <a:pt x="140" y="25"/>
                  </a:lnTo>
                  <a:lnTo>
                    <a:pt x="105" y="0"/>
                  </a:lnTo>
                  <a:lnTo>
                    <a:pt x="62" y="6"/>
                  </a:lnTo>
                  <a:lnTo>
                    <a:pt x="20" y="11"/>
                  </a:lnTo>
                  <a:lnTo>
                    <a:pt x="16" y="27"/>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50" name="Google Shape;2350;g7826bb8c5e_0_4294"/>
            <p:cNvSpPr/>
            <p:nvPr/>
          </p:nvSpPr>
          <p:spPr>
            <a:xfrm>
              <a:off x="4315109" y="4117001"/>
              <a:ext cx="2542" cy="9557"/>
            </a:xfrm>
            <a:custGeom>
              <a:avLst/>
              <a:gdLst/>
              <a:ahLst/>
              <a:cxnLst/>
              <a:rect l="l" t="t" r="r" b="b"/>
              <a:pathLst>
                <a:path w="10" h="14" extrusionOk="0">
                  <a:moveTo>
                    <a:pt x="10" y="4"/>
                  </a:moveTo>
                  <a:lnTo>
                    <a:pt x="4" y="14"/>
                  </a:lnTo>
                  <a:lnTo>
                    <a:pt x="0" y="8"/>
                  </a:lnTo>
                  <a:lnTo>
                    <a:pt x="6" y="0"/>
                  </a:lnTo>
                  <a:lnTo>
                    <a:pt x="10" y="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51" name="Google Shape;2351;g7826bb8c5e_0_4294"/>
            <p:cNvSpPr/>
            <p:nvPr/>
          </p:nvSpPr>
          <p:spPr>
            <a:xfrm>
              <a:off x="4329094" y="4088329"/>
              <a:ext cx="1271" cy="2730"/>
            </a:xfrm>
            <a:custGeom>
              <a:avLst/>
              <a:gdLst/>
              <a:ahLst/>
              <a:cxnLst/>
              <a:rect l="l" t="t" r="r" b="b"/>
              <a:pathLst>
                <a:path w="2" h="6" extrusionOk="0">
                  <a:moveTo>
                    <a:pt x="0" y="6"/>
                  </a:moveTo>
                  <a:lnTo>
                    <a:pt x="0" y="2"/>
                  </a:lnTo>
                  <a:lnTo>
                    <a:pt x="2" y="0"/>
                  </a:lnTo>
                  <a:lnTo>
                    <a:pt x="0" y="6"/>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52" name="Google Shape;2352;g7826bb8c5e_0_4294"/>
            <p:cNvSpPr/>
            <p:nvPr/>
          </p:nvSpPr>
          <p:spPr>
            <a:xfrm>
              <a:off x="4716836" y="4149767"/>
              <a:ext cx="190693" cy="247119"/>
            </a:xfrm>
            <a:custGeom>
              <a:avLst/>
              <a:gdLst/>
              <a:ahLst/>
              <a:cxnLst/>
              <a:rect l="l" t="t" r="r" b="b"/>
              <a:pathLst>
                <a:path w="364" h="405" extrusionOk="0">
                  <a:moveTo>
                    <a:pt x="277" y="89"/>
                  </a:moveTo>
                  <a:lnTo>
                    <a:pt x="273" y="75"/>
                  </a:lnTo>
                  <a:lnTo>
                    <a:pt x="244" y="56"/>
                  </a:lnTo>
                  <a:lnTo>
                    <a:pt x="213" y="37"/>
                  </a:lnTo>
                  <a:lnTo>
                    <a:pt x="182" y="17"/>
                  </a:lnTo>
                  <a:lnTo>
                    <a:pt x="151" y="0"/>
                  </a:lnTo>
                  <a:lnTo>
                    <a:pt x="122" y="0"/>
                  </a:lnTo>
                  <a:lnTo>
                    <a:pt x="93" y="0"/>
                  </a:lnTo>
                  <a:lnTo>
                    <a:pt x="64" y="2"/>
                  </a:lnTo>
                  <a:lnTo>
                    <a:pt x="35" y="2"/>
                  </a:lnTo>
                  <a:lnTo>
                    <a:pt x="48" y="48"/>
                  </a:lnTo>
                  <a:lnTo>
                    <a:pt x="38" y="52"/>
                  </a:lnTo>
                  <a:lnTo>
                    <a:pt x="38" y="72"/>
                  </a:lnTo>
                  <a:lnTo>
                    <a:pt x="46" y="83"/>
                  </a:lnTo>
                  <a:lnTo>
                    <a:pt x="27" y="106"/>
                  </a:lnTo>
                  <a:lnTo>
                    <a:pt x="7" y="130"/>
                  </a:lnTo>
                  <a:lnTo>
                    <a:pt x="0" y="130"/>
                  </a:lnTo>
                  <a:lnTo>
                    <a:pt x="0" y="159"/>
                  </a:lnTo>
                  <a:lnTo>
                    <a:pt x="2" y="186"/>
                  </a:lnTo>
                  <a:lnTo>
                    <a:pt x="13" y="217"/>
                  </a:lnTo>
                  <a:lnTo>
                    <a:pt x="27" y="246"/>
                  </a:lnTo>
                  <a:lnTo>
                    <a:pt x="42" y="273"/>
                  </a:lnTo>
                  <a:lnTo>
                    <a:pt x="44" y="279"/>
                  </a:lnTo>
                  <a:lnTo>
                    <a:pt x="79" y="298"/>
                  </a:lnTo>
                  <a:lnTo>
                    <a:pt x="114" y="320"/>
                  </a:lnTo>
                  <a:lnTo>
                    <a:pt x="147" y="324"/>
                  </a:lnTo>
                  <a:lnTo>
                    <a:pt x="161" y="331"/>
                  </a:lnTo>
                  <a:lnTo>
                    <a:pt x="170" y="372"/>
                  </a:lnTo>
                  <a:lnTo>
                    <a:pt x="180" y="401"/>
                  </a:lnTo>
                  <a:lnTo>
                    <a:pt x="193" y="401"/>
                  </a:lnTo>
                  <a:lnTo>
                    <a:pt x="213" y="399"/>
                  </a:lnTo>
                  <a:lnTo>
                    <a:pt x="252" y="405"/>
                  </a:lnTo>
                  <a:lnTo>
                    <a:pt x="275" y="395"/>
                  </a:lnTo>
                  <a:lnTo>
                    <a:pt x="294" y="393"/>
                  </a:lnTo>
                  <a:lnTo>
                    <a:pt x="329" y="378"/>
                  </a:lnTo>
                  <a:lnTo>
                    <a:pt x="364" y="360"/>
                  </a:lnTo>
                  <a:lnTo>
                    <a:pt x="341" y="337"/>
                  </a:lnTo>
                  <a:lnTo>
                    <a:pt x="335" y="300"/>
                  </a:lnTo>
                  <a:lnTo>
                    <a:pt x="331" y="271"/>
                  </a:lnTo>
                  <a:lnTo>
                    <a:pt x="327" y="258"/>
                  </a:lnTo>
                  <a:lnTo>
                    <a:pt x="335" y="223"/>
                  </a:lnTo>
                  <a:lnTo>
                    <a:pt x="312" y="190"/>
                  </a:lnTo>
                  <a:lnTo>
                    <a:pt x="327" y="139"/>
                  </a:lnTo>
                  <a:lnTo>
                    <a:pt x="302" y="114"/>
                  </a:lnTo>
                  <a:lnTo>
                    <a:pt x="277" y="89"/>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53" name="Google Shape;2353;g7826bb8c5e_0_4294"/>
            <p:cNvSpPr/>
            <p:nvPr/>
          </p:nvSpPr>
          <p:spPr>
            <a:xfrm>
              <a:off x="4885918" y="4260357"/>
              <a:ext cx="7627" cy="17749"/>
            </a:xfrm>
            <a:custGeom>
              <a:avLst/>
              <a:gdLst/>
              <a:ahLst/>
              <a:cxnLst/>
              <a:rect l="l" t="t" r="r" b="b"/>
              <a:pathLst>
                <a:path w="14" h="25" extrusionOk="0">
                  <a:moveTo>
                    <a:pt x="14" y="25"/>
                  </a:moveTo>
                  <a:lnTo>
                    <a:pt x="6" y="0"/>
                  </a:lnTo>
                  <a:lnTo>
                    <a:pt x="0" y="8"/>
                  </a:lnTo>
                  <a:lnTo>
                    <a:pt x="14" y="25"/>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54" name="Google Shape;2354;g7826bb8c5e_0_4294"/>
            <p:cNvSpPr/>
            <p:nvPr/>
          </p:nvSpPr>
          <p:spPr>
            <a:xfrm>
              <a:off x="4719379" y="4029621"/>
              <a:ext cx="94075" cy="129703"/>
            </a:xfrm>
            <a:custGeom>
              <a:avLst/>
              <a:gdLst/>
              <a:ahLst/>
              <a:cxnLst/>
              <a:rect l="l" t="t" r="r" b="b"/>
              <a:pathLst>
                <a:path w="183" h="213" extrusionOk="0">
                  <a:moveTo>
                    <a:pt x="161" y="31"/>
                  </a:moveTo>
                  <a:lnTo>
                    <a:pt x="148" y="0"/>
                  </a:lnTo>
                  <a:lnTo>
                    <a:pt x="132" y="18"/>
                  </a:lnTo>
                  <a:lnTo>
                    <a:pt x="93" y="18"/>
                  </a:lnTo>
                  <a:lnTo>
                    <a:pt x="78" y="23"/>
                  </a:lnTo>
                  <a:lnTo>
                    <a:pt x="70" y="19"/>
                  </a:lnTo>
                  <a:lnTo>
                    <a:pt x="45" y="21"/>
                  </a:lnTo>
                  <a:lnTo>
                    <a:pt x="43" y="29"/>
                  </a:lnTo>
                  <a:lnTo>
                    <a:pt x="39" y="62"/>
                  </a:lnTo>
                  <a:lnTo>
                    <a:pt x="57" y="78"/>
                  </a:lnTo>
                  <a:lnTo>
                    <a:pt x="35" y="103"/>
                  </a:lnTo>
                  <a:lnTo>
                    <a:pt x="14" y="128"/>
                  </a:lnTo>
                  <a:lnTo>
                    <a:pt x="8" y="171"/>
                  </a:lnTo>
                  <a:lnTo>
                    <a:pt x="0" y="213"/>
                  </a:lnTo>
                  <a:lnTo>
                    <a:pt x="10" y="213"/>
                  </a:lnTo>
                  <a:lnTo>
                    <a:pt x="30" y="202"/>
                  </a:lnTo>
                  <a:lnTo>
                    <a:pt x="59" y="202"/>
                  </a:lnTo>
                  <a:lnTo>
                    <a:pt x="88" y="200"/>
                  </a:lnTo>
                  <a:lnTo>
                    <a:pt x="117" y="200"/>
                  </a:lnTo>
                  <a:lnTo>
                    <a:pt x="146" y="200"/>
                  </a:lnTo>
                  <a:lnTo>
                    <a:pt x="146" y="157"/>
                  </a:lnTo>
                  <a:lnTo>
                    <a:pt x="169" y="118"/>
                  </a:lnTo>
                  <a:lnTo>
                    <a:pt x="183" y="89"/>
                  </a:lnTo>
                  <a:lnTo>
                    <a:pt x="171" y="60"/>
                  </a:lnTo>
                  <a:lnTo>
                    <a:pt x="161" y="31"/>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55" name="Google Shape;2355;g7826bb8c5e_0_4294"/>
            <p:cNvSpPr/>
            <p:nvPr/>
          </p:nvSpPr>
          <p:spPr>
            <a:xfrm>
              <a:off x="4412999" y="4005045"/>
              <a:ext cx="335620" cy="431436"/>
            </a:xfrm>
            <a:custGeom>
              <a:avLst/>
              <a:gdLst/>
              <a:ahLst/>
              <a:cxnLst/>
              <a:rect l="l" t="t" r="r" b="b"/>
              <a:pathLst>
                <a:path w="642" h="712" extrusionOk="0">
                  <a:moveTo>
                    <a:pt x="585" y="254"/>
                  </a:moveTo>
                  <a:lnTo>
                    <a:pt x="570" y="281"/>
                  </a:lnTo>
                  <a:lnTo>
                    <a:pt x="562" y="305"/>
                  </a:lnTo>
                  <a:lnTo>
                    <a:pt x="564" y="305"/>
                  </a:lnTo>
                  <a:lnTo>
                    <a:pt x="566" y="307"/>
                  </a:lnTo>
                  <a:lnTo>
                    <a:pt x="566" y="309"/>
                  </a:lnTo>
                  <a:lnTo>
                    <a:pt x="572" y="340"/>
                  </a:lnTo>
                  <a:lnTo>
                    <a:pt x="578" y="371"/>
                  </a:lnTo>
                  <a:lnTo>
                    <a:pt x="580" y="371"/>
                  </a:lnTo>
                  <a:lnTo>
                    <a:pt x="580" y="400"/>
                  </a:lnTo>
                  <a:lnTo>
                    <a:pt x="582" y="427"/>
                  </a:lnTo>
                  <a:lnTo>
                    <a:pt x="593" y="458"/>
                  </a:lnTo>
                  <a:lnTo>
                    <a:pt x="607" y="487"/>
                  </a:lnTo>
                  <a:lnTo>
                    <a:pt x="622" y="514"/>
                  </a:lnTo>
                  <a:lnTo>
                    <a:pt x="591" y="520"/>
                  </a:lnTo>
                  <a:lnTo>
                    <a:pt x="560" y="528"/>
                  </a:lnTo>
                  <a:lnTo>
                    <a:pt x="541" y="557"/>
                  </a:lnTo>
                  <a:lnTo>
                    <a:pt x="549" y="588"/>
                  </a:lnTo>
                  <a:lnTo>
                    <a:pt x="545" y="621"/>
                  </a:lnTo>
                  <a:lnTo>
                    <a:pt x="543" y="654"/>
                  </a:lnTo>
                  <a:lnTo>
                    <a:pt x="576" y="677"/>
                  </a:lnTo>
                  <a:lnTo>
                    <a:pt x="585" y="663"/>
                  </a:lnTo>
                  <a:lnTo>
                    <a:pt x="580" y="712"/>
                  </a:lnTo>
                  <a:lnTo>
                    <a:pt x="570" y="710"/>
                  </a:lnTo>
                  <a:lnTo>
                    <a:pt x="556" y="710"/>
                  </a:lnTo>
                  <a:lnTo>
                    <a:pt x="529" y="673"/>
                  </a:lnTo>
                  <a:lnTo>
                    <a:pt x="508" y="658"/>
                  </a:lnTo>
                  <a:lnTo>
                    <a:pt x="494" y="644"/>
                  </a:lnTo>
                  <a:lnTo>
                    <a:pt x="481" y="658"/>
                  </a:lnTo>
                  <a:lnTo>
                    <a:pt x="436" y="642"/>
                  </a:lnTo>
                  <a:lnTo>
                    <a:pt x="432" y="630"/>
                  </a:lnTo>
                  <a:lnTo>
                    <a:pt x="405" y="634"/>
                  </a:lnTo>
                  <a:lnTo>
                    <a:pt x="394" y="615"/>
                  </a:lnTo>
                  <a:lnTo>
                    <a:pt x="364" y="621"/>
                  </a:lnTo>
                  <a:lnTo>
                    <a:pt x="337" y="629"/>
                  </a:lnTo>
                  <a:lnTo>
                    <a:pt x="337" y="613"/>
                  </a:lnTo>
                  <a:lnTo>
                    <a:pt x="326" y="572"/>
                  </a:lnTo>
                  <a:lnTo>
                    <a:pt x="324" y="530"/>
                  </a:lnTo>
                  <a:lnTo>
                    <a:pt x="324" y="485"/>
                  </a:lnTo>
                  <a:lnTo>
                    <a:pt x="279" y="479"/>
                  </a:lnTo>
                  <a:lnTo>
                    <a:pt x="281" y="472"/>
                  </a:lnTo>
                  <a:lnTo>
                    <a:pt x="246" y="468"/>
                  </a:lnTo>
                  <a:lnTo>
                    <a:pt x="238" y="503"/>
                  </a:lnTo>
                  <a:lnTo>
                    <a:pt x="198" y="510"/>
                  </a:lnTo>
                  <a:lnTo>
                    <a:pt x="174" y="501"/>
                  </a:lnTo>
                  <a:lnTo>
                    <a:pt x="161" y="466"/>
                  </a:lnTo>
                  <a:lnTo>
                    <a:pt x="147" y="429"/>
                  </a:lnTo>
                  <a:lnTo>
                    <a:pt x="118" y="429"/>
                  </a:lnTo>
                  <a:lnTo>
                    <a:pt x="91" y="427"/>
                  </a:lnTo>
                  <a:lnTo>
                    <a:pt x="62" y="427"/>
                  </a:lnTo>
                  <a:lnTo>
                    <a:pt x="33" y="425"/>
                  </a:lnTo>
                  <a:lnTo>
                    <a:pt x="6" y="429"/>
                  </a:lnTo>
                  <a:lnTo>
                    <a:pt x="0" y="423"/>
                  </a:lnTo>
                  <a:lnTo>
                    <a:pt x="12" y="419"/>
                  </a:lnTo>
                  <a:lnTo>
                    <a:pt x="14" y="390"/>
                  </a:lnTo>
                  <a:lnTo>
                    <a:pt x="31" y="378"/>
                  </a:lnTo>
                  <a:lnTo>
                    <a:pt x="48" y="384"/>
                  </a:lnTo>
                  <a:lnTo>
                    <a:pt x="56" y="373"/>
                  </a:lnTo>
                  <a:lnTo>
                    <a:pt x="78" y="371"/>
                  </a:lnTo>
                  <a:lnTo>
                    <a:pt x="81" y="388"/>
                  </a:lnTo>
                  <a:lnTo>
                    <a:pt x="107" y="363"/>
                  </a:lnTo>
                  <a:lnTo>
                    <a:pt x="132" y="338"/>
                  </a:lnTo>
                  <a:lnTo>
                    <a:pt x="136" y="309"/>
                  </a:lnTo>
                  <a:lnTo>
                    <a:pt x="142" y="280"/>
                  </a:lnTo>
                  <a:lnTo>
                    <a:pt x="165" y="249"/>
                  </a:lnTo>
                  <a:lnTo>
                    <a:pt x="188" y="218"/>
                  </a:lnTo>
                  <a:lnTo>
                    <a:pt x="192" y="188"/>
                  </a:lnTo>
                  <a:lnTo>
                    <a:pt x="198" y="159"/>
                  </a:lnTo>
                  <a:lnTo>
                    <a:pt x="202" y="130"/>
                  </a:lnTo>
                  <a:lnTo>
                    <a:pt x="207" y="103"/>
                  </a:lnTo>
                  <a:lnTo>
                    <a:pt x="217" y="70"/>
                  </a:lnTo>
                  <a:lnTo>
                    <a:pt x="215" y="41"/>
                  </a:lnTo>
                  <a:lnTo>
                    <a:pt x="242" y="6"/>
                  </a:lnTo>
                  <a:lnTo>
                    <a:pt x="277" y="26"/>
                  </a:lnTo>
                  <a:lnTo>
                    <a:pt x="308" y="35"/>
                  </a:lnTo>
                  <a:lnTo>
                    <a:pt x="341" y="45"/>
                  </a:lnTo>
                  <a:lnTo>
                    <a:pt x="357" y="22"/>
                  </a:lnTo>
                  <a:lnTo>
                    <a:pt x="370" y="24"/>
                  </a:lnTo>
                  <a:lnTo>
                    <a:pt x="405" y="12"/>
                  </a:lnTo>
                  <a:lnTo>
                    <a:pt x="430" y="12"/>
                  </a:lnTo>
                  <a:lnTo>
                    <a:pt x="442" y="0"/>
                  </a:lnTo>
                  <a:lnTo>
                    <a:pt x="469" y="4"/>
                  </a:lnTo>
                  <a:lnTo>
                    <a:pt x="494" y="6"/>
                  </a:lnTo>
                  <a:lnTo>
                    <a:pt x="512" y="12"/>
                  </a:lnTo>
                  <a:lnTo>
                    <a:pt x="521" y="20"/>
                  </a:lnTo>
                  <a:lnTo>
                    <a:pt x="549" y="35"/>
                  </a:lnTo>
                  <a:lnTo>
                    <a:pt x="566" y="33"/>
                  </a:lnTo>
                  <a:lnTo>
                    <a:pt x="580" y="24"/>
                  </a:lnTo>
                  <a:lnTo>
                    <a:pt x="605" y="47"/>
                  </a:lnTo>
                  <a:lnTo>
                    <a:pt x="628" y="70"/>
                  </a:lnTo>
                  <a:lnTo>
                    <a:pt x="624" y="103"/>
                  </a:lnTo>
                  <a:lnTo>
                    <a:pt x="642" y="119"/>
                  </a:lnTo>
                  <a:lnTo>
                    <a:pt x="620" y="144"/>
                  </a:lnTo>
                  <a:lnTo>
                    <a:pt x="599" y="169"/>
                  </a:lnTo>
                  <a:lnTo>
                    <a:pt x="593" y="212"/>
                  </a:lnTo>
                  <a:lnTo>
                    <a:pt x="585" y="25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56" name="Google Shape;2356;g7826bb8c5e_0_4294"/>
            <p:cNvSpPr/>
            <p:nvPr/>
          </p:nvSpPr>
          <p:spPr>
            <a:xfrm>
              <a:off x="4582079" y="4317700"/>
              <a:ext cx="204678" cy="228006"/>
            </a:xfrm>
            <a:custGeom>
              <a:avLst/>
              <a:gdLst/>
              <a:ahLst/>
              <a:cxnLst/>
              <a:rect l="l" t="t" r="r" b="b"/>
              <a:pathLst>
                <a:path w="393" h="376" extrusionOk="0">
                  <a:moveTo>
                    <a:pt x="70" y="180"/>
                  </a:moveTo>
                  <a:lnTo>
                    <a:pt x="37" y="182"/>
                  </a:lnTo>
                  <a:lnTo>
                    <a:pt x="2" y="182"/>
                  </a:lnTo>
                  <a:lnTo>
                    <a:pt x="2" y="213"/>
                  </a:lnTo>
                  <a:lnTo>
                    <a:pt x="2" y="243"/>
                  </a:lnTo>
                  <a:lnTo>
                    <a:pt x="0" y="274"/>
                  </a:lnTo>
                  <a:lnTo>
                    <a:pt x="0" y="303"/>
                  </a:lnTo>
                  <a:lnTo>
                    <a:pt x="23" y="332"/>
                  </a:lnTo>
                  <a:lnTo>
                    <a:pt x="46" y="359"/>
                  </a:lnTo>
                  <a:lnTo>
                    <a:pt x="70" y="355"/>
                  </a:lnTo>
                  <a:lnTo>
                    <a:pt x="106" y="365"/>
                  </a:lnTo>
                  <a:lnTo>
                    <a:pt x="153" y="376"/>
                  </a:lnTo>
                  <a:lnTo>
                    <a:pt x="184" y="347"/>
                  </a:lnTo>
                  <a:lnTo>
                    <a:pt x="221" y="318"/>
                  </a:lnTo>
                  <a:lnTo>
                    <a:pt x="230" y="295"/>
                  </a:lnTo>
                  <a:lnTo>
                    <a:pt x="256" y="289"/>
                  </a:lnTo>
                  <a:lnTo>
                    <a:pt x="281" y="283"/>
                  </a:lnTo>
                  <a:lnTo>
                    <a:pt x="275" y="262"/>
                  </a:lnTo>
                  <a:lnTo>
                    <a:pt x="300" y="252"/>
                  </a:lnTo>
                  <a:lnTo>
                    <a:pt x="325" y="243"/>
                  </a:lnTo>
                  <a:lnTo>
                    <a:pt x="351" y="231"/>
                  </a:lnTo>
                  <a:lnTo>
                    <a:pt x="376" y="221"/>
                  </a:lnTo>
                  <a:lnTo>
                    <a:pt x="360" y="204"/>
                  </a:lnTo>
                  <a:lnTo>
                    <a:pt x="378" y="167"/>
                  </a:lnTo>
                  <a:lnTo>
                    <a:pt x="384" y="157"/>
                  </a:lnTo>
                  <a:lnTo>
                    <a:pt x="386" y="128"/>
                  </a:lnTo>
                  <a:lnTo>
                    <a:pt x="386" y="99"/>
                  </a:lnTo>
                  <a:lnTo>
                    <a:pt x="393" y="85"/>
                  </a:lnTo>
                  <a:lnTo>
                    <a:pt x="374" y="54"/>
                  </a:lnTo>
                  <a:lnTo>
                    <a:pt x="372" y="47"/>
                  </a:lnTo>
                  <a:lnTo>
                    <a:pt x="337" y="25"/>
                  </a:lnTo>
                  <a:lnTo>
                    <a:pt x="302" y="6"/>
                  </a:lnTo>
                  <a:lnTo>
                    <a:pt x="300" y="0"/>
                  </a:lnTo>
                  <a:lnTo>
                    <a:pt x="269" y="6"/>
                  </a:lnTo>
                  <a:lnTo>
                    <a:pt x="238" y="14"/>
                  </a:lnTo>
                  <a:lnTo>
                    <a:pt x="219" y="43"/>
                  </a:lnTo>
                  <a:lnTo>
                    <a:pt x="227" y="74"/>
                  </a:lnTo>
                  <a:lnTo>
                    <a:pt x="223" y="107"/>
                  </a:lnTo>
                  <a:lnTo>
                    <a:pt x="221" y="140"/>
                  </a:lnTo>
                  <a:lnTo>
                    <a:pt x="254" y="163"/>
                  </a:lnTo>
                  <a:lnTo>
                    <a:pt x="263" y="149"/>
                  </a:lnTo>
                  <a:lnTo>
                    <a:pt x="258" y="198"/>
                  </a:lnTo>
                  <a:lnTo>
                    <a:pt x="248" y="196"/>
                  </a:lnTo>
                  <a:lnTo>
                    <a:pt x="234" y="196"/>
                  </a:lnTo>
                  <a:lnTo>
                    <a:pt x="207" y="159"/>
                  </a:lnTo>
                  <a:lnTo>
                    <a:pt x="186" y="144"/>
                  </a:lnTo>
                  <a:lnTo>
                    <a:pt x="172" y="130"/>
                  </a:lnTo>
                  <a:lnTo>
                    <a:pt x="159" y="144"/>
                  </a:lnTo>
                  <a:lnTo>
                    <a:pt x="114" y="128"/>
                  </a:lnTo>
                  <a:lnTo>
                    <a:pt x="110" y="116"/>
                  </a:lnTo>
                  <a:lnTo>
                    <a:pt x="83" y="120"/>
                  </a:lnTo>
                  <a:lnTo>
                    <a:pt x="72" y="101"/>
                  </a:lnTo>
                  <a:lnTo>
                    <a:pt x="70" y="142"/>
                  </a:lnTo>
                  <a:lnTo>
                    <a:pt x="70" y="18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57" name="Google Shape;2357;g7826bb8c5e_0_4294"/>
            <p:cNvSpPr/>
            <p:nvPr/>
          </p:nvSpPr>
          <p:spPr>
            <a:xfrm>
              <a:off x="4638017" y="4488364"/>
              <a:ext cx="132213" cy="157009"/>
            </a:xfrm>
            <a:custGeom>
              <a:avLst/>
              <a:gdLst/>
              <a:ahLst/>
              <a:cxnLst/>
              <a:rect l="l" t="t" r="r" b="b"/>
              <a:pathLst>
                <a:path w="254" h="258" extrusionOk="0">
                  <a:moveTo>
                    <a:pt x="126" y="246"/>
                  </a:moveTo>
                  <a:lnTo>
                    <a:pt x="119" y="241"/>
                  </a:lnTo>
                  <a:lnTo>
                    <a:pt x="90" y="227"/>
                  </a:lnTo>
                  <a:lnTo>
                    <a:pt x="78" y="194"/>
                  </a:lnTo>
                  <a:lnTo>
                    <a:pt x="68" y="184"/>
                  </a:lnTo>
                  <a:lnTo>
                    <a:pt x="62" y="175"/>
                  </a:lnTo>
                  <a:lnTo>
                    <a:pt x="39" y="157"/>
                  </a:lnTo>
                  <a:lnTo>
                    <a:pt x="20" y="120"/>
                  </a:lnTo>
                  <a:lnTo>
                    <a:pt x="0" y="82"/>
                  </a:lnTo>
                  <a:lnTo>
                    <a:pt x="47" y="93"/>
                  </a:lnTo>
                  <a:lnTo>
                    <a:pt x="78" y="64"/>
                  </a:lnTo>
                  <a:lnTo>
                    <a:pt x="115" y="35"/>
                  </a:lnTo>
                  <a:lnTo>
                    <a:pt x="124" y="12"/>
                  </a:lnTo>
                  <a:lnTo>
                    <a:pt x="150" y="6"/>
                  </a:lnTo>
                  <a:lnTo>
                    <a:pt x="175" y="0"/>
                  </a:lnTo>
                  <a:lnTo>
                    <a:pt x="173" y="14"/>
                  </a:lnTo>
                  <a:lnTo>
                    <a:pt x="190" y="14"/>
                  </a:lnTo>
                  <a:lnTo>
                    <a:pt x="223" y="27"/>
                  </a:lnTo>
                  <a:lnTo>
                    <a:pt x="254" y="41"/>
                  </a:lnTo>
                  <a:lnTo>
                    <a:pt x="254" y="87"/>
                  </a:lnTo>
                  <a:lnTo>
                    <a:pt x="249" y="120"/>
                  </a:lnTo>
                  <a:lnTo>
                    <a:pt x="252" y="153"/>
                  </a:lnTo>
                  <a:lnTo>
                    <a:pt x="241" y="186"/>
                  </a:lnTo>
                  <a:lnTo>
                    <a:pt x="233" y="217"/>
                  </a:lnTo>
                  <a:lnTo>
                    <a:pt x="212" y="239"/>
                  </a:lnTo>
                  <a:lnTo>
                    <a:pt x="192" y="258"/>
                  </a:lnTo>
                  <a:lnTo>
                    <a:pt x="159" y="254"/>
                  </a:lnTo>
                  <a:lnTo>
                    <a:pt x="128" y="248"/>
                  </a:lnTo>
                  <a:lnTo>
                    <a:pt x="126" y="246"/>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58" name="Google Shape;2358;g7826bb8c5e_0_4294"/>
            <p:cNvSpPr/>
            <p:nvPr/>
          </p:nvSpPr>
          <p:spPr>
            <a:xfrm>
              <a:off x="3228159" y="4824227"/>
              <a:ext cx="85176" cy="110589"/>
            </a:xfrm>
            <a:custGeom>
              <a:avLst/>
              <a:gdLst/>
              <a:ahLst/>
              <a:cxnLst/>
              <a:rect l="l" t="t" r="r" b="b"/>
              <a:pathLst>
                <a:path w="165" h="182" extrusionOk="0">
                  <a:moveTo>
                    <a:pt x="161" y="95"/>
                  </a:moveTo>
                  <a:lnTo>
                    <a:pt x="126" y="70"/>
                  </a:lnTo>
                  <a:lnTo>
                    <a:pt x="91" y="44"/>
                  </a:lnTo>
                  <a:lnTo>
                    <a:pt x="72" y="33"/>
                  </a:lnTo>
                  <a:lnTo>
                    <a:pt x="62" y="31"/>
                  </a:lnTo>
                  <a:lnTo>
                    <a:pt x="21" y="0"/>
                  </a:lnTo>
                  <a:lnTo>
                    <a:pt x="4" y="4"/>
                  </a:lnTo>
                  <a:lnTo>
                    <a:pt x="6" y="6"/>
                  </a:lnTo>
                  <a:lnTo>
                    <a:pt x="4" y="48"/>
                  </a:lnTo>
                  <a:lnTo>
                    <a:pt x="2" y="89"/>
                  </a:lnTo>
                  <a:lnTo>
                    <a:pt x="4" y="95"/>
                  </a:lnTo>
                  <a:lnTo>
                    <a:pt x="0" y="126"/>
                  </a:lnTo>
                  <a:lnTo>
                    <a:pt x="18" y="157"/>
                  </a:lnTo>
                  <a:lnTo>
                    <a:pt x="58" y="172"/>
                  </a:lnTo>
                  <a:lnTo>
                    <a:pt x="111" y="182"/>
                  </a:lnTo>
                  <a:lnTo>
                    <a:pt x="142" y="171"/>
                  </a:lnTo>
                  <a:lnTo>
                    <a:pt x="165" y="138"/>
                  </a:lnTo>
                  <a:lnTo>
                    <a:pt x="157" y="112"/>
                  </a:lnTo>
                  <a:lnTo>
                    <a:pt x="161" y="95"/>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59" name="Google Shape;2359;g7826bb8c5e_0_4294"/>
            <p:cNvSpPr/>
            <p:nvPr/>
          </p:nvSpPr>
          <p:spPr>
            <a:xfrm>
              <a:off x="3020938" y="4631720"/>
              <a:ext cx="266970" cy="697671"/>
            </a:xfrm>
            <a:custGeom>
              <a:avLst/>
              <a:gdLst/>
              <a:ahLst/>
              <a:cxnLst/>
              <a:rect l="l" t="t" r="r" b="b"/>
              <a:pathLst>
                <a:path w="514" h="1152" extrusionOk="0">
                  <a:moveTo>
                    <a:pt x="329" y="731"/>
                  </a:moveTo>
                  <a:lnTo>
                    <a:pt x="287" y="731"/>
                  </a:lnTo>
                  <a:lnTo>
                    <a:pt x="254" y="723"/>
                  </a:lnTo>
                  <a:lnTo>
                    <a:pt x="279" y="775"/>
                  </a:lnTo>
                  <a:lnTo>
                    <a:pt x="289" y="779"/>
                  </a:lnTo>
                  <a:lnTo>
                    <a:pt x="300" y="777"/>
                  </a:lnTo>
                  <a:lnTo>
                    <a:pt x="310" y="770"/>
                  </a:lnTo>
                  <a:lnTo>
                    <a:pt x="320" y="799"/>
                  </a:lnTo>
                  <a:lnTo>
                    <a:pt x="302" y="793"/>
                  </a:lnTo>
                  <a:lnTo>
                    <a:pt x="279" y="793"/>
                  </a:lnTo>
                  <a:lnTo>
                    <a:pt x="302" y="804"/>
                  </a:lnTo>
                  <a:lnTo>
                    <a:pt x="281" y="834"/>
                  </a:lnTo>
                  <a:lnTo>
                    <a:pt x="283" y="865"/>
                  </a:lnTo>
                  <a:lnTo>
                    <a:pt x="279" y="880"/>
                  </a:lnTo>
                  <a:lnTo>
                    <a:pt x="244" y="898"/>
                  </a:lnTo>
                  <a:lnTo>
                    <a:pt x="246" y="932"/>
                  </a:lnTo>
                  <a:lnTo>
                    <a:pt x="294" y="958"/>
                  </a:lnTo>
                  <a:lnTo>
                    <a:pt x="312" y="969"/>
                  </a:lnTo>
                  <a:lnTo>
                    <a:pt x="302" y="987"/>
                  </a:lnTo>
                  <a:lnTo>
                    <a:pt x="312" y="991"/>
                  </a:lnTo>
                  <a:lnTo>
                    <a:pt x="294" y="1014"/>
                  </a:lnTo>
                  <a:lnTo>
                    <a:pt x="279" y="1039"/>
                  </a:lnTo>
                  <a:lnTo>
                    <a:pt x="277" y="1068"/>
                  </a:lnTo>
                  <a:lnTo>
                    <a:pt x="260" y="1062"/>
                  </a:lnTo>
                  <a:lnTo>
                    <a:pt x="254" y="1064"/>
                  </a:lnTo>
                  <a:lnTo>
                    <a:pt x="269" y="1072"/>
                  </a:lnTo>
                  <a:lnTo>
                    <a:pt x="256" y="1093"/>
                  </a:lnTo>
                  <a:lnTo>
                    <a:pt x="256" y="1101"/>
                  </a:lnTo>
                  <a:lnTo>
                    <a:pt x="269" y="1124"/>
                  </a:lnTo>
                  <a:lnTo>
                    <a:pt x="262" y="1124"/>
                  </a:lnTo>
                  <a:lnTo>
                    <a:pt x="283" y="1134"/>
                  </a:lnTo>
                  <a:lnTo>
                    <a:pt x="302" y="1152"/>
                  </a:lnTo>
                  <a:lnTo>
                    <a:pt x="250" y="1138"/>
                  </a:lnTo>
                  <a:lnTo>
                    <a:pt x="192" y="1132"/>
                  </a:lnTo>
                  <a:lnTo>
                    <a:pt x="174" y="1117"/>
                  </a:lnTo>
                  <a:lnTo>
                    <a:pt x="155" y="1088"/>
                  </a:lnTo>
                  <a:lnTo>
                    <a:pt x="137" y="1090"/>
                  </a:lnTo>
                  <a:lnTo>
                    <a:pt x="108" y="1041"/>
                  </a:lnTo>
                  <a:lnTo>
                    <a:pt x="128" y="1018"/>
                  </a:lnTo>
                  <a:lnTo>
                    <a:pt x="122" y="967"/>
                  </a:lnTo>
                  <a:lnTo>
                    <a:pt x="116" y="925"/>
                  </a:lnTo>
                  <a:lnTo>
                    <a:pt x="114" y="896"/>
                  </a:lnTo>
                  <a:lnTo>
                    <a:pt x="106" y="880"/>
                  </a:lnTo>
                  <a:lnTo>
                    <a:pt x="93" y="872"/>
                  </a:lnTo>
                  <a:lnTo>
                    <a:pt x="114" y="865"/>
                  </a:lnTo>
                  <a:lnTo>
                    <a:pt x="89" y="849"/>
                  </a:lnTo>
                  <a:lnTo>
                    <a:pt x="75" y="810"/>
                  </a:lnTo>
                  <a:lnTo>
                    <a:pt x="60" y="789"/>
                  </a:lnTo>
                  <a:lnTo>
                    <a:pt x="58" y="758"/>
                  </a:lnTo>
                  <a:lnTo>
                    <a:pt x="46" y="708"/>
                  </a:lnTo>
                  <a:lnTo>
                    <a:pt x="42" y="669"/>
                  </a:lnTo>
                  <a:lnTo>
                    <a:pt x="48" y="644"/>
                  </a:lnTo>
                  <a:lnTo>
                    <a:pt x="44" y="622"/>
                  </a:lnTo>
                  <a:lnTo>
                    <a:pt x="35" y="591"/>
                  </a:lnTo>
                  <a:lnTo>
                    <a:pt x="25" y="558"/>
                  </a:lnTo>
                  <a:lnTo>
                    <a:pt x="41" y="533"/>
                  </a:lnTo>
                  <a:lnTo>
                    <a:pt x="33" y="508"/>
                  </a:lnTo>
                  <a:lnTo>
                    <a:pt x="39" y="459"/>
                  </a:lnTo>
                  <a:lnTo>
                    <a:pt x="31" y="438"/>
                  </a:lnTo>
                  <a:lnTo>
                    <a:pt x="15" y="407"/>
                  </a:lnTo>
                  <a:lnTo>
                    <a:pt x="0" y="376"/>
                  </a:lnTo>
                  <a:lnTo>
                    <a:pt x="0" y="351"/>
                  </a:lnTo>
                  <a:lnTo>
                    <a:pt x="6" y="328"/>
                  </a:lnTo>
                  <a:lnTo>
                    <a:pt x="4" y="298"/>
                  </a:lnTo>
                  <a:lnTo>
                    <a:pt x="4" y="271"/>
                  </a:lnTo>
                  <a:lnTo>
                    <a:pt x="17" y="238"/>
                  </a:lnTo>
                  <a:lnTo>
                    <a:pt x="31" y="203"/>
                  </a:lnTo>
                  <a:lnTo>
                    <a:pt x="39" y="194"/>
                  </a:lnTo>
                  <a:lnTo>
                    <a:pt x="27" y="170"/>
                  </a:lnTo>
                  <a:lnTo>
                    <a:pt x="21" y="118"/>
                  </a:lnTo>
                  <a:lnTo>
                    <a:pt x="27" y="99"/>
                  </a:lnTo>
                  <a:lnTo>
                    <a:pt x="56" y="83"/>
                  </a:lnTo>
                  <a:lnTo>
                    <a:pt x="62" y="44"/>
                  </a:lnTo>
                  <a:lnTo>
                    <a:pt x="56" y="39"/>
                  </a:lnTo>
                  <a:lnTo>
                    <a:pt x="83" y="0"/>
                  </a:lnTo>
                  <a:lnTo>
                    <a:pt x="89" y="4"/>
                  </a:lnTo>
                  <a:lnTo>
                    <a:pt x="130" y="11"/>
                  </a:lnTo>
                  <a:lnTo>
                    <a:pt x="147" y="35"/>
                  </a:lnTo>
                  <a:lnTo>
                    <a:pt x="157" y="13"/>
                  </a:lnTo>
                  <a:lnTo>
                    <a:pt x="196" y="8"/>
                  </a:lnTo>
                  <a:lnTo>
                    <a:pt x="203" y="15"/>
                  </a:lnTo>
                  <a:lnTo>
                    <a:pt x="234" y="46"/>
                  </a:lnTo>
                  <a:lnTo>
                    <a:pt x="267" y="77"/>
                  </a:lnTo>
                  <a:lnTo>
                    <a:pt x="294" y="91"/>
                  </a:lnTo>
                  <a:lnTo>
                    <a:pt x="322" y="103"/>
                  </a:lnTo>
                  <a:lnTo>
                    <a:pt x="353" y="120"/>
                  </a:lnTo>
                  <a:lnTo>
                    <a:pt x="382" y="138"/>
                  </a:lnTo>
                  <a:lnTo>
                    <a:pt x="370" y="174"/>
                  </a:lnTo>
                  <a:lnTo>
                    <a:pt x="356" y="209"/>
                  </a:lnTo>
                  <a:lnTo>
                    <a:pt x="395" y="213"/>
                  </a:lnTo>
                  <a:lnTo>
                    <a:pt x="434" y="215"/>
                  </a:lnTo>
                  <a:lnTo>
                    <a:pt x="455" y="207"/>
                  </a:lnTo>
                  <a:lnTo>
                    <a:pt x="481" y="167"/>
                  </a:lnTo>
                  <a:lnTo>
                    <a:pt x="479" y="143"/>
                  </a:lnTo>
                  <a:lnTo>
                    <a:pt x="500" y="145"/>
                  </a:lnTo>
                  <a:lnTo>
                    <a:pt x="514" y="194"/>
                  </a:lnTo>
                  <a:lnTo>
                    <a:pt x="494" y="211"/>
                  </a:lnTo>
                  <a:lnTo>
                    <a:pt x="473" y="231"/>
                  </a:lnTo>
                  <a:lnTo>
                    <a:pt x="455" y="252"/>
                  </a:lnTo>
                  <a:lnTo>
                    <a:pt x="438" y="275"/>
                  </a:lnTo>
                  <a:lnTo>
                    <a:pt x="420" y="296"/>
                  </a:lnTo>
                  <a:lnTo>
                    <a:pt x="403" y="318"/>
                  </a:lnTo>
                  <a:lnTo>
                    <a:pt x="405" y="322"/>
                  </a:lnTo>
                  <a:lnTo>
                    <a:pt x="403" y="364"/>
                  </a:lnTo>
                  <a:lnTo>
                    <a:pt x="401" y="405"/>
                  </a:lnTo>
                  <a:lnTo>
                    <a:pt x="405" y="430"/>
                  </a:lnTo>
                  <a:lnTo>
                    <a:pt x="397" y="446"/>
                  </a:lnTo>
                  <a:lnTo>
                    <a:pt x="411" y="488"/>
                  </a:lnTo>
                  <a:lnTo>
                    <a:pt x="455" y="519"/>
                  </a:lnTo>
                  <a:lnTo>
                    <a:pt x="457" y="547"/>
                  </a:lnTo>
                  <a:lnTo>
                    <a:pt x="479" y="562"/>
                  </a:lnTo>
                  <a:lnTo>
                    <a:pt x="467" y="595"/>
                  </a:lnTo>
                  <a:lnTo>
                    <a:pt x="453" y="628"/>
                  </a:lnTo>
                  <a:lnTo>
                    <a:pt x="426" y="634"/>
                  </a:lnTo>
                  <a:lnTo>
                    <a:pt x="399" y="642"/>
                  </a:lnTo>
                  <a:lnTo>
                    <a:pt x="374" y="647"/>
                  </a:lnTo>
                  <a:lnTo>
                    <a:pt x="347" y="655"/>
                  </a:lnTo>
                  <a:lnTo>
                    <a:pt x="322" y="651"/>
                  </a:lnTo>
                  <a:lnTo>
                    <a:pt x="329" y="665"/>
                  </a:lnTo>
                  <a:lnTo>
                    <a:pt x="337" y="713"/>
                  </a:lnTo>
                  <a:lnTo>
                    <a:pt x="329" y="731"/>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60" name="Google Shape;2360;g7826bb8c5e_0_4294"/>
            <p:cNvSpPr/>
            <p:nvPr/>
          </p:nvSpPr>
          <p:spPr>
            <a:xfrm>
              <a:off x="3174764" y="5337582"/>
              <a:ext cx="67378" cy="50517"/>
            </a:xfrm>
            <a:custGeom>
              <a:avLst/>
              <a:gdLst/>
              <a:ahLst/>
              <a:cxnLst/>
              <a:rect l="l" t="t" r="r" b="b"/>
              <a:pathLst>
                <a:path w="126" h="84" extrusionOk="0">
                  <a:moveTo>
                    <a:pt x="12" y="18"/>
                  </a:moveTo>
                  <a:lnTo>
                    <a:pt x="0" y="0"/>
                  </a:lnTo>
                  <a:lnTo>
                    <a:pt x="18" y="41"/>
                  </a:lnTo>
                  <a:lnTo>
                    <a:pt x="33" y="82"/>
                  </a:lnTo>
                  <a:lnTo>
                    <a:pt x="80" y="82"/>
                  </a:lnTo>
                  <a:lnTo>
                    <a:pt x="126" y="84"/>
                  </a:lnTo>
                  <a:lnTo>
                    <a:pt x="122" y="74"/>
                  </a:lnTo>
                  <a:lnTo>
                    <a:pt x="56" y="51"/>
                  </a:lnTo>
                  <a:lnTo>
                    <a:pt x="12" y="18"/>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61" name="Google Shape;2361;g7826bb8c5e_0_4294"/>
            <p:cNvSpPr/>
            <p:nvPr/>
          </p:nvSpPr>
          <p:spPr>
            <a:xfrm>
              <a:off x="2986613" y="4532053"/>
              <a:ext cx="194507" cy="832835"/>
            </a:xfrm>
            <a:custGeom>
              <a:avLst/>
              <a:gdLst/>
              <a:ahLst/>
              <a:cxnLst/>
              <a:rect l="l" t="t" r="r" b="b"/>
              <a:pathLst>
                <a:path w="370" h="1371" extrusionOk="0">
                  <a:moveTo>
                    <a:pt x="23" y="487"/>
                  </a:moveTo>
                  <a:lnTo>
                    <a:pt x="31" y="514"/>
                  </a:lnTo>
                  <a:lnTo>
                    <a:pt x="37" y="543"/>
                  </a:lnTo>
                  <a:lnTo>
                    <a:pt x="41" y="572"/>
                  </a:lnTo>
                  <a:lnTo>
                    <a:pt x="45" y="601"/>
                  </a:lnTo>
                  <a:lnTo>
                    <a:pt x="41" y="634"/>
                  </a:lnTo>
                  <a:lnTo>
                    <a:pt x="37" y="669"/>
                  </a:lnTo>
                  <a:lnTo>
                    <a:pt x="33" y="702"/>
                  </a:lnTo>
                  <a:lnTo>
                    <a:pt x="31" y="737"/>
                  </a:lnTo>
                  <a:lnTo>
                    <a:pt x="23" y="748"/>
                  </a:lnTo>
                  <a:lnTo>
                    <a:pt x="35" y="781"/>
                  </a:lnTo>
                  <a:lnTo>
                    <a:pt x="46" y="812"/>
                  </a:lnTo>
                  <a:lnTo>
                    <a:pt x="54" y="849"/>
                  </a:lnTo>
                  <a:lnTo>
                    <a:pt x="50" y="882"/>
                  </a:lnTo>
                  <a:lnTo>
                    <a:pt x="70" y="915"/>
                  </a:lnTo>
                  <a:lnTo>
                    <a:pt x="72" y="921"/>
                  </a:lnTo>
                  <a:lnTo>
                    <a:pt x="85" y="915"/>
                  </a:lnTo>
                  <a:lnTo>
                    <a:pt x="97" y="915"/>
                  </a:lnTo>
                  <a:lnTo>
                    <a:pt x="107" y="909"/>
                  </a:lnTo>
                  <a:lnTo>
                    <a:pt x="103" y="931"/>
                  </a:lnTo>
                  <a:lnTo>
                    <a:pt x="112" y="940"/>
                  </a:lnTo>
                  <a:lnTo>
                    <a:pt x="109" y="936"/>
                  </a:lnTo>
                  <a:lnTo>
                    <a:pt x="109" y="948"/>
                  </a:lnTo>
                  <a:lnTo>
                    <a:pt x="112" y="969"/>
                  </a:lnTo>
                  <a:lnTo>
                    <a:pt x="114" y="995"/>
                  </a:lnTo>
                  <a:lnTo>
                    <a:pt x="116" y="1008"/>
                  </a:lnTo>
                  <a:lnTo>
                    <a:pt x="134" y="1024"/>
                  </a:lnTo>
                  <a:lnTo>
                    <a:pt x="124" y="1049"/>
                  </a:lnTo>
                  <a:lnTo>
                    <a:pt x="134" y="1057"/>
                  </a:lnTo>
                  <a:lnTo>
                    <a:pt x="126" y="1059"/>
                  </a:lnTo>
                  <a:lnTo>
                    <a:pt x="128" y="1068"/>
                  </a:lnTo>
                  <a:lnTo>
                    <a:pt x="130" y="1088"/>
                  </a:lnTo>
                  <a:lnTo>
                    <a:pt x="132" y="1086"/>
                  </a:lnTo>
                  <a:lnTo>
                    <a:pt x="122" y="1101"/>
                  </a:lnTo>
                  <a:lnTo>
                    <a:pt x="120" y="1090"/>
                  </a:lnTo>
                  <a:lnTo>
                    <a:pt x="109" y="1090"/>
                  </a:lnTo>
                  <a:lnTo>
                    <a:pt x="110" y="1076"/>
                  </a:lnTo>
                  <a:lnTo>
                    <a:pt x="103" y="1078"/>
                  </a:lnTo>
                  <a:lnTo>
                    <a:pt x="93" y="1080"/>
                  </a:lnTo>
                  <a:lnTo>
                    <a:pt x="78" y="1111"/>
                  </a:lnTo>
                  <a:lnTo>
                    <a:pt x="81" y="1107"/>
                  </a:lnTo>
                  <a:lnTo>
                    <a:pt x="93" y="1101"/>
                  </a:lnTo>
                  <a:lnTo>
                    <a:pt x="110" y="1109"/>
                  </a:lnTo>
                  <a:lnTo>
                    <a:pt x="134" y="1126"/>
                  </a:lnTo>
                  <a:lnTo>
                    <a:pt x="124" y="1134"/>
                  </a:lnTo>
                  <a:lnTo>
                    <a:pt x="132" y="1140"/>
                  </a:lnTo>
                  <a:lnTo>
                    <a:pt x="118" y="1146"/>
                  </a:lnTo>
                  <a:lnTo>
                    <a:pt x="145" y="1144"/>
                  </a:lnTo>
                  <a:lnTo>
                    <a:pt x="147" y="1140"/>
                  </a:lnTo>
                  <a:lnTo>
                    <a:pt x="159" y="1154"/>
                  </a:lnTo>
                  <a:lnTo>
                    <a:pt x="159" y="1163"/>
                  </a:lnTo>
                  <a:lnTo>
                    <a:pt x="138" y="1159"/>
                  </a:lnTo>
                  <a:lnTo>
                    <a:pt x="128" y="1157"/>
                  </a:lnTo>
                  <a:lnTo>
                    <a:pt x="143" y="1181"/>
                  </a:lnTo>
                  <a:lnTo>
                    <a:pt x="157" y="1206"/>
                  </a:lnTo>
                  <a:lnTo>
                    <a:pt x="159" y="1220"/>
                  </a:lnTo>
                  <a:lnTo>
                    <a:pt x="165" y="1231"/>
                  </a:lnTo>
                  <a:lnTo>
                    <a:pt x="159" y="1237"/>
                  </a:lnTo>
                  <a:lnTo>
                    <a:pt x="174" y="1247"/>
                  </a:lnTo>
                  <a:lnTo>
                    <a:pt x="188" y="1262"/>
                  </a:lnTo>
                  <a:lnTo>
                    <a:pt x="186" y="1268"/>
                  </a:lnTo>
                  <a:lnTo>
                    <a:pt x="200" y="1278"/>
                  </a:lnTo>
                  <a:lnTo>
                    <a:pt x="207" y="1287"/>
                  </a:lnTo>
                  <a:lnTo>
                    <a:pt x="200" y="1284"/>
                  </a:lnTo>
                  <a:lnTo>
                    <a:pt x="215" y="1297"/>
                  </a:lnTo>
                  <a:lnTo>
                    <a:pt x="217" y="1307"/>
                  </a:lnTo>
                  <a:lnTo>
                    <a:pt x="231" y="1324"/>
                  </a:lnTo>
                  <a:lnTo>
                    <a:pt x="235" y="1332"/>
                  </a:lnTo>
                  <a:lnTo>
                    <a:pt x="250" y="1340"/>
                  </a:lnTo>
                  <a:lnTo>
                    <a:pt x="254" y="1346"/>
                  </a:lnTo>
                  <a:lnTo>
                    <a:pt x="250" y="1348"/>
                  </a:lnTo>
                  <a:lnTo>
                    <a:pt x="267" y="1353"/>
                  </a:lnTo>
                  <a:lnTo>
                    <a:pt x="312" y="1371"/>
                  </a:lnTo>
                  <a:lnTo>
                    <a:pt x="314" y="1324"/>
                  </a:lnTo>
                  <a:lnTo>
                    <a:pt x="337" y="1313"/>
                  </a:lnTo>
                  <a:lnTo>
                    <a:pt x="370" y="1315"/>
                  </a:lnTo>
                  <a:lnTo>
                    <a:pt x="318" y="1301"/>
                  </a:lnTo>
                  <a:lnTo>
                    <a:pt x="260" y="1295"/>
                  </a:lnTo>
                  <a:lnTo>
                    <a:pt x="242" y="1280"/>
                  </a:lnTo>
                  <a:lnTo>
                    <a:pt x="223" y="1251"/>
                  </a:lnTo>
                  <a:lnTo>
                    <a:pt x="205" y="1253"/>
                  </a:lnTo>
                  <a:lnTo>
                    <a:pt x="176" y="1204"/>
                  </a:lnTo>
                  <a:lnTo>
                    <a:pt x="196" y="1181"/>
                  </a:lnTo>
                  <a:lnTo>
                    <a:pt x="190" y="1130"/>
                  </a:lnTo>
                  <a:lnTo>
                    <a:pt x="184" y="1088"/>
                  </a:lnTo>
                  <a:lnTo>
                    <a:pt x="182" y="1059"/>
                  </a:lnTo>
                  <a:lnTo>
                    <a:pt x="174" y="1043"/>
                  </a:lnTo>
                  <a:lnTo>
                    <a:pt x="161" y="1035"/>
                  </a:lnTo>
                  <a:lnTo>
                    <a:pt x="182" y="1028"/>
                  </a:lnTo>
                  <a:lnTo>
                    <a:pt x="157" y="1012"/>
                  </a:lnTo>
                  <a:lnTo>
                    <a:pt x="143" y="973"/>
                  </a:lnTo>
                  <a:lnTo>
                    <a:pt x="128" y="952"/>
                  </a:lnTo>
                  <a:lnTo>
                    <a:pt x="126" y="921"/>
                  </a:lnTo>
                  <a:lnTo>
                    <a:pt x="114" y="871"/>
                  </a:lnTo>
                  <a:lnTo>
                    <a:pt x="110" y="832"/>
                  </a:lnTo>
                  <a:lnTo>
                    <a:pt x="116" y="807"/>
                  </a:lnTo>
                  <a:lnTo>
                    <a:pt x="112" y="785"/>
                  </a:lnTo>
                  <a:lnTo>
                    <a:pt x="103" y="754"/>
                  </a:lnTo>
                  <a:lnTo>
                    <a:pt x="93" y="721"/>
                  </a:lnTo>
                  <a:lnTo>
                    <a:pt x="109" y="696"/>
                  </a:lnTo>
                  <a:lnTo>
                    <a:pt x="101" y="671"/>
                  </a:lnTo>
                  <a:lnTo>
                    <a:pt x="107" y="622"/>
                  </a:lnTo>
                  <a:lnTo>
                    <a:pt x="99" y="601"/>
                  </a:lnTo>
                  <a:lnTo>
                    <a:pt x="83" y="570"/>
                  </a:lnTo>
                  <a:lnTo>
                    <a:pt x="68" y="539"/>
                  </a:lnTo>
                  <a:lnTo>
                    <a:pt x="68" y="514"/>
                  </a:lnTo>
                  <a:lnTo>
                    <a:pt x="74" y="491"/>
                  </a:lnTo>
                  <a:lnTo>
                    <a:pt x="72" y="461"/>
                  </a:lnTo>
                  <a:lnTo>
                    <a:pt x="72" y="434"/>
                  </a:lnTo>
                  <a:lnTo>
                    <a:pt x="85" y="401"/>
                  </a:lnTo>
                  <a:lnTo>
                    <a:pt x="99" y="366"/>
                  </a:lnTo>
                  <a:lnTo>
                    <a:pt x="107" y="357"/>
                  </a:lnTo>
                  <a:lnTo>
                    <a:pt x="95" y="333"/>
                  </a:lnTo>
                  <a:lnTo>
                    <a:pt x="89" y="281"/>
                  </a:lnTo>
                  <a:lnTo>
                    <a:pt x="95" y="262"/>
                  </a:lnTo>
                  <a:lnTo>
                    <a:pt x="124" y="246"/>
                  </a:lnTo>
                  <a:lnTo>
                    <a:pt x="130" y="207"/>
                  </a:lnTo>
                  <a:lnTo>
                    <a:pt x="124" y="202"/>
                  </a:lnTo>
                  <a:lnTo>
                    <a:pt x="101" y="198"/>
                  </a:lnTo>
                  <a:lnTo>
                    <a:pt x="85" y="163"/>
                  </a:lnTo>
                  <a:lnTo>
                    <a:pt x="72" y="130"/>
                  </a:lnTo>
                  <a:lnTo>
                    <a:pt x="64" y="97"/>
                  </a:lnTo>
                  <a:lnTo>
                    <a:pt x="64" y="68"/>
                  </a:lnTo>
                  <a:lnTo>
                    <a:pt x="46" y="43"/>
                  </a:lnTo>
                  <a:lnTo>
                    <a:pt x="35" y="17"/>
                  </a:lnTo>
                  <a:lnTo>
                    <a:pt x="27" y="0"/>
                  </a:lnTo>
                  <a:lnTo>
                    <a:pt x="17" y="14"/>
                  </a:lnTo>
                  <a:lnTo>
                    <a:pt x="6" y="31"/>
                  </a:lnTo>
                  <a:lnTo>
                    <a:pt x="0" y="31"/>
                  </a:lnTo>
                  <a:lnTo>
                    <a:pt x="8" y="79"/>
                  </a:lnTo>
                  <a:lnTo>
                    <a:pt x="17" y="128"/>
                  </a:lnTo>
                  <a:lnTo>
                    <a:pt x="17" y="171"/>
                  </a:lnTo>
                  <a:lnTo>
                    <a:pt x="17" y="211"/>
                  </a:lnTo>
                  <a:lnTo>
                    <a:pt x="15" y="229"/>
                  </a:lnTo>
                  <a:lnTo>
                    <a:pt x="21" y="275"/>
                  </a:lnTo>
                  <a:lnTo>
                    <a:pt x="23" y="316"/>
                  </a:lnTo>
                  <a:lnTo>
                    <a:pt x="21" y="370"/>
                  </a:lnTo>
                  <a:lnTo>
                    <a:pt x="21" y="425"/>
                  </a:lnTo>
                  <a:lnTo>
                    <a:pt x="23" y="448"/>
                  </a:lnTo>
                  <a:lnTo>
                    <a:pt x="23" y="487"/>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62" name="Google Shape;2362;g7826bb8c5e_0_4294"/>
            <p:cNvSpPr/>
            <p:nvPr/>
          </p:nvSpPr>
          <p:spPr>
            <a:xfrm>
              <a:off x="3141711" y="5334851"/>
              <a:ext cx="52123" cy="51882"/>
            </a:xfrm>
            <a:custGeom>
              <a:avLst/>
              <a:gdLst/>
              <a:ahLst/>
              <a:cxnLst/>
              <a:rect l="l" t="t" r="r" b="b"/>
              <a:pathLst>
                <a:path w="97" h="86" extrusionOk="0">
                  <a:moveTo>
                    <a:pt x="64" y="4"/>
                  </a:moveTo>
                  <a:lnTo>
                    <a:pt x="82" y="45"/>
                  </a:lnTo>
                  <a:lnTo>
                    <a:pt x="97" y="86"/>
                  </a:lnTo>
                  <a:lnTo>
                    <a:pt x="88" y="84"/>
                  </a:lnTo>
                  <a:lnTo>
                    <a:pt x="74" y="86"/>
                  </a:lnTo>
                  <a:lnTo>
                    <a:pt x="39" y="82"/>
                  </a:lnTo>
                  <a:lnTo>
                    <a:pt x="27" y="80"/>
                  </a:lnTo>
                  <a:lnTo>
                    <a:pt x="0" y="76"/>
                  </a:lnTo>
                  <a:lnTo>
                    <a:pt x="8" y="72"/>
                  </a:lnTo>
                  <a:lnTo>
                    <a:pt x="24" y="66"/>
                  </a:lnTo>
                  <a:lnTo>
                    <a:pt x="33" y="72"/>
                  </a:lnTo>
                  <a:lnTo>
                    <a:pt x="43" y="72"/>
                  </a:lnTo>
                  <a:lnTo>
                    <a:pt x="27" y="64"/>
                  </a:lnTo>
                  <a:lnTo>
                    <a:pt x="47" y="68"/>
                  </a:lnTo>
                  <a:lnTo>
                    <a:pt x="57" y="70"/>
                  </a:lnTo>
                  <a:lnTo>
                    <a:pt x="74" y="74"/>
                  </a:lnTo>
                  <a:lnTo>
                    <a:pt x="78" y="74"/>
                  </a:lnTo>
                  <a:lnTo>
                    <a:pt x="41" y="53"/>
                  </a:lnTo>
                  <a:lnTo>
                    <a:pt x="57" y="35"/>
                  </a:lnTo>
                  <a:lnTo>
                    <a:pt x="31" y="35"/>
                  </a:lnTo>
                  <a:lnTo>
                    <a:pt x="22" y="8"/>
                  </a:lnTo>
                  <a:lnTo>
                    <a:pt x="33" y="0"/>
                  </a:lnTo>
                  <a:lnTo>
                    <a:pt x="64" y="4"/>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63" name="Google Shape;2363;g7826bb8c5e_0_4294"/>
            <p:cNvSpPr/>
            <p:nvPr/>
          </p:nvSpPr>
          <p:spPr>
            <a:xfrm>
              <a:off x="3014582" y="5091827"/>
              <a:ext cx="15256" cy="35498"/>
            </a:xfrm>
            <a:custGeom>
              <a:avLst/>
              <a:gdLst/>
              <a:ahLst/>
              <a:cxnLst/>
              <a:rect l="l" t="t" r="r" b="b"/>
              <a:pathLst>
                <a:path w="27" h="56" extrusionOk="0">
                  <a:moveTo>
                    <a:pt x="10" y="0"/>
                  </a:moveTo>
                  <a:lnTo>
                    <a:pt x="0" y="6"/>
                  </a:lnTo>
                  <a:lnTo>
                    <a:pt x="14" y="56"/>
                  </a:lnTo>
                  <a:lnTo>
                    <a:pt x="25" y="52"/>
                  </a:lnTo>
                  <a:lnTo>
                    <a:pt x="27" y="43"/>
                  </a:lnTo>
                  <a:lnTo>
                    <a:pt x="19" y="19"/>
                  </a:lnTo>
                  <a:lnTo>
                    <a:pt x="25" y="17"/>
                  </a:lnTo>
                  <a:lnTo>
                    <a:pt x="10" y="0"/>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64" name="Google Shape;2364;g7826bb8c5e_0_4294"/>
            <p:cNvSpPr/>
            <p:nvPr/>
          </p:nvSpPr>
          <p:spPr>
            <a:xfrm>
              <a:off x="3046364" y="5250202"/>
              <a:ext cx="16527" cy="30036"/>
            </a:xfrm>
            <a:custGeom>
              <a:avLst/>
              <a:gdLst/>
              <a:ahLst/>
              <a:cxnLst/>
              <a:rect l="l" t="t" r="r" b="b"/>
              <a:pathLst>
                <a:path w="29" h="48" extrusionOk="0">
                  <a:moveTo>
                    <a:pt x="16" y="0"/>
                  </a:moveTo>
                  <a:lnTo>
                    <a:pt x="0" y="19"/>
                  </a:lnTo>
                  <a:lnTo>
                    <a:pt x="18" y="40"/>
                  </a:lnTo>
                  <a:lnTo>
                    <a:pt x="29" y="48"/>
                  </a:lnTo>
                  <a:lnTo>
                    <a:pt x="29" y="33"/>
                  </a:lnTo>
                  <a:lnTo>
                    <a:pt x="16" y="0"/>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65" name="Google Shape;2365;g7826bb8c5e_0_4294"/>
            <p:cNvSpPr/>
            <p:nvPr/>
          </p:nvSpPr>
          <p:spPr>
            <a:xfrm>
              <a:off x="2783208" y="4093789"/>
              <a:ext cx="96617" cy="148818"/>
            </a:xfrm>
            <a:custGeom>
              <a:avLst/>
              <a:gdLst/>
              <a:ahLst/>
              <a:cxnLst/>
              <a:rect l="l" t="t" r="r" b="b"/>
              <a:pathLst>
                <a:path w="190" h="244" extrusionOk="0">
                  <a:moveTo>
                    <a:pt x="0" y="97"/>
                  </a:moveTo>
                  <a:lnTo>
                    <a:pt x="4" y="135"/>
                  </a:lnTo>
                  <a:lnTo>
                    <a:pt x="0" y="141"/>
                  </a:lnTo>
                  <a:lnTo>
                    <a:pt x="24" y="153"/>
                  </a:lnTo>
                  <a:lnTo>
                    <a:pt x="29" y="143"/>
                  </a:lnTo>
                  <a:lnTo>
                    <a:pt x="33" y="151"/>
                  </a:lnTo>
                  <a:lnTo>
                    <a:pt x="33" y="176"/>
                  </a:lnTo>
                  <a:lnTo>
                    <a:pt x="20" y="182"/>
                  </a:lnTo>
                  <a:lnTo>
                    <a:pt x="24" y="205"/>
                  </a:lnTo>
                  <a:lnTo>
                    <a:pt x="16" y="221"/>
                  </a:lnTo>
                  <a:lnTo>
                    <a:pt x="27" y="217"/>
                  </a:lnTo>
                  <a:lnTo>
                    <a:pt x="64" y="244"/>
                  </a:lnTo>
                  <a:lnTo>
                    <a:pt x="74" y="230"/>
                  </a:lnTo>
                  <a:lnTo>
                    <a:pt x="78" y="213"/>
                  </a:lnTo>
                  <a:lnTo>
                    <a:pt x="86" y="199"/>
                  </a:lnTo>
                  <a:lnTo>
                    <a:pt x="91" y="178"/>
                  </a:lnTo>
                  <a:lnTo>
                    <a:pt x="95" y="178"/>
                  </a:lnTo>
                  <a:lnTo>
                    <a:pt x="95" y="184"/>
                  </a:lnTo>
                  <a:lnTo>
                    <a:pt x="101" y="184"/>
                  </a:lnTo>
                  <a:lnTo>
                    <a:pt x="99" y="176"/>
                  </a:lnTo>
                  <a:lnTo>
                    <a:pt x="105" y="168"/>
                  </a:lnTo>
                  <a:lnTo>
                    <a:pt x="126" y="159"/>
                  </a:lnTo>
                  <a:lnTo>
                    <a:pt x="163" y="135"/>
                  </a:lnTo>
                  <a:lnTo>
                    <a:pt x="184" y="91"/>
                  </a:lnTo>
                  <a:lnTo>
                    <a:pt x="190" y="91"/>
                  </a:lnTo>
                  <a:lnTo>
                    <a:pt x="179" y="62"/>
                  </a:lnTo>
                  <a:lnTo>
                    <a:pt x="188" y="58"/>
                  </a:lnTo>
                  <a:lnTo>
                    <a:pt x="150" y="38"/>
                  </a:lnTo>
                  <a:lnTo>
                    <a:pt x="119" y="38"/>
                  </a:lnTo>
                  <a:lnTo>
                    <a:pt x="97" y="19"/>
                  </a:lnTo>
                  <a:lnTo>
                    <a:pt x="70" y="0"/>
                  </a:lnTo>
                  <a:lnTo>
                    <a:pt x="56" y="13"/>
                  </a:lnTo>
                  <a:lnTo>
                    <a:pt x="27" y="29"/>
                  </a:lnTo>
                  <a:lnTo>
                    <a:pt x="20" y="60"/>
                  </a:lnTo>
                  <a:lnTo>
                    <a:pt x="16" y="77"/>
                  </a:lnTo>
                  <a:lnTo>
                    <a:pt x="0" y="97"/>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366" name="Google Shape;2366;g7826bb8c5e_0_4294"/>
            <p:cNvSpPr/>
            <p:nvPr/>
          </p:nvSpPr>
          <p:spPr>
            <a:xfrm>
              <a:off x="2287406" y="4189360"/>
              <a:ext cx="5085" cy="5462"/>
            </a:xfrm>
            <a:custGeom>
              <a:avLst/>
              <a:gdLst/>
              <a:ahLst/>
              <a:cxnLst/>
              <a:rect l="l" t="t" r="r" b="b"/>
              <a:pathLst>
                <a:path w="8" h="8" extrusionOk="0">
                  <a:moveTo>
                    <a:pt x="8" y="2"/>
                  </a:moveTo>
                  <a:lnTo>
                    <a:pt x="2" y="8"/>
                  </a:lnTo>
                  <a:lnTo>
                    <a:pt x="0" y="0"/>
                  </a:lnTo>
                  <a:lnTo>
                    <a:pt x="8" y="2"/>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67" name="Google Shape;2367;g7826bb8c5e_0_4294"/>
            <p:cNvSpPr/>
            <p:nvPr/>
          </p:nvSpPr>
          <p:spPr>
            <a:xfrm>
              <a:off x="2775581" y="4126557"/>
              <a:ext cx="228832" cy="424609"/>
            </a:xfrm>
            <a:custGeom>
              <a:avLst/>
              <a:gdLst/>
              <a:ahLst/>
              <a:cxnLst/>
              <a:rect l="l" t="t" r="r" b="b"/>
              <a:pathLst>
                <a:path w="440" h="696" extrusionOk="0">
                  <a:moveTo>
                    <a:pt x="432" y="529"/>
                  </a:moveTo>
                  <a:lnTo>
                    <a:pt x="426" y="551"/>
                  </a:lnTo>
                  <a:lnTo>
                    <a:pt x="424" y="582"/>
                  </a:lnTo>
                  <a:lnTo>
                    <a:pt x="430" y="613"/>
                  </a:lnTo>
                  <a:lnTo>
                    <a:pt x="440" y="617"/>
                  </a:lnTo>
                  <a:lnTo>
                    <a:pt x="426" y="649"/>
                  </a:lnTo>
                  <a:lnTo>
                    <a:pt x="426" y="665"/>
                  </a:lnTo>
                  <a:lnTo>
                    <a:pt x="416" y="679"/>
                  </a:lnTo>
                  <a:lnTo>
                    <a:pt x="405" y="696"/>
                  </a:lnTo>
                  <a:lnTo>
                    <a:pt x="399" y="696"/>
                  </a:lnTo>
                  <a:lnTo>
                    <a:pt x="376" y="679"/>
                  </a:lnTo>
                  <a:lnTo>
                    <a:pt x="362" y="661"/>
                  </a:lnTo>
                  <a:lnTo>
                    <a:pt x="333" y="644"/>
                  </a:lnTo>
                  <a:lnTo>
                    <a:pt x="304" y="626"/>
                  </a:lnTo>
                  <a:lnTo>
                    <a:pt x="275" y="611"/>
                  </a:lnTo>
                  <a:lnTo>
                    <a:pt x="246" y="593"/>
                  </a:lnTo>
                  <a:lnTo>
                    <a:pt x="217" y="564"/>
                  </a:lnTo>
                  <a:lnTo>
                    <a:pt x="188" y="537"/>
                  </a:lnTo>
                  <a:lnTo>
                    <a:pt x="190" y="518"/>
                  </a:lnTo>
                  <a:lnTo>
                    <a:pt x="166" y="475"/>
                  </a:lnTo>
                  <a:lnTo>
                    <a:pt x="145" y="434"/>
                  </a:lnTo>
                  <a:lnTo>
                    <a:pt x="130" y="407"/>
                  </a:lnTo>
                  <a:lnTo>
                    <a:pt x="114" y="382"/>
                  </a:lnTo>
                  <a:lnTo>
                    <a:pt x="99" y="353"/>
                  </a:lnTo>
                  <a:lnTo>
                    <a:pt x="85" y="326"/>
                  </a:lnTo>
                  <a:lnTo>
                    <a:pt x="71" y="297"/>
                  </a:lnTo>
                  <a:lnTo>
                    <a:pt x="56" y="269"/>
                  </a:lnTo>
                  <a:lnTo>
                    <a:pt x="33" y="250"/>
                  </a:lnTo>
                  <a:lnTo>
                    <a:pt x="9" y="231"/>
                  </a:lnTo>
                  <a:lnTo>
                    <a:pt x="11" y="221"/>
                  </a:lnTo>
                  <a:lnTo>
                    <a:pt x="0" y="171"/>
                  </a:lnTo>
                  <a:lnTo>
                    <a:pt x="15" y="149"/>
                  </a:lnTo>
                  <a:lnTo>
                    <a:pt x="31" y="126"/>
                  </a:lnTo>
                  <a:lnTo>
                    <a:pt x="35" y="149"/>
                  </a:lnTo>
                  <a:lnTo>
                    <a:pt x="27" y="165"/>
                  </a:lnTo>
                  <a:lnTo>
                    <a:pt x="38" y="161"/>
                  </a:lnTo>
                  <a:lnTo>
                    <a:pt x="75" y="188"/>
                  </a:lnTo>
                  <a:lnTo>
                    <a:pt x="85" y="174"/>
                  </a:lnTo>
                  <a:lnTo>
                    <a:pt x="89" y="157"/>
                  </a:lnTo>
                  <a:lnTo>
                    <a:pt x="97" y="143"/>
                  </a:lnTo>
                  <a:lnTo>
                    <a:pt x="102" y="122"/>
                  </a:lnTo>
                  <a:lnTo>
                    <a:pt x="106" y="122"/>
                  </a:lnTo>
                  <a:lnTo>
                    <a:pt x="106" y="128"/>
                  </a:lnTo>
                  <a:lnTo>
                    <a:pt x="112" y="128"/>
                  </a:lnTo>
                  <a:lnTo>
                    <a:pt x="110" y="120"/>
                  </a:lnTo>
                  <a:lnTo>
                    <a:pt x="116" y="112"/>
                  </a:lnTo>
                  <a:lnTo>
                    <a:pt x="137" y="103"/>
                  </a:lnTo>
                  <a:lnTo>
                    <a:pt x="174" y="79"/>
                  </a:lnTo>
                  <a:lnTo>
                    <a:pt x="195" y="35"/>
                  </a:lnTo>
                  <a:lnTo>
                    <a:pt x="201" y="35"/>
                  </a:lnTo>
                  <a:lnTo>
                    <a:pt x="190" y="6"/>
                  </a:lnTo>
                  <a:lnTo>
                    <a:pt x="199" y="2"/>
                  </a:lnTo>
                  <a:lnTo>
                    <a:pt x="201" y="0"/>
                  </a:lnTo>
                  <a:lnTo>
                    <a:pt x="221" y="17"/>
                  </a:lnTo>
                  <a:lnTo>
                    <a:pt x="238" y="37"/>
                  </a:lnTo>
                  <a:lnTo>
                    <a:pt x="265" y="66"/>
                  </a:lnTo>
                  <a:lnTo>
                    <a:pt x="271" y="83"/>
                  </a:lnTo>
                  <a:lnTo>
                    <a:pt x="312" y="85"/>
                  </a:lnTo>
                  <a:lnTo>
                    <a:pt x="339" y="85"/>
                  </a:lnTo>
                  <a:lnTo>
                    <a:pt x="372" y="97"/>
                  </a:lnTo>
                  <a:lnTo>
                    <a:pt x="358" y="143"/>
                  </a:lnTo>
                  <a:lnTo>
                    <a:pt x="380" y="159"/>
                  </a:lnTo>
                  <a:lnTo>
                    <a:pt x="368" y="157"/>
                  </a:lnTo>
                  <a:lnTo>
                    <a:pt x="341" y="165"/>
                  </a:lnTo>
                  <a:lnTo>
                    <a:pt x="314" y="178"/>
                  </a:lnTo>
                  <a:lnTo>
                    <a:pt x="287" y="190"/>
                  </a:lnTo>
                  <a:lnTo>
                    <a:pt x="279" y="219"/>
                  </a:lnTo>
                  <a:lnTo>
                    <a:pt x="269" y="248"/>
                  </a:lnTo>
                  <a:lnTo>
                    <a:pt x="252" y="279"/>
                  </a:lnTo>
                  <a:lnTo>
                    <a:pt x="267" y="308"/>
                  </a:lnTo>
                  <a:lnTo>
                    <a:pt x="283" y="337"/>
                  </a:lnTo>
                  <a:lnTo>
                    <a:pt x="281" y="353"/>
                  </a:lnTo>
                  <a:lnTo>
                    <a:pt x="294" y="357"/>
                  </a:lnTo>
                  <a:lnTo>
                    <a:pt x="314" y="372"/>
                  </a:lnTo>
                  <a:lnTo>
                    <a:pt x="341" y="378"/>
                  </a:lnTo>
                  <a:lnTo>
                    <a:pt x="364" y="361"/>
                  </a:lnTo>
                  <a:lnTo>
                    <a:pt x="366" y="390"/>
                  </a:lnTo>
                  <a:lnTo>
                    <a:pt x="368" y="417"/>
                  </a:lnTo>
                  <a:lnTo>
                    <a:pt x="403" y="415"/>
                  </a:lnTo>
                  <a:lnTo>
                    <a:pt x="420" y="444"/>
                  </a:lnTo>
                  <a:lnTo>
                    <a:pt x="438" y="473"/>
                  </a:lnTo>
                  <a:lnTo>
                    <a:pt x="432" y="483"/>
                  </a:lnTo>
                  <a:lnTo>
                    <a:pt x="432" y="529"/>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368" name="Google Shape;2368;g7826bb8c5e_0_4294"/>
            <p:cNvSpPr/>
            <p:nvPr/>
          </p:nvSpPr>
          <p:spPr>
            <a:xfrm>
              <a:off x="5395705" y="2900513"/>
              <a:ext cx="892444" cy="757746"/>
            </a:xfrm>
            <a:custGeom>
              <a:avLst/>
              <a:gdLst/>
              <a:ahLst/>
              <a:cxnLst/>
              <a:rect l="l" t="t" r="r" b="b"/>
              <a:pathLst>
                <a:path w="1712" h="1246" extrusionOk="0">
                  <a:moveTo>
                    <a:pt x="764" y="907"/>
                  </a:moveTo>
                  <a:lnTo>
                    <a:pt x="741" y="928"/>
                  </a:lnTo>
                  <a:lnTo>
                    <a:pt x="718" y="950"/>
                  </a:lnTo>
                  <a:lnTo>
                    <a:pt x="687" y="961"/>
                  </a:lnTo>
                  <a:lnTo>
                    <a:pt x="669" y="950"/>
                  </a:lnTo>
                  <a:lnTo>
                    <a:pt x="623" y="944"/>
                  </a:lnTo>
                  <a:lnTo>
                    <a:pt x="601" y="979"/>
                  </a:lnTo>
                  <a:lnTo>
                    <a:pt x="586" y="948"/>
                  </a:lnTo>
                  <a:lnTo>
                    <a:pt x="572" y="957"/>
                  </a:lnTo>
                  <a:lnTo>
                    <a:pt x="531" y="954"/>
                  </a:lnTo>
                  <a:lnTo>
                    <a:pt x="502" y="950"/>
                  </a:lnTo>
                  <a:lnTo>
                    <a:pt x="469" y="936"/>
                  </a:lnTo>
                  <a:lnTo>
                    <a:pt x="464" y="928"/>
                  </a:lnTo>
                  <a:lnTo>
                    <a:pt x="435" y="915"/>
                  </a:lnTo>
                  <a:lnTo>
                    <a:pt x="423" y="903"/>
                  </a:lnTo>
                  <a:lnTo>
                    <a:pt x="409" y="907"/>
                  </a:lnTo>
                  <a:lnTo>
                    <a:pt x="367" y="874"/>
                  </a:lnTo>
                  <a:lnTo>
                    <a:pt x="340" y="859"/>
                  </a:lnTo>
                  <a:lnTo>
                    <a:pt x="326" y="872"/>
                  </a:lnTo>
                  <a:lnTo>
                    <a:pt x="324" y="868"/>
                  </a:lnTo>
                  <a:lnTo>
                    <a:pt x="293" y="847"/>
                  </a:lnTo>
                  <a:lnTo>
                    <a:pt x="254" y="826"/>
                  </a:lnTo>
                  <a:lnTo>
                    <a:pt x="237" y="820"/>
                  </a:lnTo>
                  <a:lnTo>
                    <a:pt x="223" y="779"/>
                  </a:lnTo>
                  <a:lnTo>
                    <a:pt x="243" y="781"/>
                  </a:lnTo>
                  <a:lnTo>
                    <a:pt x="248" y="767"/>
                  </a:lnTo>
                  <a:lnTo>
                    <a:pt x="227" y="738"/>
                  </a:lnTo>
                  <a:lnTo>
                    <a:pt x="227" y="725"/>
                  </a:lnTo>
                  <a:lnTo>
                    <a:pt x="223" y="715"/>
                  </a:lnTo>
                  <a:lnTo>
                    <a:pt x="217" y="707"/>
                  </a:lnTo>
                  <a:lnTo>
                    <a:pt x="212" y="700"/>
                  </a:lnTo>
                  <a:lnTo>
                    <a:pt x="212" y="690"/>
                  </a:lnTo>
                  <a:lnTo>
                    <a:pt x="208" y="680"/>
                  </a:lnTo>
                  <a:lnTo>
                    <a:pt x="196" y="676"/>
                  </a:lnTo>
                  <a:lnTo>
                    <a:pt x="181" y="670"/>
                  </a:lnTo>
                  <a:lnTo>
                    <a:pt x="171" y="667"/>
                  </a:lnTo>
                  <a:lnTo>
                    <a:pt x="128" y="655"/>
                  </a:lnTo>
                  <a:lnTo>
                    <a:pt x="105" y="643"/>
                  </a:lnTo>
                  <a:lnTo>
                    <a:pt x="89" y="618"/>
                  </a:lnTo>
                  <a:lnTo>
                    <a:pt x="53" y="608"/>
                  </a:lnTo>
                  <a:lnTo>
                    <a:pt x="51" y="601"/>
                  </a:lnTo>
                  <a:lnTo>
                    <a:pt x="60" y="601"/>
                  </a:lnTo>
                  <a:lnTo>
                    <a:pt x="62" y="601"/>
                  </a:lnTo>
                  <a:lnTo>
                    <a:pt x="66" y="599"/>
                  </a:lnTo>
                  <a:lnTo>
                    <a:pt x="47" y="554"/>
                  </a:lnTo>
                  <a:lnTo>
                    <a:pt x="18" y="552"/>
                  </a:lnTo>
                  <a:lnTo>
                    <a:pt x="0" y="521"/>
                  </a:lnTo>
                  <a:lnTo>
                    <a:pt x="12" y="492"/>
                  </a:lnTo>
                  <a:lnTo>
                    <a:pt x="33" y="479"/>
                  </a:lnTo>
                  <a:lnTo>
                    <a:pt x="49" y="479"/>
                  </a:lnTo>
                  <a:lnTo>
                    <a:pt x="66" y="482"/>
                  </a:lnTo>
                  <a:lnTo>
                    <a:pt x="88" y="457"/>
                  </a:lnTo>
                  <a:lnTo>
                    <a:pt x="121" y="449"/>
                  </a:lnTo>
                  <a:lnTo>
                    <a:pt x="144" y="430"/>
                  </a:lnTo>
                  <a:lnTo>
                    <a:pt x="167" y="411"/>
                  </a:lnTo>
                  <a:lnTo>
                    <a:pt x="159" y="393"/>
                  </a:lnTo>
                  <a:lnTo>
                    <a:pt x="167" y="385"/>
                  </a:lnTo>
                  <a:lnTo>
                    <a:pt x="167" y="378"/>
                  </a:lnTo>
                  <a:lnTo>
                    <a:pt x="152" y="351"/>
                  </a:lnTo>
                  <a:lnTo>
                    <a:pt x="138" y="323"/>
                  </a:lnTo>
                  <a:lnTo>
                    <a:pt x="119" y="314"/>
                  </a:lnTo>
                  <a:lnTo>
                    <a:pt x="155" y="300"/>
                  </a:lnTo>
                  <a:lnTo>
                    <a:pt x="196" y="304"/>
                  </a:lnTo>
                  <a:lnTo>
                    <a:pt x="184" y="290"/>
                  </a:lnTo>
                  <a:lnTo>
                    <a:pt x="181" y="257"/>
                  </a:lnTo>
                  <a:lnTo>
                    <a:pt x="177" y="226"/>
                  </a:lnTo>
                  <a:lnTo>
                    <a:pt x="225" y="234"/>
                  </a:lnTo>
                  <a:lnTo>
                    <a:pt x="254" y="232"/>
                  </a:lnTo>
                  <a:lnTo>
                    <a:pt x="239" y="192"/>
                  </a:lnTo>
                  <a:lnTo>
                    <a:pt x="252" y="182"/>
                  </a:lnTo>
                  <a:lnTo>
                    <a:pt x="266" y="157"/>
                  </a:lnTo>
                  <a:lnTo>
                    <a:pt x="287" y="153"/>
                  </a:lnTo>
                  <a:lnTo>
                    <a:pt x="291" y="159"/>
                  </a:lnTo>
                  <a:lnTo>
                    <a:pt x="303" y="172"/>
                  </a:lnTo>
                  <a:lnTo>
                    <a:pt x="347" y="199"/>
                  </a:lnTo>
                  <a:lnTo>
                    <a:pt x="371" y="203"/>
                  </a:lnTo>
                  <a:lnTo>
                    <a:pt x="415" y="236"/>
                  </a:lnTo>
                  <a:lnTo>
                    <a:pt x="427" y="265"/>
                  </a:lnTo>
                  <a:lnTo>
                    <a:pt x="438" y="296"/>
                  </a:lnTo>
                  <a:lnTo>
                    <a:pt x="473" y="302"/>
                  </a:lnTo>
                  <a:lnTo>
                    <a:pt x="510" y="308"/>
                  </a:lnTo>
                  <a:lnTo>
                    <a:pt x="553" y="321"/>
                  </a:lnTo>
                  <a:lnTo>
                    <a:pt x="597" y="335"/>
                  </a:lnTo>
                  <a:lnTo>
                    <a:pt x="625" y="364"/>
                  </a:lnTo>
                  <a:lnTo>
                    <a:pt x="652" y="393"/>
                  </a:lnTo>
                  <a:lnTo>
                    <a:pt x="694" y="395"/>
                  </a:lnTo>
                  <a:lnTo>
                    <a:pt x="737" y="399"/>
                  </a:lnTo>
                  <a:lnTo>
                    <a:pt x="780" y="401"/>
                  </a:lnTo>
                  <a:lnTo>
                    <a:pt x="822" y="403"/>
                  </a:lnTo>
                  <a:lnTo>
                    <a:pt x="834" y="413"/>
                  </a:lnTo>
                  <a:lnTo>
                    <a:pt x="873" y="420"/>
                  </a:lnTo>
                  <a:lnTo>
                    <a:pt x="909" y="428"/>
                  </a:lnTo>
                  <a:lnTo>
                    <a:pt x="935" y="438"/>
                  </a:lnTo>
                  <a:lnTo>
                    <a:pt x="956" y="424"/>
                  </a:lnTo>
                  <a:lnTo>
                    <a:pt x="979" y="411"/>
                  </a:lnTo>
                  <a:lnTo>
                    <a:pt x="1016" y="407"/>
                  </a:lnTo>
                  <a:lnTo>
                    <a:pt x="1053" y="405"/>
                  </a:lnTo>
                  <a:lnTo>
                    <a:pt x="1080" y="382"/>
                  </a:lnTo>
                  <a:lnTo>
                    <a:pt x="1107" y="358"/>
                  </a:lnTo>
                  <a:lnTo>
                    <a:pt x="1088" y="339"/>
                  </a:lnTo>
                  <a:lnTo>
                    <a:pt x="1082" y="304"/>
                  </a:lnTo>
                  <a:lnTo>
                    <a:pt x="1127" y="316"/>
                  </a:lnTo>
                  <a:lnTo>
                    <a:pt x="1156" y="300"/>
                  </a:lnTo>
                  <a:lnTo>
                    <a:pt x="1187" y="290"/>
                  </a:lnTo>
                  <a:lnTo>
                    <a:pt x="1192" y="265"/>
                  </a:lnTo>
                  <a:lnTo>
                    <a:pt x="1227" y="248"/>
                  </a:lnTo>
                  <a:lnTo>
                    <a:pt x="1280" y="250"/>
                  </a:lnTo>
                  <a:lnTo>
                    <a:pt x="1270" y="230"/>
                  </a:lnTo>
                  <a:lnTo>
                    <a:pt x="1204" y="195"/>
                  </a:lnTo>
                  <a:lnTo>
                    <a:pt x="1189" y="211"/>
                  </a:lnTo>
                  <a:lnTo>
                    <a:pt x="1177" y="203"/>
                  </a:lnTo>
                  <a:lnTo>
                    <a:pt x="1146" y="205"/>
                  </a:lnTo>
                  <a:lnTo>
                    <a:pt x="1121" y="190"/>
                  </a:lnTo>
                  <a:lnTo>
                    <a:pt x="1129" y="188"/>
                  </a:lnTo>
                  <a:lnTo>
                    <a:pt x="1125" y="159"/>
                  </a:lnTo>
                  <a:lnTo>
                    <a:pt x="1121" y="130"/>
                  </a:lnTo>
                  <a:lnTo>
                    <a:pt x="1163" y="137"/>
                  </a:lnTo>
                  <a:lnTo>
                    <a:pt x="1185" y="112"/>
                  </a:lnTo>
                  <a:lnTo>
                    <a:pt x="1175" y="87"/>
                  </a:lnTo>
                  <a:lnTo>
                    <a:pt x="1175" y="40"/>
                  </a:lnTo>
                  <a:lnTo>
                    <a:pt x="1154" y="27"/>
                  </a:lnTo>
                  <a:lnTo>
                    <a:pt x="1140" y="21"/>
                  </a:lnTo>
                  <a:lnTo>
                    <a:pt x="1161" y="2"/>
                  </a:lnTo>
                  <a:lnTo>
                    <a:pt x="1198" y="0"/>
                  </a:lnTo>
                  <a:lnTo>
                    <a:pt x="1235" y="0"/>
                  </a:lnTo>
                  <a:lnTo>
                    <a:pt x="1313" y="23"/>
                  </a:lnTo>
                  <a:lnTo>
                    <a:pt x="1342" y="48"/>
                  </a:lnTo>
                  <a:lnTo>
                    <a:pt x="1373" y="73"/>
                  </a:lnTo>
                  <a:lnTo>
                    <a:pt x="1404" y="100"/>
                  </a:lnTo>
                  <a:lnTo>
                    <a:pt x="1433" y="126"/>
                  </a:lnTo>
                  <a:lnTo>
                    <a:pt x="1466" y="139"/>
                  </a:lnTo>
                  <a:lnTo>
                    <a:pt x="1520" y="155"/>
                  </a:lnTo>
                  <a:lnTo>
                    <a:pt x="1551" y="166"/>
                  </a:lnTo>
                  <a:lnTo>
                    <a:pt x="1590" y="207"/>
                  </a:lnTo>
                  <a:lnTo>
                    <a:pt x="1634" y="201"/>
                  </a:lnTo>
                  <a:lnTo>
                    <a:pt x="1681" y="186"/>
                  </a:lnTo>
                  <a:lnTo>
                    <a:pt x="1700" y="219"/>
                  </a:lnTo>
                  <a:lnTo>
                    <a:pt x="1706" y="261"/>
                  </a:lnTo>
                  <a:lnTo>
                    <a:pt x="1712" y="306"/>
                  </a:lnTo>
                  <a:lnTo>
                    <a:pt x="1671" y="300"/>
                  </a:lnTo>
                  <a:lnTo>
                    <a:pt x="1665" y="320"/>
                  </a:lnTo>
                  <a:lnTo>
                    <a:pt x="1687" y="352"/>
                  </a:lnTo>
                  <a:lnTo>
                    <a:pt x="1708" y="387"/>
                  </a:lnTo>
                  <a:lnTo>
                    <a:pt x="1695" y="395"/>
                  </a:lnTo>
                  <a:lnTo>
                    <a:pt x="1702" y="405"/>
                  </a:lnTo>
                  <a:lnTo>
                    <a:pt x="1667" y="385"/>
                  </a:lnTo>
                  <a:lnTo>
                    <a:pt x="1667" y="405"/>
                  </a:lnTo>
                  <a:lnTo>
                    <a:pt x="1646" y="420"/>
                  </a:lnTo>
                  <a:lnTo>
                    <a:pt x="1636" y="424"/>
                  </a:lnTo>
                  <a:lnTo>
                    <a:pt x="1648" y="444"/>
                  </a:lnTo>
                  <a:lnTo>
                    <a:pt x="1611" y="432"/>
                  </a:lnTo>
                  <a:lnTo>
                    <a:pt x="1600" y="440"/>
                  </a:lnTo>
                  <a:lnTo>
                    <a:pt x="1580" y="473"/>
                  </a:lnTo>
                  <a:lnTo>
                    <a:pt x="1561" y="492"/>
                  </a:lnTo>
                  <a:lnTo>
                    <a:pt x="1545" y="502"/>
                  </a:lnTo>
                  <a:lnTo>
                    <a:pt x="1528" y="517"/>
                  </a:lnTo>
                  <a:lnTo>
                    <a:pt x="1508" y="531"/>
                  </a:lnTo>
                  <a:lnTo>
                    <a:pt x="1483" y="541"/>
                  </a:lnTo>
                  <a:lnTo>
                    <a:pt x="1497" y="519"/>
                  </a:lnTo>
                  <a:lnTo>
                    <a:pt x="1475" y="511"/>
                  </a:lnTo>
                  <a:lnTo>
                    <a:pt x="1483" y="475"/>
                  </a:lnTo>
                  <a:lnTo>
                    <a:pt x="1466" y="465"/>
                  </a:lnTo>
                  <a:lnTo>
                    <a:pt x="1444" y="469"/>
                  </a:lnTo>
                  <a:lnTo>
                    <a:pt x="1431" y="492"/>
                  </a:lnTo>
                  <a:lnTo>
                    <a:pt x="1413" y="517"/>
                  </a:lnTo>
                  <a:lnTo>
                    <a:pt x="1392" y="531"/>
                  </a:lnTo>
                  <a:lnTo>
                    <a:pt x="1375" y="533"/>
                  </a:lnTo>
                  <a:lnTo>
                    <a:pt x="1386" y="558"/>
                  </a:lnTo>
                  <a:lnTo>
                    <a:pt x="1429" y="572"/>
                  </a:lnTo>
                  <a:lnTo>
                    <a:pt x="1446" y="603"/>
                  </a:lnTo>
                  <a:lnTo>
                    <a:pt x="1470" y="597"/>
                  </a:lnTo>
                  <a:lnTo>
                    <a:pt x="1495" y="579"/>
                  </a:lnTo>
                  <a:lnTo>
                    <a:pt x="1536" y="595"/>
                  </a:lnTo>
                  <a:lnTo>
                    <a:pt x="1555" y="599"/>
                  </a:lnTo>
                  <a:lnTo>
                    <a:pt x="1555" y="616"/>
                  </a:lnTo>
                  <a:lnTo>
                    <a:pt x="1538" y="614"/>
                  </a:lnTo>
                  <a:lnTo>
                    <a:pt x="1516" y="628"/>
                  </a:lnTo>
                  <a:lnTo>
                    <a:pt x="1505" y="645"/>
                  </a:lnTo>
                  <a:lnTo>
                    <a:pt x="1499" y="657"/>
                  </a:lnTo>
                  <a:lnTo>
                    <a:pt x="1493" y="696"/>
                  </a:lnTo>
                  <a:lnTo>
                    <a:pt x="1539" y="723"/>
                  </a:lnTo>
                  <a:lnTo>
                    <a:pt x="1561" y="752"/>
                  </a:lnTo>
                  <a:lnTo>
                    <a:pt x="1584" y="781"/>
                  </a:lnTo>
                  <a:lnTo>
                    <a:pt x="1619" y="812"/>
                  </a:lnTo>
                  <a:lnTo>
                    <a:pt x="1569" y="797"/>
                  </a:lnTo>
                  <a:lnTo>
                    <a:pt x="1570" y="800"/>
                  </a:lnTo>
                  <a:lnTo>
                    <a:pt x="1600" y="820"/>
                  </a:lnTo>
                  <a:lnTo>
                    <a:pt x="1631" y="839"/>
                  </a:lnTo>
                  <a:lnTo>
                    <a:pt x="1600" y="862"/>
                  </a:lnTo>
                  <a:lnTo>
                    <a:pt x="1590" y="868"/>
                  </a:lnTo>
                  <a:lnTo>
                    <a:pt x="1609" y="872"/>
                  </a:lnTo>
                  <a:lnTo>
                    <a:pt x="1629" y="870"/>
                  </a:lnTo>
                  <a:lnTo>
                    <a:pt x="1652" y="882"/>
                  </a:lnTo>
                  <a:lnTo>
                    <a:pt x="1640" y="895"/>
                  </a:lnTo>
                  <a:lnTo>
                    <a:pt x="1652" y="895"/>
                  </a:lnTo>
                  <a:lnTo>
                    <a:pt x="1650" y="903"/>
                  </a:lnTo>
                  <a:lnTo>
                    <a:pt x="1640" y="911"/>
                  </a:lnTo>
                  <a:lnTo>
                    <a:pt x="1644" y="917"/>
                  </a:lnTo>
                  <a:lnTo>
                    <a:pt x="1646" y="926"/>
                  </a:lnTo>
                  <a:lnTo>
                    <a:pt x="1640" y="926"/>
                  </a:lnTo>
                  <a:lnTo>
                    <a:pt x="1650" y="940"/>
                  </a:lnTo>
                  <a:lnTo>
                    <a:pt x="1642" y="942"/>
                  </a:lnTo>
                  <a:lnTo>
                    <a:pt x="1623" y="952"/>
                  </a:lnTo>
                  <a:lnTo>
                    <a:pt x="1631" y="961"/>
                  </a:lnTo>
                  <a:lnTo>
                    <a:pt x="1625" y="981"/>
                  </a:lnTo>
                  <a:lnTo>
                    <a:pt x="1615" y="1008"/>
                  </a:lnTo>
                  <a:lnTo>
                    <a:pt x="1609" y="1010"/>
                  </a:lnTo>
                  <a:lnTo>
                    <a:pt x="1615" y="1018"/>
                  </a:lnTo>
                  <a:lnTo>
                    <a:pt x="1601" y="1027"/>
                  </a:lnTo>
                  <a:lnTo>
                    <a:pt x="1598" y="1025"/>
                  </a:lnTo>
                  <a:lnTo>
                    <a:pt x="1613" y="1033"/>
                  </a:lnTo>
                  <a:lnTo>
                    <a:pt x="1615" y="1050"/>
                  </a:lnTo>
                  <a:lnTo>
                    <a:pt x="1605" y="1049"/>
                  </a:lnTo>
                  <a:lnTo>
                    <a:pt x="1605" y="1058"/>
                  </a:lnTo>
                  <a:lnTo>
                    <a:pt x="1600" y="1066"/>
                  </a:lnTo>
                  <a:lnTo>
                    <a:pt x="1596" y="1070"/>
                  </a:lnTo>
                  <a:lnTo>
                    <a:pt x="1594" y="1083"/>
                  </a:lnTo>
                  <a:lnTo>
                    <a:pt x="1576" y="1085"/>
                  </a:lnTo>
                  <a:lnTo>
                    <a:pt x="1572" y="1089"/>
                  </a:lnTo>
                  <a:lnTo>
                    <a:pt x="1574" y="1097"/>
                  </a:lnTo>
                  <a:lnTo>
                    <a:pt x="1565" y="1109"/>
                  </a:lnTo>
                  <a:lnTo>
                    <a:pt x="1538" y="1130"/>
                  </a:lnTo>
                  <a:lnTo>
                    <a:pt x="1539" y="1134"/>
                  </a:lnTo>
                  <a:lnTo>
                    <a:pt x="1528" y="1144"/>
                  </a:lnTo>
                  <a:lnTo>
                    <a:pt x="1508" y="1147"/>
                  </a:lnTo>
                  <a:lnTo>
                    <a:pt x="1507" y="1149"/>
                  </a:lnTo>
                  <a:lnTo>
                    <a:pt x="1503" y="1151"/>
                  </a:lnTo>
                  <a:lnTo>
                    <a:pt x="1487" y="1155"/>
                  </a:lnTo>
                  <a:lnTo>
                    <a:pt x="1479" y="1151"/>
                  </a:lnTo>
                  <a:lnTo>
                    <a:pt x="1472" y="1159"/>
                  </a:lnTo>
                  <a:lnTo>
                    <a:pt x="1470" y="1165"/>
                  </a:lnTo>
                  <a:lnTo>
                    <a:pt x="1458" y="1163"/>
                  </a:lnTo>
                  <a:lnTo>
                    <a:pt x="1441" y="1138"/>
                  </a:lnTo>
                  <a:lnTo>
                    <a:pt x="1433" y="1147"/>
                  </a:lnTo>
                  <a:lnTo>
                    <a:pt x="1441" y="1175"/>
                  </a:lnTo>
                  <a:lnTo>
                    <a:pt x="1433" y="1165"/>
                  </a:lnTo>
                  <a:lnTo>
                    <a:pt x="1433" y="1178"/>
                  </a:lnTo>
                  <a:lnTo>
                    <a:pt x="1427" y="1177"/>
                  </a:lnTo>
                  <a:lnTo>
                    <a:pt x="1415" y="1190"/>
                  </a:lnTo>
                  <a:lnTo>
                    <a:pt x="1406" y="1180"/>
                  </a:lnTo>
                  <a:lnTo>
                    <a:pt x="1404" y="1188"/>
                  </a:lnTo>
                  <a:lnTo>
                    <a:pt x="1392" y="1188"/>
                  </a:lnTo>
                  <a:lnTo>
                    <a:pt x="1373" y="1200"/>
                  </a:lnTo>
                  <a:lnTo>
                    <a:pt x="1355" y="1206"/>
                  </a:lnTo>
                  <a:lnTo>
                    <a:pt x="1348" y="1208"/>
                  </a:lnTo>
                  <a:lnTo>
                    <a:pt x="1346" y="1225"/>
                  </a:lnTo>
                  <a:lnTo>
                    <a:pt x="1353" y="1246"/>
                  </a:lnTo>
                  <a:lnTo>
                    <a:pt x="1336" y="1242"/>
                  </a:lnTo>
                  <a:lnTo>
                    <a:pt x="1328" y="1206"/>
                  </a:lnTo>
                  <a:lnTo>
                    <a:pt x="1318" y="1196"/>
                  </a:lnTo>
                  <a:lnTo>
                    <a:pt x="1305" y="1198"/>
                  </a:lnTo>
                  <a:lnTo>
                    <a:pt x="1293" y="1194"/>
                  </a:lnTo>
                  <a:lnTo>
                    <a:pt x="1280" y="1188"/>
                  </a:lnTo>
                  <a:lnTo>
                    <a:pt x="1278" y="1192"/>
                  </a:lnTo>
                  <a:lnTo>
                    <a:pt x="1266" y="1198"/>
                  </a:lnTo>
                  <a:lnTo>
                    <a:pt x="1233" y="1184"/>
                  </a:lnTo>
                  <a:lnTo>
                    <a:pt x="1218" y="1173"/>
                  </a:lnTo>
                  <a:lnTo>
                    <a:pt x="1214" y="1147"/>
                  </a:lnTo>
                  <a:lnTo>
                    <a:pt x="1173" y="1136"/>
                  </a:lnTo>
                  <a:lnTo>
                    <a:pt x="1160" y="1134"/>
                  </a:lnTo>
                  <a:lnTo>
                    <a:pt x="1140" y="1155"/>
                  </a:lnTo>
                  <a:lnTo>
                    <a:pt x="1129" y="1155"/>
                  </a:lnTo>
                  <a:lnTo>
                    <a:pt x="1123" y="1157"/>
                  </a:lnTo>
                  <a:lnTo>
                    <a:pt x="1115" y="1155"/>
                  </a:lnTo>
                  <a:lnTo>
                    <a:pt x="1101" y="1157"/>
                  </a:lnTo>
                  <a:lnTo>
                    <a:pt x="1094" y="1163"/>
                  </a:lnTo>
                  <a:lnTo>
                    <a:pt x="1076" y="1157"/>
                  </a:lnTo>
                  <a:lnTo>
                    <a:pt x="1068" y="1165"/>
                  </a:lnTo>
                  <a:lnTo>
                    <a:pt x="1053" y="1167"/>
                  </a:lnTo>
                  <a:lnTo>
                    <a:pt x="1061" y="1211"/>
                  </a:lnTo>
                  <a:lnTo>
                    <a:pt x="1045" y="1204"/>
                  </a:lnTo>
                  <a:lnTo>
                    <a:pt x="1041" y="1198"/>
                  </a:lnTo>
                  <a:lnTo>
                    <a:pt x="1032" y="1192"/>
                  </a:lnTo>
                  <a:lnTo>
                    <a:pt x="1006" y="1200"/>
                  </a:lnTo>
                  <a:lnTo>
                    <a:pt x="991" y="1178"/>
                  </a:lnTo>
                  <a:lnTo>
                    <a:pt x="973" y="1171"/>
                  </a:lnTo>
                  <a:lnTo>
                    <a:pt x="977" y="1140"/>
                  </a:lnTo>
                  <a:lnTo>
                    <a:pt x="956" y="1130"/>
                  </a:lnTo>
                  <a:lnTo>
                    <a:pt x="946" y="1105"/>
                  </a:lnTo>
                  <a:lnTo>
                    <a:pt x="944" y="1101"/>
                  </a:lnTo>
                  <a:lnTo>
                    <a:pt x="909" y="1105"/>
                  </a:lnTo>
                  <a:lnTo>
                    <a:pt x="909" y="1087"/>
                  </a:lnTo>
                  <a:lnTo>
                    <a:pt x="908" y="1074"/>
                  </a:lnTo>
                  <a:lnTo>
                    <a:pt x="923" y="1045"/>
                  </a:lnTo>
                  <a:lnTo>
                    <a:pt x="927" y="1029"/>
                  </a:lnTo>
                  <a:lnTo>
                    <a:pt x="921" y="998"/>
                  </a:lnTo>
                  <a:lnTo>
                    <a:pt x="913" y="967"/>
                  </a:lnTo>
                  <a:lnTo>
                    <a:pt x="900" y="959"/>
                  </a:lnTo>
                  <a:lnTo>
                    <a:pt x="873" y="932"/>
                  </a:lnTo>
                  <a:lnTo>
                    <a:pt x="867" y="944"/>
                  </a:lnTo>
                  <a:lnTo>
                    <a:pt x="832" y="932"/>
                  </a:lnTo>
                  <a:lnTo>
                    <a:pt x="834" y="915"/>
                  </a:lnTo>
                  <a:lnTo>
                    <a:pt x="820" y="911"/>
                  </a:lnTo>
                  <a:lnTo>
                    <a:pt x="822" y="905"/>
                  </a:lnTo>
                  <a:lnTo>
                    <a:pt x="809" y="901"/>
                  </a:lnTo>
                  <a:lnTo>
                    <a:pt x="791" y="911"/>
                  </a:lnTo>
                  <a:lnTo>
                    <a:pt x="764" y="907"/>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69" name="Google Shape;2369;g7826bb8c5e_0_4294"/>
            <p:cNvSpPr/>
            <p:nvPr/>
          </p:nvSpPr>
          <p:spPr>
            <a:xfrm>
              <a:off x="6078386" y="3665084"/>
              <a:ext cx="36867" cy="39595"/>
            </a:xfrm>
            <a:custGeom>
              <a:avLst/>
              <a:gdLst/>
              <a:ahLst/>
              <a:cxnLst/>
              <a:rect l="l" t="t" r="r" b="b"/>
              <a:pathLst>
                <a:path w="72" h="66" extrusionOk="0">
                  <a:moveTo>
                    <a:pt x="54" y="0"/>
                  </a:moveTo>
                  <a:lnTo>
                    <a:pt x="21" y="6"/>
                  </a:lnTo>
                  <a:lnTo>
                    <a:pt x="0" y="23"/>
                  </a:lnTo>
                  <a:lnTo>
                    <a:pt x="0" y="54"/>
                  </a:lnTo>
                  <a:lnTo>
                    <a:pt x="27" y="66"/>
                  </a:lnTo>
                  <a:lnTo>
                    <a:pt x="41" y="62"/>
                  </a:lnTo>
                  <a:lnTo>
                    <a:pt x="58" y="39"/>
                  </a:lnTo>
                  <a:lnTo>
                    <a:pt x="72" y="16"/>
                  </a:lnTo>
                  <a:lnTo>
                    <a:pt x="68" y="2"/>
                  </a:lnTo>
                  <a:lnTo>
                    <a:pt x="54"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70" name="Google Shape;2370;g7826bb8c5e_0_4294"/>
            <p:cNvSpPr/>
            <p:nvPr/>
          </p:nvSpPr>
          <p:spPr>
            <a:xfrm>
              <a:off x="6373325" y="3169479"/>
              <a:ext cx="147469" cy="184316"/>
            </a:xfrm>
            <a:custGeom>
              <a:avLst/>
              <a:gdLst/>
              <a:ahLst/>
              <a:cxnLst/>
              <a:rect l="l" t="t" r="r" b="b"/>
              <a:pathLst>
                <a:path w="285" h="302" extrusionOk="0">
                  <a:moveTo>
                    <a:pt x="267" y="228"/>
                  </a:moveTo>
                  <a:lnTo>
                    <a:pt x="260" y="219"/>
                  </a:lnTo>
                  <a:lnTo>
                    <a:pt x="260" y="236"/>
                  </a:lnTo>
                  <a:lnTo>
                    <a:pt x="246" y="242"/>
                  </a:lnTo>
                  <a:lnTo>
                    <a:pt x="242" y="258"/>
                  </a:lnTo>
                  <a:lnTo>
                    <a:pt x="234" y="240"/>
                  </a:lnTo>
                  <a:lnTo>
                    <a:pt x="227" y="259"/>
                  </a:lnTo>
                  <a:lnTo>
                    <a:pt x="192" y="258"/>
                  </a:lnTo>
                  <a:lnTo>
                    <a:pt x="182" y="252"/>
                  </a:lnTo>
                  <a:lnTo>
                    <a:pt x="172" y="244"/>
                  </a:lnTo>
                  <a:lnTo>
                    <a:pt x="178" y="261"/>
                  </a:lnTo>
                  <a:lnTo>
                    <a:pt x="186" y="271"/>
                  </a:lnTo>
                  <a:lnTo>
                    <a:pt x="171" y="287"/>
                  </a:lnTo>
                  <a:lnTo>
                    <a:pt x="167" y="302"/>
                  </a:lnTo>
                  <a:lnTo>
                    <a:pt x="136" y="279"/>
                  </a:lnTo>
                  <a:lnTo>
                    <a:pt x="134" y="256"/>
                  </a:lnTo>
                  <a:lnTo>
                    <a:pt x="95" y="259"/>
                  </a:lnTo>
                  <a:lnTo>
                    <a:pt x="50" y="269"/>
                  </a:lnTo>
                  <a:lnTo>
                    <a:pt x="39" y="285"/>
                  </a:lnTo>
                  <a:lnTo>
                    <a:pt x="0" y="279"/>
                  </a:lnTo>
                  <a:lnTo>
                    <a:pt x="8" y="265"/>
                  </a:lnTo>
                  <a:lnTo>
                    <a:pt x="29" y="244"/>
                  </a:lnTo>
                  <a:lnTo>
                    <a:pt x="48" y="223"/>
                  </a:lnTo>
                  <a:lnTo>
                    <a:pt x="81" y="221"/>
                  </a:lnTo>
                  <a:lnTo>
                    <a:pt x="114" y="219"/>
                  </a:lnTo>
                  <a:lnTo>
                    <a:pt x="120" y="223"/>
                  </a:lnTo>
                  <a:lnTo>
                    <a:pt x="138" y="215"/>
                  </a:lnTo>
                  <a:lnTo>
                    <a:pt x="134" y="194"/>
                  </a:lnTo>
                  <a:lnTo>
                    <a:pt x="130" y="163"/>
                  </a:lnTo>
                  <a:lnTo>
                    <a:pt x="143" y="155"/>
                  </a:lnTo>
                  <a:lnTo>
                    <a:pt x="143" y="164"/>
                  </a:lnTo>
                  <a:lnTo>
                    <a:pt x="153" y="178"/>
                  </a:lnTo>
                  <a:lnTo>
                    <a:pt x="171" y="163"/>
                  </a:lnTo>
                  <a:lnTo>
                    <a:pt x="186" y="145"/>
                  </a:lnTo>
                  <a:lnTo>
                    <a:pt x="188" y="118"/>
                  </a:lnTo>
                  <a:lnTo>
                    <a:pt x="192" y="89"/>
                  </a:lnTo>
                  <a:lnTo>
                    <a:pt x="174" y="60"/>
                  </a:lnTo>
                  <a:lnTo>
                    <a:pt x="163" y="27"/>
                  </a:lnTo>
                  <a:lnTo>
                    <a:pt x="165" y="9"/>
                  </a:lnTo>
                  <a:lnTo>
                    <a:pt x="180" y="19"/>
                  </a:lnTo>
                  <a:lnTo>
                    <a:pt x="190" y="13"/>
                  </a:lnTo>
                  <a:lnTo>
                    <a:pt x="186" y="7"/>
                  </a:lnTo>
                  <a:lnTo>
                    <a:pt x="172" y="7"/>
                  </a:lnTo>
                  <a:lnTo>
                    <a:pt x="176" y="0"/>
                  </a:lnTo>
                  <a:lnTo>
                    <a:pt x="190" y="6"/>
                  </a:lnTo>
                  <a:lnTo>
                    <a:pt x="219" y="38"/>
                  </a:lnTo>
                  <a:lnTo>
                    <a:pt x="250" y="71"/>
                  </a:lnTo>
                  <a:lnTo>
                    <a:pt x="254" y="116"/>
                  </a:lnTo>
                  <a:lnTo>
                    <a:pt x="244" y="130"/>
                  </a:lnTo>
                  <a:lnTo>
                    <a:pt x="266" y="176"/>
                  </a:lnTo>
                  <a:lnTo>
                    <a:pt x="285" y="213"/>
                  </a:lnTo>
                  <a:lnTo>
                    <a:pt x="273" y="248"/>
                  </a:lnTo>
                  <a:lnTo>
                    <a:pt x="267" y="228"/>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71" name="Google Shape;2371;g7826bb8c5e_0_4294"/>
            <p:cNvSpPr/>
            <p:nvPr/>
          </p:nvSpPr>
          <p:spPr>
            <a:xfrm>
              <a:off x="6424177" y="3079369"/>
              <a:ext cx="86448" cy="90110"/>
            </a:xfrm>
            <a:custGeom>
              <a:avLst/>
              <a:gdLst/>
              <a:ahLst/>
              <a:cxnLst/>
              <a:rect l="l" t="t" r="r" b="b"/>
              <a:pathLst>
                <a:path w="165" h="152" extrusionOk="0">
                  <a:moveTo>
                    <a:pt x="128" y="57"/>
                  </a:moveTo>
                  <a:lnTo>
                    <a:pt x="99" y="51"/>
                  </a:lnTo>
                  <a:lnTo>
                    <a:pt x="50" y="26"/>
                  </a:lnTo>
                  <a:lnTo>
                    <a:pt x="0" y="0"/>
                  </a:lnTo>
                  <a:lnTo>
                    <a:pt x="9" y="20"/>
                  </a:lnTo>
                  <a:lnTo>
                    <a:pt x="25" y="51"/>
                  </a:lnTo>
                  <a:lnTo>
                    <a:pt x="40" y="82"/>
                  </a:lnTo>
                  <a:lnTo>
                    <a:pt x="19" y="84"/>
                  </a:lnTo>
                  <a:lnTo>
                    <a:pt x="13" y="88"/>
                  </a:lnTo>
                  <a:lnTo>
                    <a:pt x="15" y="103"/>
                  </a:lnTo>
                  <a:lnTo>
                    <a:pt x="21" y="125"/>
                  </a:lnTo>
                  <a:lnTo>
                    <a:pt x="42" y="152"/>
                  </a:lnTo>
                  <a:lnTo>
                    <a:pt x="50" y="144"/>
                  </a:lnTo>
                  <a:lnTo>
                    <a:pt x="68" y="142"/>
                  </a:lnTo>
                  <a:lnTo>
                    <a:pt x="29" y="117"/>
                  </a:lnTo>
                  <a:lnTo>
                    <a:pt x="44" y="115"/>
                  </a:lnTo>
                  <a:lnTo>
                    <a:pt x="58" y="109"/>
                  </a:lnTo>
                  <a:lnTo>
                    <a:pt x="122" y="130"/>
                  </a:lnTo>
                  <a:lnTo>
                    <a:pt x="124" y="121"/>
                  </a:lnTo>
                  <a:lnTo>
                    <a:pt x="139" y="95"/>
                  </a:lnTo>
                  <a:lnTo>
                    <a:pt x="165" y="84"/>
                  </a:lnTo>
                  <a:lnTo>
                    <a:pt x="149" y="72"/>
                  </a:lnTo>
                  <a:lnTo>
                    <a:pt x="137" y="45"/>
                  </a:lnTo>
                  <a:lnTo>
                    <a:pt x="128" y="57"/>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72" name="Google Shape;2372;g7826bb8c5e_0_4294"/>
            <p:cNvSpPr/>
            <p:nvPr/>
          </p:nvSpPr>
          <p:spPr>
            <a:xfrm>
              <a:off x="6358070" y="3344237"/>
              <a:ext cx="43223" cy="62804"/>
            </a:xfrm>
            <a:custGeom>
              <a:avLst/>
              <a:gdLst/>
              <a:ahLst/>
              <a:cxnLst/>
              <a:rect l="l" t="t" r="r" b="b"/>
              <a:pathLst>
                <a:path w="83" h="104" extrusionOk="0">
                  <a:moveTo>
                    <a:pt x="83" y="36"/>
                  </a:moveTo>
                  <a:lnTo>
                    <a:pt x="81" y="64"/>
                  </a:lnTo>
                  <a:lnTo>
                    <a:pt x="79" y="91"/>
                  </a:lnTo>
                  <a:lnTo>
                    <a:pt x="70" y="104"/>
                  </a:lnTo>
                  <a:lnTo>
                    <a:pt x="56" y="83"/>
                  </a:lnTo>
                  <a:lnTo>
                    <a:pt x="60" y="100"/>
                  </a:lnTo>
                  <a:lnTo>
                    <a:pt x="50" y="93"/>
                  </a:lnTo>
                  <a:lnTo>
                    <a:pt x="41" y="64"/>
                  </a:lnTo>
                  <a:lnTo>
                    <a:pt x="42" y="46"/>
                  </a:lnTo>
                  <a:lnTo>
                    <a:pt x="19" y="29"/>
                  </a:lnTo>
                  <a:lnTo>
                    <a:pt x="31" y="48"/>
                  </a:lnTo>
                  <a:lnTo>
                    <a:pt x="17" y="48"/>
                  </a:lnTo>
                  <a:lnTo>
                    <a:pt x="11" y="35"/>
                  </a:lnTo>
                  <a:lnTo>
                    <a:pt x="15" y="35"/>
                  </a:lnTo>
                  <a:lnTo>
                    <a:pt x="0" y="19"/>
                  </a:lnTo>
                  <a:lnTo>
                    <a:pt x="35" y="0"/>
                  </a:lnTo>
                  <a:lnTo>
                    <a:pt x="54" y="11"/>
                  </a:lnTo>
                  <a:lnTo>
                    <a:pt x="64" y="17"/>
                  </a:lnTo>
                  <a:lnTo>
                    <a:pt x="68" y="23"/>
                  </a:lnTo>
                  <a:lnTo>
                    <a:pt x="83" y="36"/>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73" name="Google Shape;2373;g7826bb8c5e_0_4294"/>
            <p:cNvSpPr/>
            <p:nvPr/>
          </p:nvSpPr>
          <p:spPr>
            <a:xfrm>
              <a:off x="6400022" y="3333316"/>
              <a:ext cx="38138" cy="36863"/>
            </a:xfrm>
            <a:custGeom>
              <a:avLst/>
              <a:gdLst/>
              <a:ahLst/>
              <a:cxnLst/>
              <a:rect l="l" t="t" r="r" b="b"/>
              <a:pathLst>
                <a:path w="76" h="60" extrusionOk="0">
                  <a:moveTo>
                    <a:pt x="62" y="37"/>
                  </a:moveTo>
                  <a:lnTo>
                    <a:pt x="37" y="37"/>
                  </a:lnTo>
                  <a:lnTo>
                    <a:pt x="33" y="60"/>
                  </a:lnTo>
                  <a:lnTo>
                    <a:pt x="14" y="45"/>
                  </a:lnTo>
                  <a:lnTo>
                    <a:pt x="4" y="33"/>
                  </a:lnTo>
                  <a:lnTo>
                    <a:pt x="0" y="35"/>
                  </a:lnTo>
                  <a:lnTo>
                    <a:pt x="20" y="12"/>
                  </a:lnTo>
                  <a:lnTo>
                    <a:pt x="37" y="10"/>
                  </a:lnTo>
                  <a:lnTo>
                    <a:pt x="53" y="0"/>
                  </a:lnTo>
                  <a:lnTo>
                    <a:pt x="68" y="10"/>
                  </a:lnTo>
                  <a:lnTo>
                    <a:pt x="76" y="20"/>
                  </a:lnTo>
                  <a:lnTo>
                    <a:pt x="62" y="37"/>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74" name="Google Shape;2374;g7826bb8c5e_0_4294"/>
            <p:cNvSpPr/>
            <p:nvPr/>
          </p:nvSpPr>
          <p:spPr>
            <a:xfrm>
              <a:off x="6373325" y="3506708"/>
              <a:ext cx="8898" cy="15019"/>
            </a:xfrm>
            <a:custGeom>
              <a:avLst/>
              <a:gdLst/>
              <a:ahLst/>
              <a:cxnLst/>
              <a:rect l="l" t="t" r="r" b="b"/>
              <a:pathLst>
                <a:path w="15" h="25" extrusionOk="0">
                  <a:moveTo>
                    <a:pt x="0" y="25"/>
                  </a:moveTo>
                  <a:lnTo>
                    <a:pt x="15" y="4"/>
                  </a:lnTo>
                  <a:lnTo>
                    <a:pt x="13" y="0"/>
                  </a:lnTo>
                  <a:lnTo>
                    <a:pt x="0" y="25"/>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75" name="Google Shape;2375;g7826bb8c5e_0_4294"/>
            <p:cNvSpPr/>
            <p:nvPr/>
          </p:nvSpPr>
          <p:spPr>
            <a:xfrm>
              <a:off x="6455958" y="3241840"/>
              <a:ext cx="5085" cy="8192"/>
            </a:xfrm>
            <a:custGeom>
              <a:avLst/>
              <a:gdLst/>
              <a:ahLst/>
              <a:cxnLst/>
              <a:rect l="l" t="t" r="r" b="b"/>
              <a:pathLst>
                <a:path w="9" h="12" extrusionOk="0">
                  <a:moveTo>
                    <a:pt x="9" y="10"/>
                  </a:moveTo>
                  <a:lnTo>
                    <a:pt x="2" y="0"/>
                  </a:lnTo>
                  <a:lnTo>
                    <a:pt x="0" y="12"/>
                  </a:lnTo>
                  <a:lnTo>
                    <a:pt x="9" y="1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76" name="Google Shape;2376;g7826bb8c5e_0_4294"/>
            <p:cNvSpPr/>
            <p:nvPr/>
          </p:nvSpPr>
          <p:spPr>
            <a:xfrm>
              <a:off x="6372054" y="3375639"/>
              <a:ext cx="2542" cy="4096"/>
            </a:xfrm>
            <a:custGeom>
              <a:avLst/>
              <a:gdLst/>
              <a:ahLst/>
              <a:cxnLst/>
              <a:rect l="l" t="t" r="r" b="b"/>
              <a:pathLst>
                <a:path w="8" h="6" extrusionOk="0">
                  <a:moveTo>
                    <a:pt x="6" y="0"/>
                  </a:moveTo>
                  <a:lnTo>
                    <a:pt x="8" y="6"/>
                  </a:lnTo>
                  <a:lnTo>
                    <a:pt x="0" y="6"/>
                  </a:lnTo>
                  <a:lnTo>
                    <a:pt x="6"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77" name="Google Shape;2377;g7826bb8c5e_0_4294"/>
            <p:cNvSpPr/>
            <p:nvPr/>
          </p:nvSpPr>
          <p:spPr>
            <a:xfrm>
              <a:off x="6210601" y="3135346"/>
              <a:ext cx="77548" cy="117416"/>
            </a:xfrm>
            <a:custGeom>
              <a:avLst/>
              <a:gdLst/>
              <a:ahLst/>
              <a:cxnLst/>
              <a:rect l="l" t="t" r="r" b="b"/>
              <a:pathLst>
                <a:path w="151" h="194" extrusionOk="0">
                  <a:moveTo>
                    <a:pt x="40" y="130"/>
                  </a:moveTo>
                  <a:lnTo>
                    <a:pt x="19" y="125"/>
                  </a:lnTo>
                  <a:lnTo>
                    <a:pt x="0" y="107"/>
                  </a:lnTo>
                  <a:lnTo>
                    <a:pt x="19" y="88"/>
                  </a:lnTo>
                  <a:lnTo>
                    <a:pt x="39" y="55"/>
                  </a:lnTo>
                  <a:lnTo>
                    <a:pt x="50" y="47"/>
                  </a:lnTo>
                  <a:lnTo>
                    <a:pt x="87" y="59"/>
                  </a:lnTo>
                  <a:lnTo>
                    <a:pt x="75" y="39"/>
                  </a:lnTo>
                  <a:lnTo>
                    <a:pt x="85" y="35"/>
                  </a:lnTo>
                  <a:lnTo>
                    <a:pt x="106" y="20"/>
                  </a:lnTo>
                  <a:lnTo>
                    <a:pt x="106" y="0"/>
                  </a:lnTo>
                  <a:lnTo>
                    <a:pt x="141" y="20"/>
                  </a:lnTo>
                  <a:lnTo>
                    <a:pt x="147" y="26"/>
                  </a:lnTo>
                  <a:lnTo>
                    <a:pt x="132" y="45"/>
                  </a:lnTo>
                  <a:lnTo>
                    <a:pt x="143" y="82"/>
                  </a:lnTo>
                  <a:lnTo>
                    <a:pt x="128" y="103"/>
                  </a:lnTo>
                  <a:lnTo>
                    <a:pt x="110" y="126"/>
                  </a:lnTo>
                  <a:lnTo>
                    <a:pt x="116" y="144"/>
                  </a:lnTo>
                  <a:lnTo>
                    <a:pt x="151" y="163"/>
                  </a:lnTo>
                  <a:lnTo>
                    <a:pt x="139" y="175"/>
                  </a:lnTo>
                  <a:lnTo>
                    <a:pt x="114" y="187"/>
                  </a:lnTo>
                  <a:lnTo>
                    <a:pt x="114" y="194"/>
                  </a:lnTo>
                  <a:lnTo>
                    <a:pt x="83" y="189"/>
                  </a:lnTo>
                  <a:lnTo>
                    <a:pt x="75" y="194"/>
                  </a:lnTo>
                  <a:lnTo>
                    <a:pt x="60" y="187"/>
                  </a:lnTo>
                  <a:lnTo>
                    <a:pt x="48" y="181"/>
                  </a:lnTo>
                  <a:lnTo>
                    <a:pt x="56" y="161"/>
                  </a:lnTo>
                  <a:lnTo>
                    <a:pt x="60" y="159"/>
                  </a:lnTo>
                  <a:lnTo>
                    <a:pt x="46" y="152"/>
                  </a:lnTo>
                  <a:lnTo>
                    <a:pt x="40" y="13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78" name="Google Shape;2378;g7826bb8c5e_0_4294"/>
            <p:cNvSpPr/>
            <p:nvPr/>
          </p:nvSpPr>
          <p:spPr>
            <a:xfrm>
              <a:off x="6270351" y="3235014"/>
              <a:ext cx="66107" cy="96936"/>
            </a:xfrm>
            <a:custGeom>
              <a:avLst/>
              <a:gdLst/>
              <a:ahLst/>
              <a:cxnLst/>
              <a:rect l="l" t="t" r="r" b="b"/>
              <a:pathLst>
                <a:path w="128" h="159" extrusionOk="0">
                  <a:moveTo>
                    <a:pt x="74" y="155"/>
                  </a:moveTo>
                  <a:lnTo>
                    <a:pt x="72" y="150"/>
                  </a:lnTo>
                  <a:lnTo>
                    <a:pt x="60" y="153"/>
                  </a:lnTo>
                  <a:lnTo>
                    <a:pt x="52" y="159"/>
                  </a:lnTo>
                  <a:lnTo>
                    <a:pt x="47" y="153"/>
                  </a:lnTo>
                  <a:lnTo>
                    <a:pt x="49" y="150"/>
                  </a:lnTo>
                  <a:lnTo>
                    <a:pt x="47" y="146"/>
                  </a:lnTo>
                  <a:lnTo>
                    <a:pt x="41" y="136"/>
                  </a:lnTo>
                  <a:lnTo>
                    <a:pt x="35" y="117"/>
                  </a:lnTo>
                  <a:lnTo>
                    <a:pt x="33" y="103"/>
                  </a:lnTo>
                  <a:lnTo>
                    <a:pt x="33" y="99"/>
                  </a:lnTo>
                  <a:lnTo>
                    <a:pt x="12" y="76"/>
                  </a:lnTo>
                  <a:lnTo>
                    <a:pt x="6" y="70"/>
                  </a:lnTo>
                  <a:lnTo>
                    <a:pt x="10" y="66"/>
                  </a:lnTo>
                  <a:lnTo>
                    <a:pt x="23" y="70"/>
                  </a:lnTo>
                  <a:lnTo>
                    <a:pt x="23" y="64"/>
                  </a:lnTo>
                  <a:lnTo>
                    <a:pt x="2" y="37"/>
                  </a:lnTo>
                  <a:lnTo>
                    <a:pt x="0" y="31"/>
                  </a:lnTo>
                  <a:lnTo>
                    <a:pt x="0" y="24"/>
                  </a:lnTo>
                  <a:lnTo>
                    <a:pt x="25" y="12"/>
                  </a:lnTo>
                  <a:lnTo>
                    <a:pt x="37" y="0"/>
                  </a:lnTo>
                  <a:lnTo>
                    <a:pt x="72" y="37"/>
                  </a:lnTo>
                  <a:lnTo>
                    <a:pt x="107" y="74"/>
                  </a:lnTo>
                  <a:lnTo>
                    <a:pt x="128" y="126"/>
                  </a:lnTo>
                  <a:lnTo>
                    <a:pt x="113" y="134"/>
                  </a:lnTo>
                  <a:lnTo>
                    <a:pt x="99" y="142"/>
                  </a:lnTo>
                  <a:lnTo>
                    <a:pt x="89" y="140"/>
                  </a:lnTo>
                  <a:lnTo>
                    <a:pt x="87" y="144"/>
                  </a:lnTo>
                  <a:lnTo>
                    <a:pt x="84" y="148"/>
                  </a:lnTo>
                  <a:lnTo>
                    <a:pt x="78" y="150"/>
                  </a:lnTo>
                  <a:lnTo>
                    <a:pt x="74" y="155"/>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79" name="Google Shape;2379;g7826bb8c5e_0_4294"/>
            <p:cNvSpPr/>
            <p:nvPr/>
          </p:nvSpPr>
          <p:spPr>
            <a:xfrm>
              <a:off x="6257637" y="3546303"/>
              <a:ext cx="26698" cy="72361"/>
            </a:xfrm>
            <a:custGeom>
              <a:avLst/>
              <a:gdLst/>
              <a:ahLst/>
              <a:cxnLst/>
              <a:rect l="l" t="t" r="r" b="b"/>
              <a:pathLst>
                <a:path w="48" h="120" extrusionOk="0">
                  <a:moveTo>
                    <a:pt x="31" y="120"/>
                  </a:moveTo>
                  <a:lnTo>
                    <a:pt x="6" y="91"/>
                  </a:lnTo>
                  <a:lnTo>
                    <a:pt x="0" y="49"/>
                  </a:lnTo>
                  <a:lnTo>
                    <a:pt x="13" y="23"/>
                  </a:lnTo>
                  <a:lnTo>
                    <a:pt x="25" y="0"/>
                  </a:lnTo>
                  <a:lnTo>
                    <a:pt x="48" y="6"/>
                  </a:lnTo>
                  <a:lnTo>
                    <a:pt x="44" y="35"/>
                  </a:lnTo>
                  <a:lnTo>
                    <a:pt x="41" y="64"/>
                  </a:lnTo>
                  <a:lnTo>
                    <a:pt x="35" y="93"/>
                  </a:lnTo>
                  <a:lnTo>
                    <a:pt x="31" y="12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80" name="Google Shape;2380;g7826bb8c5e_0_4294"/>
            <p:cNvSpPr/>
            <p:nvPr/>
          </p:nvSpPr>
          <p:spPr>
            <a:xfrm>
              <a:off x="5545716" y="2930551"/>
              <a:ext cx="517415" cy="236198"/>
            </a:xfrm>
            <a:custGeom>
              <a:avLst/>
              <a:gdLst/>
              <a:ahLst/>
              <a:cxnLst/>
              <a:rect l="l" t="t" r="r" b="b"/>
              <a:pathLst>
                <a:path w="993" h="390" extrusionOk="0">
                  <a:moveTo>
                    <a:pt x="622" y="380"/>
                  </a:moveTo>
                  <a:lnTo>
                    <a:pt x="586" y="372"/>
                  </a:lnTo>
                  <a:lnTo>
                    <a:pt x="547" y="365"/>
                  </a:lnTo>
                  <a:lnTo>
                    <a:pt x="535" y="355"/>
                  </a:lnTo>
                  <a:lnTo>
                    <a:pt x="493" y="353"/>
                  </a:lnTo>
                  <a:lnTo>
                    <a:pt x="450" y="351"/>
                  </a:lnTo>
                  <a:lnTo>
                    <a:pt x="407" y="347"/>
                  </a:lnTo>
                  <a:lnTo>
                    <a:pt x="365" y="345"/>
                  </a:lnTo>
                  <a:lnTo>
                    <a:pt x="338" y="316"/>
                  </a:lnTo>
                  <a:lnTo>
                    <a:pt x="310" y="287"/>
                  </a:lnTo>
                  <a:lnTo>
                    <a:pt x="266" y="273"/>
                  </a:lnTo>
                  <a:lnTo>
                    <a:pt x="223" y="260"/>
                  </a:lnTo>
                  <a:lnTo>
                    <a:pt x="186" y="254"/>
                  </a:lnTo>
                  <a:lnTo>
                    <a:pt x="151" y="248"/>
                  </a:lnTo>
                  <a:lnTo>
                    <a:pt x="140" y="217"/>
                  </a:lnTo>
                  <a:lnTo>
                    <a:pt x="128" y="188"/>
                  </a:lnTo>
                  <a:lnTo>
                    <a:pt x="84" y="155"/>
                  </a:lnTo>
                  <a:lnTo>
                    <a:pt x="60" y="151"/>
                  </a:lnTo>
                  <a:lnTo>
                    <a:pt x="16" y="124"/>
                  </a:lnTo>
                  <a:lnTo>
                    <a:pt x="4" y="111"/>
                  </a:lnTo>
                  <a:lnTo>
                    <a:pt x="0" y="105"/>
                  </a:lnTo>
                  <a:lnTo>
                    <a:pt x="16" y="93"/>
                  </a:lnTo>
                  <a:lnTo>
                    <a:pt x="43" y="82"/>
                  </a:lnTo>
                  <a:lnTo>
                    <a:pt x="72" y="64"/>
                  </a:lnTo>
                  <a:lnTo>
                    <a:pt x="101" y="47"/>
                  </a:lnTo>
                  <a:lnTo>
                    <a:pt x="163" y="54"/>
                  </a:lnTo>
                  <a:lnTo>
                    <a:pt x="173" y="66"/>
                  </a:lnTo>
                  <a:lnTo>
                    <a:pt x="217" y="74"/>
                  </a:lnTo>
                  <a:lnTo>
                    <a:pt x="262" y="82"/>
                  </a:lnTo>
                  <a:lnTo>
                    <a:pt x="285" y="64"/>
                  </a:lnTo>
                  <a:lnTo>
                    <a:pt x="256" y="39"/>
                  </a:lnTo>
                  <a:lnTo>
                    <a:pt x="264" y="0"/>
                  </a:lnTo>
                  <a:lnTo>
                    <a:pt x="314" y="12"/>
                  </a:lnTo>
                  <a:lnTo>
                    <a:pt x="367" y="23"/>
                  </a:lnTo>
                  <a:lnTo>
                    <a:pt x="388" y="45"/>
                  </a:lnTo>
                  <a:lnTo>
                    <a:pt x="434" y="68"/>
                  </a:lnTo>
                  <a:lnTo>
                    <a:pt x="485" y="58"/>
                  </a:lnTo>
                  <a:lnTo>
                    <a:pt x="526" y="66"/>
                  </a:lnTo>
                  <a:lnTo>
                    <a:pt x="568" y="76"/>
                  </a:lnTo>
                  <a:lnTo>
                    <a:pt x="584" y="89"/>
                  </a:lnTo>
                  <a:lnTo>
                    <a:pt x="646" y="105"/>
                  </a:lnTo>
                  <a:lnTo>
                    <a:pt x="681" y="99"/>
                  </a:lnTo>
                  <a:lnTo>
                    <a:pt x="716" y="91"/>
                  </a:lnTo>
                  <a:lnTo>
                    <a:pt x="748" y="66"/>
                  </a:lnTo>
                  <a:lnTo>
                    <a:pt x="805" y="78"/>
                  </a:lnTo>
                  <a:lnTo>
                    <a:pt x="834" y="82"/>
                  </a:lnTo>
                  <a:lnTo>
                    <a:pt x="838" y="111"/>
                  </a:lnTo>
                  <a:lnTo>
                    <a:pt x="842" y="140"/>
                  </a:lnTo>
                  <a:lnTo>
                    <a:pt x="834" y="142"/>
                  </a:lnTo>
                  <a:lnTo>
                    <a:pt x="859" y="157"/>
                  </a:lnTo>
                  <a:lnTo>
                    <a:pt x="890" y="155"/>
                  </a:lnTo>
                  <a:lnTo>
                    <a:pt x="902" y="163"/>
                  </a:lnTo>
                  <a:lnTo>
                    <a:pt x="917" y="147"/>
                  </a:lnTo>
                  <a:lnTo>
                    <a:pt x="983" y="182"/>
                  </a:lnTo>
                  <a:lnTo>
                    <a:pt x="993" y="202"/>
                  </a:lnTo>
                  <a:lnTo>
                    <a:pt x="940" y="200"/>
                  </a:lnTo>
                  <a:lnTo>
                    <a:pt x="905" y="217"/>
                  </a:lnTo>
                  <a:lnTo>
                    <a:pt x="900" y="242"/>
                  </a:lnTo>
                  <a:lnTo>
                    <a:pt x="869" y="252"/>
                  </a:lnTo>
                  <a:lnTo>
                    <a:pt x="840" y="268"/>
                  </a:lnTo>
                  <a:lnTo>
                    <a:pt x="795" y="256"/>
                  </a:lnTo>
                  <a:lnTo>
                    <a:pt x="801" y="291"/>
                  </a:lnTo>
                  <a:lnTo>
                    <a:pt x="820" y="310"/>
                  </a:lnTo>
                  <a:lnTo>
                    <a:pt x="793" y="334"/>
                  </a:lnTo>
                  <a:lnTo>
                    <a:pt x="766" y="357"/>
                  </a:lnTo>
                  <a:lnTo>
                    <a:pt x="729" y="359"/>
                  </a:lnTo>
                  <a:lnTo>
                    <a:pt x="692" y="363"/>
                  </a:lnTo>
                  <a:lnTo>
                    <a:pt x="669" y="376"/>
                  </a:lnTo>
                  <a:lnTo>
                    <a:pt x="648" y="390"/>
                  </a:lnTo>
                  <a:lnTo>
                    <a:pt x="622" y="38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81" name="Google Shape;2381;g7826bb8c5e_0_4294"/>
            <p:cNvSpPr/>
            <p:nvPr/>
          </p:nvSpPr>
          <p:spPr>
            <a:xfrm>
              <a:off x="4917701" y="2855458"/>
              <a:ext cx="616576" cy="316751"/>
            </a:xfrm>
            <a:custGeom>
              <a:avLst/>
              <a:gdLst/>
              <a:ahLst/>
              <a:cxnLst/>
              <a:rect l="l" t="t" r="r" b="b"/>
              <a:pathLst>
                <a:path w="1179" h="522" extrusionOk="0">
                  <a:moveTo>
                    <a:pt x="161" y="310"/>
                  </a:moveTo>
                  <a:lnTo>
                    <a:pt x="136" y="308"/>
                  </a:lnTo>
                  <a:lnTo>
                    <a:pt x="99" y="326"/>
                  </a:lnTo>
                  <a:lnTo>
                    <a:pt x="95" y="328"/>
                  </a:lnTo>
                  <a:lnTo>
                    <a:pt x="70" y="291"/>
                  </a:lnTo>
                  <a:lnTo>
                    <a:pt x="35" y="264"/>
                  </a:lnTo>
                  <a:lnTo>
                    <a:pt x="0" y="235"/>
                  </a:lnTo>
                  <a:lnTo>
                    <a:pt x="6" y="194"/>
                  </a:lnTo>
                  <a:lnTo>
                    <a:pt x="8" y="153"/>
                  </a:lnTo>
                  <a:lnTo>
                    <a:pt x="45" y="169"/>
                  </a:lnTo>
                  <a:lnTo>
                    <a:pt x="51" y="153"/>
                  </a:lnTo>
                  <a:lnTo>
                    <a:pt x="72" y="138"/>
                  </a:lnTo>
                  <a:lnTo>
                    <a:pt x="95" y="120"/>
                  </a:lnTo>
                  <a:lnTo>
                    <a:pt x="138" y="118"/>
                  </a:lnTo>
                  <a:lnTo>
                    <a:pt x="177" y="138"/>
                  </a:lnTo>
                  <a:lnTo>
                    <a:pt x="217" y="155"/>
                  </a:lnTo>
                  <a:lnTo>
                    <a:pt x="262" y="153"/>
                  </a:lnTo>
                  <a:lnTo>
                    <a:pt x="318" y="151"/>
                  </a:lnTo>
                  <a:lnTo>
                    <a:pt x="376" y="161"/>
                  </a:lnTo>
                  <a:lnTo>
                    <a:pt x="382" y="149"/>
                  </a:lnTo>
                  <a:lnTo>
                    <a:pt x="349" y="112"/>
                  </a:lnTo>
                  <a:lnTo>
                    <a:pt x="363" y="72"/>
                  </a:lnTo>
                  <a:lnTo>
                    <a:pt x="390" y="72"/>
                  </a:lnTo>
                  <a:lnTo>
                    <a:pt x="355" y="54"/>
                  </a:lnTo>
                  <a:lnTo>
                    <a:pt x="392" y="48"/>
                  </a:lnTo>
                  <a:lnTo>
                    <a:pt x="431" y="43"/>
                  </a:lnTo>
                  <a:lnTo>
                    <a:pt x="466" y="33"/>
                  </a:lnTo>
                  <a:lnTo>
                    <a:pt x="502" y="21"/>
                  </a:lnTo>
                  <a:lnTo>
                    <a:pt x="537" y="12"/>
                  </a:lnTo>
                  <a:lnTo>
                    <a:pt x="572" y="2"/>
                  </a:lnTo>
                  <a:lnTo>
                    <a:pt x="599" y="0"/>
                  </a:lnTo>
                  <a:lnTo>
                    <a:pt x="619" y="23"/>
                  </a:lnTo>
                  <a:lnTo>
                    <a:pt x="677" y="43"/>
                  </a:lnTo>
                  <a:lnTo>
                    <a:pt x="698" y="54"/>
                  </a:lnTo>
                  <a:lnTo>
                    <a:pt x="721" y="58"/>
                  </a:lnTo>
                  <a:lnTo>
                    <a:pt x="758" y="43"/>
                  </a:lnTo>
                  <a:lnTo>
                    <a:pt x="795" y="29"/>
                  </a:lnTo>
                  <a:lnTo>
                    <a:pt x="803" y="35"/>
                  </a:lnTo>
                  <a:lnTo>
                    <a:pt x="797" y="52"/>
                  </a:lnTo>
                  <a:lnTo>
                    <a:pt x="838" y="79"/>
                  </a:lnTo>
                  <a:lnTo>
                    <a:pt x="876" y="107"/>
                  </a:lnTo>
                  <a:lnTo>
                    <a:pt x="917" y="134"/>
                  </a:lnTo>
                  <a:lnTo>
                    <a:pt x="958" y="161"/>
                  </a:lnTo>
                  <a:lnTo>
                    <a:pt x="964" y="153"/>
                  </a:lnTo>
                  <a:lnTo>
                    <a:pt x="987" y="161"/>
                  </a:lnTo>
                  <a:lnTo>
                    <a:pt x="1024" y="155"/>
                  </a:lnTo>
                  <a:lnTo>
                    <a:pt x="1065" y="178"/>
                  </a:lnTo>
                  <a:lnTo>
                    <a:pt x="1105" y="204"/>
                  </a:lnTo>
                  <a:lnTo>
                    <a:pt x="1144" y="194"/>
                  </a:lnTo>
                  <a:lnTo>
                    <a:pt x="1179" y="231"/>
                  </a:lnTo>
                  <a:lnTo>
                    <a:pt x="1165" y="256"/>
                  </a:lnTo>
                  <a:lnTo>
                    <a:pt x="1152" y="266"/>
                  </a:lnTo>
                  <a:lnTo>
                    <a:pt x="1167" y="306"/>
                  </a:lnTo>
                  <a:lnTo>
                    <a:pt x="1138" y="308"/>
                  </a:lnTo>
                  <a:lnTo>
                    <a:pt x="1090" y="300"/>
                  </a:lnTo>
                  <a:lnTo>
                    <a:pt x="1094" y="331"/>
                  </a:lnTo>
                  <a:lnTo>
                    <a:pt x="1097" y="364"/>
                  </a:lnTo>
                  <a:lnTo>
                    <a:pt x="1109" y="378"/>
                  </a:lnTo>
                  <a:lnTo>
                    <a:pt x="1068" y="374"/>
                  </a:lnTo>
                  <a:lnTo>
                    <a:pt x="1032" y="388"/>
                  </a:lnTo>
                  <a:lnTo>
                    <a:pt x="1051" y="397"/>
                  </a:lnTo>
                  <a:lnTo>
                    <a:pt x="1065" y="425"/>
                  </a:lnTo>
                  <a:lnTo>
                    <a:pt x="1080" y="452"/>
                  </a:lnTo>
                  <a:lnTo>
                    <a:pt x="1080" y="459"/>
                  </a:lnTo>
                  <a:lnTo>
                    <a:pt x="1072" y="467"/>
                  </a:lnTo>
                  <a:lnTo>
                    <a:pt x="1034" y="442"/>
                  </a:lnTo>
                  <a:lnTo>
                    <a:pt x="993" y="448"/>
                  </a:lnTo>
                  <a:lnTo>
                    <a:pt x="952" y="452"/>
                  </a:lnTo>
                  <a:lnTo>
                    <a:pt x="909" y="452"/>
                  </a:lnTo>
                  <a:lnTo>
                    <a:pt x="880" y="450"/>
                  </a:lnTo>
                  <a:lnTo>
                    <a:pt x="865" y="471"/>
                  </a:lnTo>
                  <a:lnTo>
                    <a:pt x="832" y="465"/>
                  </a:lnTo>
                  <a:lnTo>
                    <a:pt x="799" y="461"/>
                  </a:lnTo>
                  <a:lnTo>
                    <a:pt x="780" y="479"/>
                  </a:lnTo>
                  <a:lnTo>
                    <a:pt x="750" y="500"/>
                  </a:lnTo>
                  <a:lnTo>
                    <a:pt x="721" y="522"/>
                  </a:lnTo>
                  <a:lnTo>
                    <a:pt x="692" y="506"/>
                  </a:lnTo>
                  <a:lnTo>
                    <a:pt x="663" y="490"/>
                  </a:lnTo>
                  <a:lnTo>
                    <a:pt x="659" y="459"/>
                  </a:lnTo>
                  <a:lnTo>
                    <a:pt x="626" y="436"/>
                  </a:lnTo>
                  <a:lnTo>
                    <a:pt x="593" y="434"/>
                  </a:lnTo>
                  <a:lnTo>
                    <a:pt x="562" y="432"/>
                  </a:lnTo>
                  <a:lnTo>
                    <a:pt x="530" y="430"/>
                  </a:lnTo>
                  <a:lnTo>
                    <a:pt x="498" y="428"/>
                  </a:lnTo>
                  <a:lnTo>
                    <a:pt x="466" y="390"/>
                  </a:lnTo>
                  <a:lnTo>
                    <a:pt x="427" y="368"/>
                  </a:lnTo>
                  <a:lnTo>
                    <a:pt x="386" y="349"/>
                  </a:lnTo>
                  <a:lnTo>
                    <a:pt x="349" y="363"/>
                  </a:lnTo>
                  <a:lnTo>
                    <a:pt x="310" y="376"/>
                  </a:lnTo>
                  <a:lnTo>
                    <a:pt x="320" y="411"/>
                  </a:lnTo>
                  <a:lnTo>
                    <a:pt x="328" y="444"/>
                  </a:lnTo>
                  <a:lnTo>
                    <a:pt x="336" y="479"/>
                  </a:lnTo>
                  <a:lnTo>
                    <a:pt x="345" y="512"/>
                  </a:lnTo>
                  <a:lnTo>
                    <a:pt x="309" y="500"/>
                  </a:lnTo>
                  <a:lnTo>
                    <a:pt x="274" y="490"/>
                  </a:lnTo>
                  <a:lnTo>
                    <a:pt x="278" y="463"/>
                  </a:lnTo>
                  <a:lnTo>
                    <a:pt x="223" y="463"/>
                  </a:lnTo>
                  <a:lnTo>
                    <a:pt x="198" y="454"/>
                  </a:lnTo>
                  <a:lnTo>
                    <a:pt x="184" y="446"/>
                  </a:lnTo>
                  <a:lnTo>
                    <a:pt x="157" y="409"/>
                  </a:lnTo>
                  <a:lnTo>
                    <a:pt x="142" y="399"/>
                  </a:lnTo>
                  <a:lnTo>
                    <a:pt x="177" y="397"/>
                  </a:lnTo>
                  <a:lnTo>
                    <a:pt x="163" y="382"/>
                  </a:lnTo>
                  <a:lnTo>
                    <a:pt x="181" y="366"/>
                  </a:lnTo>
                  <a:lnTo>
                    <a:pt x="219" y="366"/>
                  </a:lnTo>
                  <a:lnTo>
                    <a:pt x="210" y="353"/>
                  </a:lnTo>
                  <a:lnTo>
                    <a:pt x="202" y="312"/>
                  </a:lnTo>
                  <a:lnTo>
                    <a:pt x="161" y="31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82" name="Google Shape;2382;g7826bb8c5e_0_4294"/>
            <p:cNvSpPr/>
            <p:nvPr/>
          </p:nvSpPr>
          <p:spPr>
            <a:xfrm>
              <a:off x="4822354" y="3112137"/>
              <a:ext cx="132213" cy="57342"/>
            </a:xfrm>
            <a:custGeom>
              <a:avLst/>
              <a:gdLst/>
              <a:ahLst/>
              <a:cxnLst/>
              <a:rect l="l" t="t" r="r" b="b"/>
              <a:pathLst>
                <a:path w="254" h="95" extrusionOk="0">
                  <a:moveTo>
                    <a:pt x="51" y="33"/>
                  </a:moveTo>
                  <a:lnTo>
                    <a:pt x="0" y="2"/>
                  </a:lnTo>
                  <a:lnTo>
                    <a:pt x="2" y="0"/>
                  </a:lnTo>
                  <a:lnTo>
                    <a:pt x="37" y="2"/>
                  </a:lnTo>
                  <a:lnTo>
                    <a:pt x="70" y="4"/>
                  </a:lnTo>
                  <a:lnTo>
                    <a:pt x="116" y="23"/>
                  </a:lnTo>
                  <a:lnTo>
                    <a:pt x="163" y="40"/>
                  </a:lnTo>
                  <a:lnTo>
                    <a:pt x="208" y="58"/>
                  </a:lnTo>
                  <a:lnTo>
                    <a:pt x="254" y="77"/>
                  </a:lnTo>
                  <a:lnTo>
                    <a:pt x="244" y="95"/>
                  </a:lnTo>
                  <a:lnTo>
                    <a:pt x="213" y="91"/>
                  </a:lnTo>
                  <a:lnTo>
                    <a:pt x="169" y="91"/>
                  </a:lnTo>
                  <a:lnTo>
                    <a:pt x="124" y="89"/>
                  </a:lnTo>
                  <a:lnTo>
                    <a:pt x="84" y="93"/>
                  </a:lnTo>
                  <a:lnTo>
                    <a:pt x="82" y="64"/>
                  </a:lnTo>
                  <a:lnTo>
                    <a:pt x="51" y="33"/>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83" name="Google Shape;2383;g7826bb8c5e_0_4294"/>
            <p:cNvSpPr/>
            <p:nvPr/>
          </p:nvSpPr>
          <p:spPr>
            <a:xfrm>
              <a:off x="5325784" y="3125790"/>
              <a:ext cx="157640" cy="92840"/>
            </a:xfrm>
            <a:custGeom>
              <a:avLst/>
              <a:gdLst/>
              <a:ahLst/>
              <a:cxnLst/>
              <a:rect l="l" t="t" r="r" b="b"/>
              <a:pathLst>
                <a:path w="300" h="153" extrusionOk="0">
                  <a:moveTo>
                    <a:pt x="98" y="89"/>
                  </a:moveTo>
                  <a:lnTo>
                    <a:pt x="65" y="68"/>
                  </a:lnTo>
                  <a:lnTo>
                    <a:pt x="23" y="64"/>
                  </a:lnTo>
                  <a:lnTo>
                    <a:pt x="0" y="37"/>
                  </a:lnTo>
                  <a:lnTo>
                    <a:pt x="19" y="19"/>
                  </a:lnTo>
                  <a:lnTo>
                    <a:pt x="52" y="23"/>
                  </a:lnTo>
                  <a:lnTo>
                    <a:pt x="85" y="29"/>
                  </a:lnTo>
                  <a:lnTo>
                    <a:pt x="100" y="8"/>
                  </a:lnTo>
                  <a:lnTo>
                    <a:pt x="129" y="10"/>
                  </a:lnTo>
                  <a:lnTo>
                    <a:pt x="172" y="10"/>
                  </a:lnTo>
                  <a:lnTo>
                    <a:pt x="213" y="6"/>
                  </a:lnTo>
                  <a:lnTo>
                    <a:pt x="254" y="0"/>
                  </a:lnTo>
                  <a:lnTo>
                    <a:pt x="292" y="25"/>
                  </a:lnTo>
                  <a:lnTo>
                    <a:pt x="300" y="43"/>
                  </a:lnTo>
                  <a:lnTo>
                    <a:pt x="277" y="62"/>
                  </a:lnTo>
                  <a:lnTo>
                    <a:pt x="254" y="81"/>
                  </a:lnTo>
                  <a:lnTo>
                    <a:pt x="221" y="89"/>
                  </a:lnTo>
                  <a:lnTo>
                    <a:pt x="199" y="114"/>
                  </a:lnTo>
                  <a:lnTo>
                    <a:pt x="182" y="111"/>
                  </a:lnTo>
                  <a:lnTo>
                    <a:pt x="166" y="111"/>
                  </a:lnTo>
                  <a:lnTo>
                    <a:pt x="145" y="124"/>
                  </a:lnTo>
                  <a:lnTo>
                    <a:pt x="133" y="153"/>
                  </a:lnTo>
                  <a:lnTo>
                    <a:pt x="79" y="145"/>
                  </a:lnTo>
                  <a:lnTo>
                    <a:pt x="25" y="140"/>
                  </a:lnTo>
                  <a:lnTo>
                    <a:pt x="23" y="114"/>
                  </a:lnTo>
                  <a:lnTo>
                    <a:pt x="62" y="103"/>
                  </a:lnTo>
                  <a:lnTo>
                    <a:pt x="98" y="89"/>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84" name="Google Shape;2384;g7826bb8c5e_0_4294"/>
            <p:cNvSpPr/>
            <p:nvPr/>
          </p:nvSpPr>
          <p:spPr>
            <a:xfrm>
              <a:off x="5034658" y="3138077"/>
              <a:ext cx="240274" cy="173394"/>
            </a:xfrm>
            <a:custGeom>
              <a:avLst/>
              <a:gdLst/>
              <a:ahLst/>
              <a:cxnLst/>
              <a:rect l="l" t="t" r="r" b="b"/>
              <a:pathLst>
                <a:path w="460" h="287" extrusionOk="0">
                  <a:moveTo>
                    <a:pt x="436" y="223"/>
                  </a:moveTo>
                  <a:lnTo>
                    <a:pt x="425" y="252"/>
                  </a:lnTo>
                  <a:lnTo>
                    <a:pt x="396" y="268"/>
                  </a:lnTo>
                  <a:lnTo>
                    <a:pt x="386" y="287"/>
                  </a:lnTo>
                  <a:lnTo>
                    <a:pt x="367" y="283"/>
                  </a:lnTo>
                  <a:lnTo>
                    <a:pt x="338" y="274"/>
                  </a:lnTo>
                  <a:lnTo>
                    <a:pt x="324" y="235"/>
                  </a:lnTo>
                  <a:lnTo>
                    <a:pt x="297" y="231"/>
                  </a:lnTo>
                  <a:lnTo>
                    <a:pt x="270" y="214"/>
                  </a:lnTo>
                  <a:lnTo>
                    <a:pt x="243" y="196"/>
                  </a:lnTo>
                  <a:lnTo>
                    <a:pt x="190" y="177"/>
                  </a:lnTo>
                  <a:lnTo>
                    <a:pt x="161" y="181"/>
                  </a:lnTo>
                  <a:lnTo>
                    <a:pt x="124" y="185"/>
                  </a:lnTo>
                  <a:lnTo>
                    <a:pt x="101" y="208"/>
                  </a:lnTo>
                  <a:lnTo>
                    <a:pt x="91" y="208"/>
                  </a:lnTo>
                  <a:lnTo>
                    <a:pt x="82" y="177"/>
                  </a:lnTo>
                  <a:lnTo>
                    <a:pt x="74" y="144"/>
                  </a:lnTo>
                  <a:lnTo>
                    <a:pt x="55" y="132"/>
                  </a:lnTo>
                  <a:lnTo>
                    <a:pt x="53" y="134"/>
                  </a:lnTo>
                  <a:lnTo>
                    <a:pt x="58" y="124"/>
                  </a:lnTo>
                  <a:lnTo>
                    <a:pt x="64" y="122"/>
                  </a:lnTo>
                  <a:lnTo>
                    <a:pt x="55" y="107"/>
                  </a:lnTo>
                  <a:lnTo>
                    <a:pt x="41" y="111"/>
                  </a:lnTo>
                  <a:lnTo>
                    <a:pt x="41" y="113"/>
                  </a:lnTo>
                  <a:lnTo>
                    <a:pt x="31" y="74"/>
                  </a:lnTo>
                  <a:lnTo>
                    <a:pt x="35" y="72"/>
                  </a:lnTo>
                  <a:lnTo>
                    <a:pt x="53" y="74"/>
                  </a:lnTo>
                  <a:lnTo>
                    <a:pt x="68" y="84"/>
                  </a:lnTo>
                  <a:lnTo>
                    <a:pt x="78" y="80"/>
                  </a:lnTo>
                  <a:lnTo>
                    <a:pt x="80" y="76"/>
                  </a:lnTo>
                  <a:lnTo>
                    <a:pt x="84" y="64"/>
                  </a:lnTo>
                  <a:lnTo>
                    <a:pt x="53" y="33"/>
                  </a:lnTo>
                  <a:lnTo>
                    <a:pt x="27" y="31"/>
                  </a:lnTo>
                  <a:lnTo>
                    <a:pt x="27" y="60"/>
                  </a:lnTo>
                  <a:lnTo>
                    <a:pt x="27" y="64"/>
                  </a:lnTo>
                  <a:lnTo>
                    <a:pt x="8" y="26"/>
                  </a:lnTo>
                  <a:lnTo>
                    <a:pt x="8" y="8"/>
                  </a:lnTo>
                  <a:lnTo>
                    <a:pt x="0" y="0"/>
                  </a:lnTo>
                  <a:lnTo>
                    <a:pt x="55" y="0"/>
                  </a:lnTo>
                  <a:lnTo>
                    <a:pt x="51" y="27"/>
                  </a:lnTo>
                  <a:lnTo>
                    <a:pt x="86" y="37"/>
                  </a:lnTo>
                  <a:lnTo>
                    <a:pt x="122" y="49"/>
                  </a:lnTo>
                  <a:lnTo>
                    <a:pt x="165" y="59"/>
                  </a:lnTo>
                  <a:lnTo>
                    <a:pt x="159" y="37"/>
                  </a:lnTo>
                  <a:lnTo>
                    <a:pt x="175" y="29"/>
                  </a:lnTo>
                  <a:lnTo>
                    <a:pt x="200" y="0"/>
                  </a:lnTo>
                  <a:lnTo>
                    <a:pt x="239" y="29"/>
                  </a:lnTo>
                  <a:lnTo>
                    <a:pt x="264" y="68"/>
                  </a:lnTo>
                  <a:lnTo>
                    <a:pt x="307" y="84"/>
                  </a:lnTo>
                  <a:lnTo>
                    <a:pt x="332" y="97"/>
                  </a:lnTo>
                  <a:lnTo>
                    <a:pt x="386" y="130"/>
                  </a:lnTo>
                  <a:lnTo>
                    <a:pt x="438" y="165"/>
                  </a:lnTo>
                  <a:lnTo>
                    <a:pt x="460" y="202"/>
                  </a:lnTo>
                  <a:lnTo>
                    <a:pt x="448" y="212"/>
                  </a:lnTo>
                  <a:lnTo>
                    <a:pt x="436" y="223"/>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85" name="Google Shape;2385;g7826bb8c5e_0_4294"/>
            <p:cNvSpPr/>
            <p:nvPr/>
          </p:nvSpPr>
          <p:spPr>
            <a:xfrm>
              <a:off x="5206283" y="3240474"/>
              <a:ext cx="221205" cy="206160"/>
            </a:xfrm>
            <a:custGeom>
              <a:avLst/>
              <a:gdLst/>
              <a:ahLst/>
              <a:cxnLst/>
              <a:rect l="l" t="t" r="r" b="b"/>
              <a:pathLst>
                <a:path w="422" h="343" extrusionOk="0">
                  <a:moveTo>
                    <a:pt x="4" y="149"/>
                  </a:moveTo>
                  <a:lnTo>
                    <a:pt x="0" y="155"/>
                  </a:lnTo>
                  <a:lnTo>
                    <a:pt x="0" y="175"/>
                  </a:lnTo>
                  <a:lnTo>
                    <a:pt x="13" y="184"/>
                  </a:lnTo>
                  <a:lnTo>
                    <a:pt x="10" y="192"/>
                  </a:lnTo>
                  <a:lnTo>
                    <a:pt x="17" y="225"/>
                  </a:lnTo>
                  <a:lnTo>
                    <a:pt x="23" y="256"/>
                  </a:lnTo>
                  <a:lnTo>
                    <a:pt x="54" y="268"/>
                  </a:lnTo>
                  <a:lnTo>
                    <a:pt x="62" y="281"/>
                  </a:lnTo>
                  <a:lnTo>
                    <a:pt x="39" y="326"/>
                  </a:lnTo>
                  <a:lnTo>
                    <a:pt x="66" y="334"/>
                  </a:lnTo>
                  <a:lnTo>
                    <a:pt x="93" y="343"/>
                  </a:lnTo>
                  <a:lnTo>
                    <a:pt x="141" y="341"/>
                  </a:lnTo>
                  <a:lnTo>
                    <a:pt x="176" y="334"/>
                  </a:lnTo>
                  <a:lnTo>
                    <a:pt x="211" y="326"/>
                  </a:lnTo>
                  <a:lnTo>
                    <a:pt x="211" y="308"/>
                  </a:lnTo>
                  <a:lnTo>
                    <a:pt x="217" y="279"/>
                  </a:lnTo>
                  <a:lnTo>
                    <a:pt x="248" y="266"/>
                  </a:lnTo>
                  <a:lnTo>
                    <a:pt x="256" y="256"/>
                  </a:lnTo>
                  <a:lnTo>
                    <a:pt x="287" y="258"/>
                  </a:lnTo>
                  <a:lnTo>
                    <a:pt x="291" y="215"/>
                  </a:lnTo>
                  <a:lnTo>
                    <a:pt x="316" y="194"/>
                  </a:lnTo>
                  <a:lnTo>
                    <a:pt x="296" y="173"/>
                  </a:lnTo>
                  <a:lnTo>
                    <a:pt x="325" y="171"/>
                  </a:lnTo>
                  <a:lnTo>
                    <a:pt x="331" y="153"/>
                  </a:lnTo>
                  <a:lnTo>
                    <a:pt x="339" y="126"/>
                  </a:lnTo>
                  <a:lnTo>
                    <a:pt x="322" y="93"/>
                  </a:lnTo>
                  <a:lnTo>
                    <a:pt x="339" y="70"/>
                  </a:lnTo>
                  <a:lnTo>
                    <a:pt x="376" y="62"/>
                  </a:lnTo>
                  <a:lnTo>
                    <a:pt x="415" y="52"/>
                  </a:lnTo>
                  <a:lnTo>
                    <a:pt x="413" y="45"/>
                  </a:lnTo>
                  <a:lnTo>
                    <a:pt x="422" y="45"/>
                  </a:lnTo>
                  <a:lnTo>
                    <a:pt x="395" y="43"/>
                  </a:lnTo>
                  <a:lnTo>
                    <a:pt x="386" y="41"/>
                  </a:lnTo>
                  <a:lnTo>
                    <a:pt x="362" y="43"/>
                  </a:lnTo>
                  <a:lnTo>
                    <a:pt x="322" y="62"/>
                  </a:lnTo>
                  <a:lnTo>
                    <a:pt x="310" y="18"/>
                  </a:lnTo>
                  <a:lnTo>
                    <a:pt x="300" y="18"/>
                  </a:lnTo>
                  <a:lnTo>
                    <a:pt x="293" y="0"/>
                  </a:lnTo>
                  <a:lnTo>
                    <a:pt x="277" y="6"/>
                  </a:lnTo>
                  <a:lnTo>
                    <a:pt x="273" y="29"/>
                  </a:lnTo>
                  <a:lnTo>
                    <a:pt x="248" y="41"/>
                  </a:lnTo>
                  <a:lnTo>
                    <a:pt x="242" y="49"/>
                  </a:lnTo>
                  <a:lnTo>
                    <a:pt x="221" y="49"/>
                  </a:lnTo>
                  <a:lnTo>
                    <a:pt x="203" y="52"/>
                  </a:lnTo>
                  <a:lnTo>
                    <a:pt x="194" y="45"/>
                  </a:lnTo>
                  <a:lnTo>
                    <a:pt x="163" y="39"/>
                  </a:lnTo>
                  <a:lnTo>
                    <a:pt x="132" y="35"/>
                  </a:lnTo>
                  <a:lnTo>
                    <a:pt x="120" y="45"/>
                  </a:lnTo>
                  <a:lnTo>
                    <a:pt x="108" y="56"/>
                  </a:lnTo>
                  <a:lnTo>
                    <a:pt x="97" y="85"/>
                  </a:lnTo>
                  <a:lnTo>
                    <a:pt x="68" y="101"/>
                  </a:lnTo>
                  <a:lnTo>
                    <a:pt x="58" y="120"/>
                  </a:lnTo>
                  <a:lnTo>
                    <a:pt x="39" y="116"/>
                  </a:lnTo>
                  <a:lnTo>
                    <a:pt x="10" y="107"/>
                  </a:lnTo>
                  <a:lnTo>
                    <a:pt x="4" y="149"/>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386" name="Google Shape;2386;g7826bb8c5e_0_4294"/>
            <p:cNvSpPr/>
            <p:nvPr/>
          </p:nvSpPr>
          <p:spPr>
            <a:xfrm>
              <a:off x="4735906" y="3301914"/>
              <a:ext cx="35596" cy="24576"/>
            </a:xfrm>
            <a:custGeom>
              <a:avLst/>
              <a:gdLst/>
              <a:ahLst/>
              <a:cxnLst/>
              <a:rect l="l" t="t" r="r" b="b"/>
              <a:pathLst>
                <a:path w="66" h="39" extrusionOk="0">
                  <a:moveTo>
                    <a:pt x="66" y="0"/>
                  </a:moveTo>
                  <a:lnTo>
                    <a:pt x="24" y="11"/>
                  </a:lnTo>
                  <a:lnTo>
                    <a:pt x="0" y="23"/>
                  </a:lnTo>
                  <a:lnTo>
                    <a:pt x="12" y="39"/>
                  </a:lnTo>
                  <a:lnTo>
                    <a:pt x="47" y="27"/>
                  </a:lnTo>
                  <a:lnTo>
                    <a:pt x="47" y="19"/>
                  </a:lnTo>
                  <a:lnTo>
                    <a:pt x="66"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cxnSp>
          <p:nvCxnSpPr>
            <p:cNvPr id="2387" name="Google Shape;2387;g7826bb8c5e_0_4294"/>
            <p:cNvCxnSpPr/>
            <p:nvPr/>
          </p:nvCxnSpPr>
          <p:spPr>
            <a:xfrm>
              <a:off x="5414774" y="3273242"/>
              <a:ext cx="5100" cy="4200"/>
            </a:xfrm>
            <a:prstGeom prst="straightConnector1">
              <a:avLst/>
            </a:prstGeom>
            <a:noFill/>
            <a:ln w="9525" cap="flat" cmpd="sng">
              <a:solidFill>
                <a:srgbClr val="E7E6E6"/>
              </a:solidFill>
              <a:prstDash val="solid"/>
              <a:round/>
              <a:headEnd type="none" w="sm" len="sm"/>
              <a:tailEnd type="none" w="sm" len="sm"/>
            </a:ln>
          </p:spPr>
        </p:cxnSp>
        <p:cxnSp>
          <p:nvCxnSpPr>
            <p:cNvPr id="2388" name="Google Shape;2388;g7826bb8c5e_0_4294"/>
            <p:cNvCxnSpPr/>
            <p:nvPr/>
          </p:nvCxnSpPr>
          <p:spPr>
            <a:xfrm>
              <a:off x="5418588" y="3275974"/>
              <a:ext cx="1200" cy="4200"/>
            </a:xfrm>
            <a:prstGeom prst="straightConnector1">
              <a:avLst/>
            </a:prstGeom>
            <a:noFill/>
            <a:ln w="9525" cap="flat" cmpd="sng">
              <a:solidFill>
                <a:srgbClr val="E7E6E6"/>
              </a:solidFill>
              <a:prstDash val="solid"/>
              <a:round/>
              <a:headEnd type="none" w="sm" len="sm"/>
              <a:tailEnd type="none" w="sm" len="sm"/>
            </a:ln>
          </p:spPr>
        </p:cxnSp>
        <p:cxnSp>
          <p:nvCxnSpPr>
            <p:cNvPr id="2389" name="Google Shape;2389;g7826bb8c5e_0_4294"/>
            <p:cNvCxnSpPr/>
            <p:nvPr/>
          </p:nvCxnSpPr>
          <p:spPr>
            <a:xfrm flipH="1">
              <a:off x="5414687" y="3280068"/>
              <a:ext cx="3900" cy="1500"/>
            </a:xfrm>
            <a:prstGeom prst="straightConnector1">
              <a:avLst/>
            </a:prstGeom>
            <a:noFill/>
            <a:ln w="9525" cap="flat" cmpd="sng">
              <a:solidFill>
                <a:srgbClr val="E7E6E6"/>
              </a:solidFill>
              <a:prstDash val="solid"/>
              <a:round/>
              <a:headEnd type="none" w="sm" len="sm"/>
              <a:tailEnd type="none" w="sm" len="sm"/>
            </a:ln>
          </p:spPr>
        </p:cxnSp>
        <p:cxnSp>
          <p:nvCxnSpPr>
            <p:cNvPr id="2390" name="Google Shape;2390;g7826bb8c5e_0_4294"/>
            <p:cNvCxnSpPr/>
            <p:nvPr/>
          </p:nvCxnSpPr>
          <p:spPr>
            <a:xfrm flipH="1">
              <a:off x="5409673" y="3280068"/>
              <a:ext cx="5100" cy="6900"/>
            </a:xfrm>
            <a:prstGeom prst="straightConnector1">
              <a:avLst/>
            </a:prstGeom>
            <a:noFill/>
            <a:ln w="9525" cap="flat" cmpd="sng">
              <a:solidFill>
                <a:srgbClr val="E7E6E6"/>
              </a:solidFill>
              <a:prstDash val="solid"/>
              <a:round/>
              <a:headEnd type="none" w="sm" len="sm"/>
              <a:tailEnd type="none" w="sm" len="sm"/>
            </a:ln>
          </p:spPr>
        </p:cxnSp>
        <p:cxnSp>
          <p:nvCxnSpPr>
            <p:cNvPr id="2391" name="Google Shape;2391;g7826bb8c5e_0_4294"/>
            <p:cNvCxnSpPr/>
            <p:nvPr/>
          </p:nvCxnSpPr>
          <p:spPr>
            <a:xfrm flipH="1">
              <a:off x="5405860" y="3285529"/>
              <a:ext cx="5100" cy="5400"/>
            </a:xfrm>
            <a:prstGeom prst="straightConnector1">
              <a:avLst/>
            </a:prstGeom>
            <a:noFill/>
            <a:ln w="9525" cap="flat" cmpd="sng">
              <a:solidFill>
                <a:srgbClr val="E7E6E6"/>
              </a:solidFill>
              <a:prstDash val="solid"/>
              <a:round/>
              <a:headEnd type="none" w="sm" len="sm"/>
              <a:tailEnd type="none" w="sm" len="sm"/>
            </a:ln>
          </p:spPr>
        </p:cxnSp>
        <p:cxnSp>
          <p:nvCxnSpPr>
            <p:cNvPr id="2392" name="Google Shape;2392;g7826bb8c5e_0_4294"/>
            <p:cNvCxnSpPr/>
            <p:nvPr/>
          </p:nvCxnSpPr>
          <p:spPr>
            <a:xfrm flipH="1">
              <a:off x="5403246" y="3288261"/>
              <a:ext cx="3900" cy="5400"/>
            </a:xfrm>
            <a:prstGeom prst="straightConnector1">
              <a:avLst/>
            </a:prstGeom>
            <a:noFill/>
            <a:ln w="9525" cap="flat" cmpd="sng">
              <a:solidFill>
                <a:srgbClr val="E7E6E6"/>
              </a:solidFill>
              <a:prstDash val="solid"/>
              <a:round/>
              <a:headEnd type="none" w="sm" len="sm"/>
              <a:tailEnd type="none" w="sm" len="sm"/>
            </a:ln>
          </p:spPr>
        </p:cxnSp>
        <p:cxnSp>
          <p:nvCxnSpPr>
            <p:cNvPr id="2393" name="Google Shape;2393;g7826bb8c5e_0_4294"/>
            <p:cNvCxnSpPr/>
            <p:nvPr/>
          </p:nvCxnSpPr>
          <p:spPr>
            <a:xfrm flipH="1">
              <a:off x="5403404" y="3292357"/>
              <a:ext cx="1200" cy="8100"/>
            </a:xfrm>
            <a:prstGeom prst="straightConnector1">
              <a:avLst/>
            </a:prstGeom>
            <a:noFill/>
            <a:ln w="9525" cap="flat" cmpd="sng">
              <a:solidFill>
                <a:srgbClr val="E7E6E6"/>
              </a:solidFill>
              <a:prstDash val="solid"/>
              <a:round/>
              <a:headEnd type="none" w="sm" len="sm"/>
              <a:tailEnd type="none" w="sm" len="sm"/>
            </a:ln>
          </p:spPr>
        </p:cxnSp>
        <p:cxnSp>
          <p:nvCxnSpPr>
            <p:cNvPr id="2394" name="Google Shape;2394;g7826bb8c5e_0_4294"/>
            <p:cNvCxnSpPr/>
            <p:nvPr/>
          </p:nvCxnSpPr>
          <p:spPr>
            <a:xfrm>
              <a:off x="5403332" y="3300548"/>
              <a:ext cx="1200" cy="8100"/>
            </a:xfrm>
            <a:prstGeom prst="straightConnector1">
              <a:avLst/>
            </a:prstGeom>
            <a:noFill/>
            <a:ln w="9525" cap="flat" cmpd="sng">
              <a:solidFill>
                <a:srgbClr val="E7E6E6"/>
              </a:solidFill>
              <a:prstDash val="solid"/>
              <a:round/>
              <a:headEnd type="none" w="sm" len="sm"/>
              <a:tailEnd type="none" w="sm" len="sm"/>
            </a:ln>
          </p:spPr>
        </p:cxnSp>
        <p:cxnSp>
          <p:nvCxnSpPr>
            <p:cNvPr id="2395" name="Google Shape;2395;g7826bb8c5e_0_4294"/>
            <p:cNvCxnSpPr/>
            <p:nvPr/>
          </p:nvCxnSpPr>
          <p:spPr>
            <a:xfrm>
              <a:off x="5413503" y="3327854"/>
              <a:ext cx="1200" cy="0"/>
            </a:xfrm>
            <a:prstGeom prst="straightConnector1">
              <a:avLst/>
            </a:prstGeom>
            <a:noFill/>
            <a:ln w="9525" cap="flat" cmpd="sng">
              <a:solidFill>
                <a:srgbClr val="E7E6E6"/>
              </a:solidFill>
              <a:prstDash val="solid"/>
              <a:round/>
              <a:headEnd type="none" w="sm" len="sm"/>
              <a:tailEnd type="none" w="sm" len="sm"/>
            </a:ln>
          </p:spPr>
        </p:cxnSp>
        <p:cxnSp>
          <p:nvCxnSpPr>
            <p:cNvPr id="2396" name="Google Shape;2396;g7826bb8c5e_0_4294"/>
            <p:cNvCxnSpPr/>
            <p:nvPr/>
          </p:nvCxnSpPr>
          <p:spPr>
            <a:xfrm>
              <a:off x="5413503" y="3326489"/>
              <a:ext cx="1200" cy="10800"/>
            </a:xfrm>
            <a:prstGeom prst="straightConnector1">
              <a:avLst/>
            </a:prstGeom>
            <a:noFill/>
            <a:ln w="9525" cap="flat" cmpd="sng">
              <a:solidFill>
                <a:srgbClr val="E7E6E6"/>
              </a:solidFill>
              <a:prstDash val="solid"/>
              <a:round/>
              <a:headEnd type="none" w="sm" len="sm"/>
              <a:tailEnd type="none" w="sm" len="sm"/>
            </a:ln>
          </p:spPr>
        </p:cxnSp>
        <p:cxnSp>
          <p:nvCxnSpPr>
            <p:cNvPr id="2397" name="Google Shape;2397;g7826bb8c5e_0_4294"/>
            <p:cNvCxnSpPr/>
            <p:nvPr/>
          </p:nvCxnSpPr>
          <p:spPr>
            <a:xfrm>
              <a:off x="5414774" y="3336046"/>
              <a:ext cx="6300" cy="8100"/>
            </a:xfrm>
            <a:prstGeom prst="straightConnector1">
              <a:avLst/>
            </a:prstGeom>
            <a:noFill/>
            <a:ln w="9525" cap="flat" cmpd="sng">
              <a:solidFill>
                <a:srgbClr val="E7E6E6"/>
              </a:solidFill>
              <a:prstDash val="solid"/>
              <a:round/>
              <a:headEnd type="none" w="sm" len="sm"/>
              <a:tailEnd type="none" w="sm" len="sm"/>
            </a:ln>
          </p:spPr>
        </p:cxnSp>
        <p:cxnSp>
          <p:nvCxnSpPr>
            <p:cNvPr id="2398" name="Google Shape;2398;g7826bb8c5e_0_4294"/>
            <p:cNvCxnSpPr/>
            <p:nvPr/>
          </p:nvCxnSpPr>
          <p:spPr>
            <a:xfrm>
              <a:off x="5419859" y="3342872"/>
              <a:ext cx="9000" cy="2700"/>
            </a:xfrm>
            <a:prstGeom prst="straightConnector1">
              <a:avLst/>
            </a:prstGeom>
            <a:noFill/>
            <a:ln w="9525" cap="flat" cmpd="sng">
              <a:solidFill>
                <a:srgbClr val="E7E6E6"/>
              </a:solidFill>
              <a:prstDash val="solid"/>
              <a:round/>
              <a:headEnd type="none" w="sm" len="sm"/>
              <a:tailEnd type="none" w="sm" len="sm"/>
            </a:ln>
          </p:spPr>
        </p:cxnSp>
        <p:cxnSp>
          <p:nvCxnSpPr>
            <p:cNvPr id="2399" name="Google Shape;2399;g7826bb8c5e_0_4294"/>
            <p:cNvCxnSpPr/>
            <p:nvPr/>
          </p:nvCxnSpPr>
          <p:spPr>
            <a:xfrm>
              <a:off x="5427488" y="3345603"/>
              <a:ext cx="1200" cy="9600"/>
            </a:xfrm>
            <a:prstGeom prst="straightConnector1">
              <a:avLst/>
            </a:prstGeom>
            <a:noFill/>
            <a:ln w="9525" cap="flat" cmpd="sng">
              <a:solidFill>
                <a:srgbClr val="E7E6E6"/>
              </a:solidFill>
              <a:prstDash val="solid"/>
              <a:round/>
              <a:headEnd type="none" w="sm" len="sm"/>
              <a:tailEnd type="none" w="sm" len="sm"/>
            </a:ln>
          </p:spPr>
        </p:cxnSp>
        <p:cxnSp>
          <p:nvCxnSpPr>
            <p:cNvPr id="2400" name="Google Shape;2400;g7826bb8c5e_0_4294"/>
            <p:cNvCxnSpPr/>
            <p:nvPr/>
          </p:nvCxnSpPr>
          <p:spPr>
            <a:xfrm>
              <a:off x="5427488" y="3353795"/>
              <a:ext cx="1200" cy="6900"/>
            </a:xfrm>
            <a:prstGeom prst="straightConnector1">
              <a:avLst/>
            </a:prstGeom>
            <a:noFill/>
            <a:ln w="9525" cap="flat" cmpd="sng">
              <a:solidFill>
                <a:srgbClr val="E7E6E6"/>
              </a:solidFill>
              <a:prstDash val="solid"/>
              <a:round/>
              <a:headEnd type="none" w="sm" len="sm"/>
              <a:tailEnd type="none" w="sm" len="sm"/>
            </a:ln>
          </p:spPr>
        </p:cxnSp>
        <p:cxnSp>
          <p:nvCxnSpPr>
            <p:cNvPr id="2401" name="Google Shape;2401;g7826bb8c5e_0_4294"/>
            <p:cNvCxnSpPr/>
            <p:nvPr/>
          </p:nvCxnSpPr>
          <p:spPr>
            <a:xfrm>
              <a:off x="5428757" y="3359256"/>
              <a:ext cx="2400" cy="1500"/>
            </a:xfrm>
            <a:prstGeom prst="straightConnector1">
              <a:avLst/>
            </a:prstGeom>
            <a:noFill/>
            <a:ln w="9525" cap="flat" cmpd="sng">
              <a:solidFill>
                <a:srgbClr val="E7E6E6"/>
              </a:solidFill>
              <a:prstDash val="solid"/>
              <a:round/>
              <a:headEnd type="none" w="sm" len="sm"/>
              <a:tailEnd type="none" w="sm" len="sm"/>
            </a:ln>
          </p:spPr>
        </p:cxnSp>
        <p:cxnSp>
          <p:nvCxnSpPr>
            <p:cNvPr id="2402" name="Google Shape;2402;g7826bb8c5e_0_4294"/>
            <p:cNvCxnSpPr/>
            <p:nvPr/>
          </p:nvCxnSpPr>
          <p:spPr>
            <a:xfrm rot="10800000" flipH="1">
              <a:off x="5513934" y="3336108"/>
              <a:ext cx="9000" cy="5400"/>
            </a:xfrm>
            <a:prstGeom prst="straightConnector1">
              <a:avLst/>
            </a:prstGeom>
            <a:noFill/>
            <a:ln w="9525" cap="flat" cmpd="sng">
              <a:solidFill>
                <a:srgbClr val="E7E6E6"/>
              </a:solidFill>
              <a:prstDash val="solid"/>
              <a:round/>
              <a:headEnd type="none" w="sm" len="sm"/>
              <a:tailEnd type="none" w="sm" len="sm"/>
            </a:ln>
          </p:spPr>
        </p:cxnSp>
        <p:cxnSp>
          <p:nvCxnSpPr>
            <p:cNvPr id="2403" name="Google Shape;2403;g7826bb8c5e_0_4294"/>
            <p:cNvCxnSpPr/>
            <p:nvPr/>
          </p:nvCxnSpPr>
          <p:spPr>
            <a:xfrm rot="10800000" flipH="1">
              <a:off x="5521563" y="3325111"/>
              <a:ext cx="2400" cy="12300"/>
            </a:xfrm>
            <a:prstGeom prst="straightConnector1">
              <a:avLst/>
            </a:prstGeom>
            <a:noFill/>
            <a:ln w="9525" cap="flat" cmpd="sng">
              <a:solidFill>
                <a:srgbClr val="E7E6E6"/>
              </a:solidFill>
              <a:prstDash val="solid"/>
              <a:round/>
              <a:headEnd type="none" w="sm" len="sm"/>
              <a:tailEnd type="none" w="sm" len="sm"/>
            </a:ln>
          </p:spPr>
        </p:cxnSp>
        <p:cxnSp>
          <p:nvCxnSpPr>
            <p:cNvPr id="2404" name="Google Shape;2404;g7826bb8c5e_0_4294"/>
            <p:cNvCxnSpPr/>
            <p:nvPr/>
          </p:nvCxnSpPr>
          <p:spPr>
            <a:xfrm rot="10800000" flipH="1">
              <a:off x="5524105" y="3304589"/>
              <a:ext cx="2400" cy="21900"/>
            </a:xfrm>
            <a:prstGeom prst="straightConnector1">
              <a:avLst/>
            </a:prstGeom>
            <a:noFill/>
            <a:ln w="9525" cap="flat" cmpd="sng">
              <a:solidFill>
                <a:srgbClr val="E7E6E6"/>
              </a:solidFill>
              <a:prstDash val="solid"/>
              <a:round/>
              <a:headEnd type="none" w="sm" len="sm"/>
              <a:tailEnd type="none" w="sm" len="sm"/>
            </a:ln>
          </p:spPr>
        </p:cxnSp>
        <p:cxnSp>
          <p:nvCxnSpPr>
            <p:cNvPr id="2405" name="Google Shape;2405;g7826bb8c5e_0_4294"/>
            <p:cNvCxnSpPr/>
            <p:nvPr/>
          </p:nvCxnSpPr>
          <p:spPr>
            <a:xfrm rot="10800000">
              <a:off x="5522747" y="3303174"/>
              <a:ext cx="3900" cy="4200"/>
            </a:xfrm>
            <a:prstGeom prst="straightConnector1">
              <a:avLst/>
            </a:prstGeom>
            <a:noFill/>
            <a:ln w="9525" cap="flat" cmpd="sng">
              <a:solidFill>
                <a:srgbClr val="E7E6E6"/>
              </a:solidFill>
              <a:prstDash val="solid"/>
              <a:round/>
              <a:headEnd type="none" w="sm" len="sm"/>
              <a:tailEnd type="none" w="sm" len="sm"/>
            </a:ln>
          </p:spPr>
        </p:cxnSp>
        <p:cxnSp>
          <p:nvCxnSpPr>
            <p:cNvPr id="2406" name="Google Shape;2406;g7826bb8c5e_0_4294"/>
            <p:cNvCxnSpPr/>
            <p:nvPr/>
          </p:nvCxnSpPr>
          <p:spPr>
            <a:xfrm rot="10800000">
              <a:off x="5497321" y="3296482"/>
              <a:ext cx="3900" cy="2700"/>
            </a:xfrm>
            <a:prstGeom prst="straightConnector1">
              <a:avLst/>
            </a:prstGeom>
            <a:noFill/>
            <a:ln w="9525" cap="flat" cmpd="sng">
              <a:solidFill>
                <a:srgbClr val="E7E6E6"/>
              </a:solidFill>
              <a:prstDash val="solid"/>
              <a:round/>
              <a:headEnd type="none" w="sm" len="sm"/>
              <a:tailEnd type="none" w="sm" len="sm"/>
            </a:ln>
          </p:spPr>
        </p:cxnSp>
        <p:cxnSp>
          <p:nvCxnSpPr>
            <p:cNvPr id="2407" name="Google Shape;2407;g7826bb8c5e_0_4294"/>
            <p:cNvCxnSpPr/>
            <p:nvPr/>
          </p:nvCxnSpPr>
          <p:spPr>
            <a:xfrm flipH="1">
              <a:off x="5483380" y="3296452"/>
              <a:ext cx="15300" cy="12300"/>
            </a:xfrm>
            <a:prstGeom prst="straightConnector1">
              <a:avLst/>
            </a:prstGeom>
            <a:noFill/>
            <a:ln w="9525" cap="flat" cmpd="sng">
              <a:solidFill>
                <a:srgbClr val="E7E6E6"/>
              </a:solidFill>
              <a:prstDash val="solid"/>
              <a:round/>
              <a:headEnd type="none" w="sm" len="sm"/>
              <a:tailEnd type="none" w="sm" len="sm"/>
            </a:ln>
          </p:spPr>
        </p:cxnSp>
        <p:sp>
          <p:nvSpPr>
            <p:cNvPr id="2408" name="Google Shape;2408;g7826bb8c5e_0_4294"/>
            <p:cNvSpPr/>
            <p:nvPr/>
          </p:nvSpPr>
          <p:spPr>
            <a:xfrm>
              <a:off x="4786758" y="3326489"/>
              <a:ext cx="19069" cy="34134"/>
            </a:xfrm>
            <a:custGeom>
              <a:avLst/>
              <a:gdLst/>
              <a:ahLst/>
              <a:cxnLst/>
              <a:rect l="l" t="t" r="r" b="b"/>
              <a:pathLst>
                <a:path w="41" h="58" extrusionOk="0">
                  <a:moveTo>
                    <a:pt x="35" y="31"/>
                  </a:moveTo>
                  <a:lnTo>
                    <a:pt x="16" y="52"/>
                  </a:lnTo>
                  <a:lnTo>
                    <a:pt x="0" y="58"/>
                  </a:lnTo>
                  <a:lnTo>
                    <a:pt x="10" y="29"/>
                  </a:lnTo>
                  <a:lnTo>
                    <a:pt x="22" y="0"/>
                  </a:lnTo>
                  <a:lnTo>
                    <a:pt x="41" y="7"/>
                  </a:lnTo>
                  <a:lnTo>
                    <a:pt x="35" y="3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09" name="Google Shape;2409;g7826bb8c5e_0_4294"/>
            <p:cNvSpPr/>
            <p:nvPr/>
          </p:nvSpPr>
          <p:spPr>
            <a:xfrm>
              <a:off x="4791842" y="3267780"/>
              <a:ext cx="102974" cy="113320"/>
            </a:xfrm>
            <a:custGeom>
              <a:avLst/>
              <a:gdLst/>
              <a:ahLst/>
              <a:cxnLst/>
              <a:rect l="l" t="t" r="r" b="b"/>
              <a:pathLst>
                <a:path w="196" h="186" extrusionOk="0">
                  <a:moveTo>
                    <a:pt x="124" y="13"/>
                  </a:moveTo>
                  <a:lnTo>
                    <a:pt x="76" y="13"/>
                  </a:lnTo>
                  <a:lnTo>
                    <a:pt x="29" y="17"/>
                  </a:lnTo>
                  <a:lnTo>
                    <a:pt x="17" y="21"/>
                  </a:lnTo>
                  <a:lnTo>
                    <a:pt x="16" y="36"/>
                  </a:lnTo>
                  <a:lnTo>
                    <a:pt x="2" y="50"/>
                  </a:lnTo>
                  <a:lnTo>
                    <a:pt x="0" y="48"/>
                  </a:lnTo>
                  <a:lnTo>
                    <a:pt x="8" y="97"/>
                  </a:lnTo>
                  <a:lnTo>
                    <a:pt x="27" y="104"/>
                  </a:lnTo>
                  <a:lnTo>
                    <a:pt x="21" y="128"/>
                  </a:lnTo>
                  <a:lnTo>
                    <a:pt x="2" y="149"/>
                  </a:lnTo>
                  <a:lnTo>
                    <a:pt x="4" y="168"/>
                  </a:lnTo>
                  <a:lnTo>
                    <a:pt x="45" y="186"/>
                  </a:lnTo>
                  <a:lnTo>
                    <a:pt x="74" y="164"/>
                  </a:lnTo>
                  <a:lnTo>
                    <a:pt x="103" y="145"/>
                  </a:lnTo>
                  <a:lnTo>
                    <a:pt x="136" y="126"/>
                  </a:lnTo>
                  <a:lnTo>
                    <a:pt x="169" y="104"/>
                  </a:lnTo>
                  <a:lnTo>
                    <a:pt x="167" y="67"/>
                  </a:lnTo>
                  <a:lnTo>
                    <a:pt x="167" y="33"/>
                  </a:lnTo>
                  <a:lnTo>
                    <a:pt x="196" y="3"/>
                  </a:lnTo>
                  <a:lnTo>
                    <a:pt x="186" y="0"/>
                  </a:lnTo>
                  <a:lnTo>
                    <a:pt x="155" y="7"/>
                  </a:lnTo>
                  <a:lnTo>
                    <a:pt x="124" y="13"/>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10" name="Google Shape;2410;g7826bb8c5e_0_4294"/>
            <p:cNvSpPr/>
            <p:nvPr/>
          </p:nvSpPr>
          <p:spPr>
            <a:xfrm>
              <a:off x="5292731" y="3162652"/>
              <a:ext cx="137299" cy="114686"/>
            </a:xfrm>
            <a:custGeom>
              <a:avLst/>
              <a:gdLst/>
              <a:ahLst/>
              <a:cxnLst/>
              <a:rect l="l" t="t" r="r" b="b"/>
              <a:pathLst>
                <a:path w="263" h="186" extrusionOk="0">
                  <a:moveTo>
                    <a:pt x="221" y="165"/>
                  </a:moveTo>
                  <a:lnTo>
                    <a:pt x="197" y="167"/>
                  </a:lnTo>
                  <a:lnTo>
                    <a:pt x="157" y="186"/>
                  </a:lnTo>
                  <a:lnTo>
                    <a:pt x="145" y="142"/>
                  </a:lnTo>
                  <a:lnTo>
                    <a:pt x="135" y="142"/>
                  </a:lnTo>
                  <a:lnTo>
                    <a:pt x="128" y="124"/>
                  </a:lnTo>
                  <a:lnTo>
                    <a:pt x="112" y="130"/>
                  </a:lnTo>
                  <a:lnTo>
                    <a:pt x="108" y="153"/>
                  </a:lnTo>
                  <a:lnTo>
                    <a:pt x="83" y="165"/>
                  </a:lnTo>
                  <a:lnTo>
                    <a:pt x="77" y="173"/>
                  </a:lnTo>
                  <a:lnTo>
                    <a:pt x="56" y="173"/>
                  </a:lnTo>
                  <a:lnTo>
                    <a:pt x="38" y="176"/>
                  </a:lnTo>
                  <a:lnTo>
                    <a:pt x="29" y="169"/>
                  </a:lnTo>
                  <a:lnTo>
                    <a:pt x="36" y="143"/>
                  </a:lnTo>
                  <a:lnTo>
                    <a:pt x="44" y="120"/>
                  </a:lnTo>
                  <a:lnTo>
                    <a:pt x="34" y="105"/>
                  </a:lnTo>
                  <a:lnTo>
                    <a:pt x="13" y="93"/>
                  </a:lnTo>
                  <a:lnTo>
                    <a:pt x="0" y="78"/>
                  </a:lnTo>
                  <a:lnTo>
                    <a:pt x="33" y="48"/>
                  </a:lnTo>
                  <a:lnTo>
                    <a:pt x="64" y="19"/>
                  </a:lnTo>
                  <a:lnTo>
                    <a:pt x="87" y="0"/>
                  </a:lnTo>
                  <a:lnTo>
                    <a:pt x="129" y="4"/>
                  </a:lnTo>
                  <a:lnTo>
                    <a:pt x="162" y="25"/>
                  </a:lnTo>
                  <a:lnTo>
                    <a:pt x="126" y="39"/>
                  </a:lnTo>
                  <a:lnTo>
                    <a:pt x="87" y="50"/>
                  </a:lnTo>
                  <a:lnTo>
                    <a:pt x="89" y="76"/>
                  </a:lnTo>
                  <a:lnTo>
                    <a:pt x="143" y="81"/>
                  </a:lnTo>
                  <a:lnTo>
                    <a:pt x="197" y="89"/>
                  </a:lnTo>
                  <a:lnTo>
                    <a:pt x="215" y="120"/>
                  </a:lnTo>
                  <a:lnTo>
                    <a:pt x="244" y="122"/>
                  </a:lnTo>
                  <a:lnTo>
                    <a:pt x="263" y="167"/>
                  </a:lnTo>
                  <a:lnTo>
                    <a:pt x="259" y="169"/>
                  </a:lnTo>
                  <a:lnTo>
                    <a:pt x="257" y="169"/>
                  </a:lnTo>
                  <a:lnTo>
                    <a:pt x="230" y="167"/>
                  </a:lnTo>
                  <a:lnTo>
                    <a:pt x="221" y="165"/>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11" name="Google Shape;2411;g7826bb8c5e_0_4294"/>
            <p:cNvSpPr/>
            <p:nvPr/>
          </p:nvSpPr>
          <p:spPr>
            <a:xfrm>
              <a:off x="5080425" y="3069812"/>
              <a:ext cx="258072" cy="196605"/>
            </a:xfrm>
            <a:custGeom>
              <a:avLst/>
              <a:gdLst/>
              <a:ahLst/>
              <a:cxnLst/>
              <a:rect l="l" t="t" r="r" b="b"/>
              <a:pathLst>
                <a:path w="493" h="326" extrusionOk="0">
                  <a:moveTo>
                    <a:pt x="351" y="279"/>
                  </a:moveTo>
                  <a:lnTo>
                    <a:pt x="299" y="244"/>
                  </a:lnTo>
                  <a:lnTo>
                    <a:pt x="245" y="211"/>
                  </a:lnTo>
                  <a:lnTo>
                    <a:pt x="220" y="198"/>
                  </a:lnTo>
                  <a:lnTo>
                    <a:pt x="177" y="182"/>
                  </a:lnTo>
                  <a:lnTo>
                    <a:pt x="152" y="143"/>
                  </a:lnTo>
                  <a:lnTo>
                    <a:pt x="113" y="114"/>
                  </a:lnTo>
                  <a:lnTo>
                    <a:pt x="88" y="143"/>
                  </a:lnTo>
                  <a:lnTo>
                    <a:pt x="72" y="151"/>
                  </a:lnTo>
                  <a:lnTo>
                    <a:pt x="78" y="173"/>
                  </a:lnTo>
                  <a:lnTo>
                    <a:pt x="35" y="163"/>
                  </a:lnTo>
                  <a:lnTo>
                    <a:pt x="26" y="130"/>
                  </a:lnTo>
                  <a:lnTo>
                    <a:pt x="18" y="95"/>
                  </a:lnTo>
                  <a:lnTo>
                    <a:pt x="10" y="62"/>
                  </a:lnTo>
                  <a:lnTo>
                    <a:pt x="0" y="27"/>
                  </a:lnTo>
                  <a:lnTo>
                    <a:pt x="39" y="14"/>
                  </a:lnTo>
                  <a:lnTo>
                    <a:pt x="76" y="0"/>
                  </a:lnTo>
                  <a:lnTo>
                    <a:pt x="117" y="19"/>
                  </a:lnTo>
                  <a:lnTo>
                    <a:pt x="156" y="41"/>
                  </a:lnTo>
                  <a:lnTo>
                    <a:pt x="188" y="79"/>
                  </a:lnTo>
                  <a:lnTo>
                    <a:pt x="220" y="81"/>
                  </a:lnTo>
                  <a:lnTo>
                    <a:pt x="252" y="83"/>
                  </a:lnTo>
                  <a:lnTo>
                    <a:pt x="283" y="85"/>
                  </a:lnTo>
                  <a:lnTo>
                    <a:pt x="316" y="87"/>
                  </a:lnTo>
                  <a:lnTo>
                    <a:pt x="349" y="110"/>
                  </a:lnTo>
                  <a:lnTo>
                    <a:pt x="353" y="141"/>
                  </a:lnTo>
                  <a:lnTo>
                    <a:pt x="382" y="157"/>
                  </a:lnTo>
                  <a:lnTo>
                    <a:pt x="411" y="173"/>
                  </a:lnTo>
                  <a:lnTo>
                    <a:pt x="440" y="151"/>
                  </a:lnTo>
                  <a:lnTo>
                    <a:pt x="470" y="130"/>
                  </a:lnTo>
                  <a:lnTo>
                    <a:pt x="493" y="157"/>
                  </a:lnTo>
                  <a:lnTo>
                    <a:pt x="470" y="176"/>
                  </a:lnTo>
                  <a:lnTo>
                    <a:pt x="439" y="205"/>
                  </a:lnTo>
                  <a:lnTo>
                    <a:pt x="406" y="235"/>
                  </a:lnTo>
                  <a:lnTo>
                    <a:pt x="419" y="250"/>
                  </a:lnTo>
                  <a:lnTo>
                    <a:pt x="440" y="262"/>
                  </a:lnTo>
                  <a:lnTo>
                    <a:pt x="450" y="277"/>
                  </a:lnTo>
                  <a:lnTo>
                    <a:pt x="442" y="300"/>
                  </a:lnTo>
                  <a:lnTo>
                    <a:pt x="435" y="326"/>
                  </a:lnTo>
                  <a:lnTo>
                    <a:pt x="404" y="320"/>
                  </a:lnTo>
                  <a:lnTo>
                    <a:pt x="373" y="316"/>
                  </a:lnTo>
                  <a:lnTo>
                    <a:pt x="351" y="279"/>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12" name="Google Shape;2412;g7826bb8c5e_0_4294"/>
            <p:cNvSpPr/>
            <p:nvPr/>
          </p:nvSpPr>
          <p:spPr>
            <a:xfrm>
              <a:off x="4527414" y="3148999"/>
              <a:ext cx="40681" cy="34134"/>
            </a:xfrm>
            <a:custGeom>
              <a:avLst/>
              <a:gdLst/>
              <a:ahLst/>
              <a:cxnLst/>
              <a:rect l="l" t="t" r="r" b="b"/>
              <a:pathLst>
                <a:path w="78" h="56" extrusionOk="0">
                  <a:moveTo>
                    <a:pt x="21" y="56"/>
                  </a:moveTo>
                  <a:lnTo>
                    <a:pt x="0" y="15"/>
                  </a:lnTo>
                  <a:lnTo>
                    <a:pt x="8" y="15"/>
                  </a:lnTo>
                  <a:lnTo>
                    <a:pt x="8" y="9"/>
                  </a:lnTo>
                  <a:lnTo>
                    <a:pt x="18" y="6"/>
                  </a:lnTo>
                  <a:lnTo>
                    <a:pt x="25" y="7"/>
                  </a:lnTo>
                  <a:lnTo>
                    <a:pt x="29" y="2"/>
                  </a:lnTo>
                  <a:lnTo>
                    <a:pt x="33" y="4"/>
                  </a:lnTo>
                  <a:lnTo>
                    <a:pt x="41" y="4"/>
                  </a:lnTo>
                  <a:lnTo>
                    <a:pt x="45" y="2"/>
                  </a:lnTo>
                  <a:lnTo>
                    <a:pt x="54" y="0"/>
                  </a:lnTo>
                  <a:lnTo>
                    <a:pt x="62" y="7"/>
                  </a:lnTo>
                  <a:lnTo>
                    <a:pt x="68" y="4"/>
                  </a:lnTo>
                  <a:lnTo>
                    <a:pt x="74" y="11"/>
                  </a:lnTo>
                  <a:lnTo>
                    <a:pt x="78" y="39"/>
                  </a:lnTo>
                  <a:lnTo>
                    <a:pt x="21" y="56"/>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13" name="Google Shape;2413;g7826bb8c5e_0_4294"/>
            <p:cNvSpPr/>
            <p:nvPr/>
          </p:nvSpPr>
          <p:spPr>
            <a:xfrm>
              <a:off x="4557926" y="3106675"/>
              <a:ext cx="95346" cy="65535"/>
            </a:xfrm>
            <a:custGeom>
              <a:avLst/>
              <a:gdLst/>
              <a:ahLst/>
              <a:cxnLst/>
              <a:rect l="l" t="t" r="r" b="b"/>
              <a:pathLst>
                <a:path w="182" h="111" extrusionOk="0">
                  <a:moveTo>
                    <a:pt x="10" y="10"/>
                  </a:moveTo>
                  <a:lnTo>
                    <a:pt x="2" y="0"/>
                  </a:lnTo>
                  <a:lnTo>
                    <a:pt x="0" y="23"/>
                  </a:lnTo>
                  <a:lnTo>
                    <a:pt x="14" y="45"/>
                  </a:lnTo>
                  <a:lnTo>
                    <a:pt x="0" y="64"/>
                  </a:lnTo>
                  <a:lnTo>
                    <a:pt x="10" y="76"/>
                  </a:lnTo>
                  <a:lnTo>
                    <a:pt x="16" y="83"/>
                  </a:lnTo>
                  <a:lnTo>
                    <a:pt x="20" y="111"/>
                  </a:lnTo>
                  <a:lnTo>
                    <a:pt x="55" y="105"/>
                  </a:lnTo>
                  <a:lnTo>
                    <a:pt x="107" y="111"/>
                  </a:lnTo>
                  <a:lnTo>
                    <a:pt x="119" y="101"/>
                  </a:lnTo>
                  <a:lnTo>
                    <a:pt x="124" y="95"/>
                  </a:lnTo>
                  <a:lnTo>
                    <a:pt x="130" y="87"/>
                  </a:lnTo>
                  <a:lnTo>
                    <a:pt x="175" y="85"/>
                  </a:lnTo>
                  <a:lnTo>
                    <a:pt x="161" y="68"/>
                  </a:lnTo>
                  <a:lnTo>
                    <a:pt x="167" y="54"/>
                  </a:lnTo>
                  <a:lnTo>
                    <a:pt x="175" y="31"/>
                  </a:lnTo>
                  <a:lnTo>
                    <a:pt x="182" y="17"/>
                  </a:lnTo>
                  <a:lnTo>
                    <a:pt x="124" y="6"/>
                  </a:lnTo>
                  <a:lnTo>
                    <a:pt x="78" y="21"/>
                  </a:lnTo>
                  <a:lnTo>
                    <a:pt x="43" y="15"/>
                  </a:lnTo>
                  <a:lnTo>
                    <a:pt x="10" y="10"/>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14" name="Google Shape;2414;g7826bb8c5e_0_4294"/>
            <p:cNvSpPr/>
            <p:nvPr/>
          </p:nvSpPr>
          <p:spPr>
            <a:xfrm>
              <a:off x="4510887" y="3144903"/>
              <a:ext cx="27969" cy="64170"/>
            </a:xfrm>
            <a:custGeom>
              <a:avLst/>
              <a:gdLst/>
              <a:ahLst/>
              <a:cxnLst/>
              <a:rect l="l" t="t" r="r" b="b"/>
              <a:pathLst>
                <a:path w="54" h="107" extrusionOk="0">
                  <a:moveTo>
                    <a:pt x="0" y="25"/>
                  </a:moveTo>
                  <a:lnTo>
                    <a:pt x="8" y="76"/>
                  </a:lnTo>
                  <a:lnTo>
                    <a:pt x="29" y="107"/>
                  </a:lnTo>
                  <a:lnTo>
                    <a:pt x="37" y="97"/>
                  </a:lnTo>
                  <a:lnTo>
                    <a:pt x="54" y="66"/>
                  </a:lnTo>
                  <a:lnTo>
                    <a:pt x="54" y="64"/>
                  </a:lnTo>
                  <a:lnTo>
                    <a:pt x="33" y="23"/>
                  </a:lnTo>
                  <a:lnTo>
                    <a:pt x="25" y="4"/>
                  </a:lnTo>
                  <a:lnTo>
                    <a:pt x="6" y="0"/>
                  </a:lnTo>
                  <a:lnTo>
                    <a:pt x="0" y="25"/>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15" name="Google Shape;2415;g7826bb8c5e_0_4294"/>
            <p:cNvSpPr/>
            <p:nvPr/>
          </p:nvSpPr>
          <p:spPr>
            <a:xfrm>
              <a:off x="4887189" y="3165383"/>
              <a:ext cx="75006" cy="60074"/>
            </a:xfrm>
            <a:custGeom>
              <a:avLst/>
              <a:gdLst/>
              <a:ahLst/>
              <a:cxnLst/>
              <a:rect l="l" t="t" r="r" b="b"/>
              <a:pathLst>
                <a:path w="142" h="97" extrusionOk="0">
                  <a:moveTo>
                    <a:pt x="18" y="15"/>
                  </a:moveTo>
                  <a:lnTo>
                    <a:pt x="0" y="0"/>
                  </a:lnTo>
                  <a:lnTo>
                    <a:pt x="45" y="2"/>
                  </a:lnTo>
                  <a:lnTo>
                    <a:pt x="89" y="2"/>
                  </a:lnTo>
                  <a:lnTo>
                    <a:pt x="120" y="6"/>
                  </a:lnTo>
                  <a:lnTo>
                    <a:pt x="118" y="41"/>
                  </a:lnTo>
                  <a:lnTo>
                    <a:pt x="132" y="46"/>
                  </a:lnTo>
                  <a:lnTo>
                    <a:pt x="120" y="60"/>
                  </a:lnTo>
                  <a:lnTo>
                    <a:pt x="142" y="91"/>
                  </a:lnTo>
                  <a:lnTo>
                    <a:pt x="130" y="97"/>
                  </a:lnTo>
                  <a:lnTo>
                    <a:pt x="120" y="91"/>
                  </a:lnTo>
                  <a:lnTo>
                    <a:pt x="117" y="85"/>
                  </a:lnTo>
                  <a:lnTo>
                    <a:pt x="111" y="79"/>
                  </a:lnTo>
                  <a:lnTo>
                    <a:pt x="103" y="79"/>
                  </a:lnTo>
                  <a:lnTo>
                    <a:pt x="93" y="77"/>
                  </a:lnTo>
                  <a:lnTo>
                    <a:pt x="84" y="74"/>
                  </a:lnTo>
                  <a:lnTo>
                    <a:pt x="72" y="72"/>
                  </a:lnTo>
                  <a:lnTo>
                    <a:pt x="45" y="60"/>
                  </a:lnTo>
                  <a:lnTo>
                    <a:pt x="31" y="39"/>
                  </a:lnTo>
                  <a:lnTo>
                    <a:pt x="18" y="15"/>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16" name="Google Shape;2416;g7826bb8c5e_0_4294"/>
            <p:cNvSpPr/>
            <p:nvPr/>
          </p:nvSpPr>
          <p:spPr>
            <a:xfrm>
              <a:off x="4948211" y="3158556"/>
              <a:ext cx="63565" cy="80553"/>
            </a:xfrm>
            <a:custGeom>
              <a:avLst/>
              <a:gdLst/>
              <a:ahLst/>
              <a:cxnLst/>
              <a:rect l="l" t="t" r="r" b="b"/>
              <a:pathLst>
                <a:path w="123" h="130" extrusionOk="0">
                  <a:moveTo>
                    <a:pt x="24" y="103"/>
                  </a:moveTo>
                  <a:lnTo>
                    <a:pt x="2" y="72"/>
                  </a:lnTo>
                  <a:lnTo>
                    <a:pt x="14" y="58"/>
                  </a:lnTo>
                  <a:lnTo>
                    <a:pt x="0" y="53"/>
                  </a:lnTo>
                  <a:lnTo>
                    <a:pt x="2" y="18"/>
                  </a:lnTo>
                  <a:lnTo>
                    <a:pt x="12" y="0"/>
                  </a:lnTo>
                  <a:lnTo>
                    <a:pt x="62" y="8"/>
                  </a:lnTo>
                  <a:lnTo>
                    <a:pt x="82" y="33"/>
                  </a:lnTo>
                  <a:lnTo>
                    <a:pt x="123" y="58"/>
                  </a:lnTo>
                  <a:lnTo>
                    <a:pt x="103" y="62"/>
                  </a:lnTo>
                  <a:lnTo>
                    <a:pt x="95" y="107"/>
                  </a:lnTo>
                  <a:lnTo>
                    <a:pt x="92" y="130"/>
                  </a:lnTo>
                  <a:lnTo>
                    <a:pt x="62" y="113"/>
                  </a:lnTo>
                  <a:lnTo>
                    <a:pt x="66" y="105"/>
                  </a:lnTo>
                  <a:lnTo>
                    <a:pt x="57" y="84"/>
                  </a:lnTo>
                  <a:lnTo>
                    <a:pt x="24" y="103"/>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17" name="Google Shape;2417;g7826bb8c5e_0_4294"/>
            <p:cNvSpPr/>
            <p:nvPr/>
          </p:nvSpPr>
          <p:spPr>
            <a:xfrm>
              <a:off x="4925328" y="3209072"/>
              <a:ext cx="29240" cy="19115"/>
            </a:xfrm>
            <a:custGeom>
              <a:avLst/>
              <a:gdLst/>
              <a:ahLst/>
              <a:cxnLst/>
              <a:rect l="l" t="t" r="r" b="b"/>
              <a:pathLst>
                <a:path w="58" h="31" extrusionOk="0">
                  <a:moveTo>
                    <a:pt x="58" y="25"/>
                  </a:moveTo>
                  <a:lnTo>
                    <a:pt x="46" y="31"/>
                  </a:lnTo>
                  <a:lnTo>
                    <a:pt x="8" y="9"/>
                  </a:lnTo>
                  <a:lnTo>
                    <a:pt x="4" y="2"/>
                  </a:lnTo>
                  <a:lnTo>
                    <a:pt x="0" y="0"/>
                  </a:lnTo>
                  <a:lnTo>
                    <a:pt x="12" y="2"/>
                  </a:lnTo>
                  <a:lnTo>
                    <a:pt x="21" y="5"/>
                  </a:lnTo>
                  <a:lnTo>
                    <a:pt x="29" y="7"/>
                  </a:lnTo>
                  <a:lnTo>
                    <a:pt x="39" y="7"/>
                  </a:lnTo>
                  <a:lnTo>
                    <a:pt x="45" y="13"/>
                  </a:lnTo>
                  <a:lnTo>
                    <a:pt x="48" y="19"/>
                  </a:lnTo>
                  <a:lnTo>
                    <a:pt x="58" y="25"/>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18" name="Google Shape;2418;g7826bb8c5e_0_4294"/>
            <p:cNvSpPr/>
            <p:nvPr/>
          </p:nvSpPr>
          <p:spPr>
            <a:xfrm>
              <a:off x="4523601" y="3162652"/>
              <a:ext cx="101703" cy="118782"/>
            </a:xfrm>
            <a:custGeom>
              <a:avLst/>
              <a:gdLst/>
              <a:ahLst/>
              <a:cxnLst/>
              <a:rect l="l" t="t" r="r" b="b"/>
              <a:pathLst>
                <a:path w="194" h="196" extrusionOk="0">
                  <a:moveTo>
                    <a:pt x="37" y="103"/>
                  </a:moveTo>
                  <a:lnTo>
                    <a:pt x="16" y="93"/>
                  </a:lnTo>
                  <a:lnTo>
                    <a:pt x="0" y="76"/>
                  </a:lnTo>
                  <a:lnTo>
                    <a:pt x="8" y="66"/>
                  </a:lnTo>
                  <a:lnTo>
                    <a:pt x="25" y="35"/>
                  </a:lnTo>
                  <a:lnTo>
                    <a:pt x="25" y="33"/>
                  </a:lnTo>
                  <a:lnTo>
                    <a:pt x="82" y="16"/>
                  </a:lnTo>
                  <a:lnTo>
                    <a:pt x="117" y="10"/>
                  </a:lnTo>
                  <a:lnTo>
                    <a:pt x="169" y="16"/>
                  </a:lnTo>
                  <a:lnTo>
                    <a:pt x="181" y="6"/>
                  </a:lnTo>
                  <a:lnTo>
                    <a:pt x="186" y="0"/>
                  </a:lnTo>
                  <a:lnTo>
                    <a:pt x="194" y="14"/>
                  </a:lnTo>
                  <a:lnTo>
                    <a:pt x="182" y="37"/>
                  </a:lnTo>
                  <a:lnTo>
                    <a:pt x="146" y="29"/>
                  </a:lnTo>
                  <a:lnTo>
                    <a:pt x="111" y="41"/>
                  </a:lnTo>
                  <a:lnTo>
                    <a:pt x="128" y="56"/>
                  </a:lnTo>
                  <a:lnTo>
                    <a:pt x="113" y="56"/>
                  </a:lnTo>
                  <a:lnTo>
                    <a:pt x="117" y="64"/>
                  </a:lnTo>
                  <a:lnTo>
                    <a:pt x="103" y="60"/>
                  </a:lnTo>
                  <a:lnTo>
                    <a:pt x="109" y="68"/>
                  </a:lnTo>
                  <a:lnTo>
                    <a:pt x="87" y="45"/>
                  </a:lnTo>
                  <a:lnTo>
                    <a:pt x="80" y="50"/>
                  </a:lnTo>
                  <a:lnTo>
                    <a:pt x="93" y="81"/>
                  </a:lnTo>
                  <a:lnTo>
                    <a:pt x="99" y="99"/>
                  </a:lnTo>
                  <a:lnTo>
                    <a:pt x="87" y="91"/>
                  </a:lnTo>
                  <a:lnTo>
                    <a:pt x="91" y="105"/>
                  </a:lnTo>
                  <a:lnTo>
                    <a:pt x="86" y="109"/>
                  </a:lnTo>
                  <a:lnTo>
                    <a:pt x="128" y="136"/>
                  </a:lnTo>
                  <a:lnTo>
                    <a:pt x="126" y="149"/>
                  </a:lnTo>
                  <a:lnTo>
                    <a:pt x="111" y="142"/>
                  </a:lnTo>
                  <a:lnTo>
                    <a:pt x="101" y="145"/>
                  </a:lnTo>
                  <a:lnTo>
                    <a:pt x="111" y="163"/>
                  </a:lnTo>
                  <a:lnTo>
                    <a:pt x="91" y="163"/>
                  </a:lnTo>
                  <a:lnTo>
                    <a:pt x="103" y="196"/>
                  </a:lnTo>
                  <a:lnTo>
                    <a:pt x="87" y="188"/>
                  </a:lnTo>
                  <a:lnTo>
                    <a:pt x="82" y="196"/>
                  </a:lnTo>
                  <a:lnTo>
                    <a:pt x="66" y="178"/>
                  </a:lnTo>
                  <a:lnTo>
                    <a:pt x="62" y="186"/>
                  </a:lnTo>
                  <a:lnTo>
                    <a:pt x="45" y="153"/>
                  </a:lnTo>
                  <a:lnTo>
                    <a:pt x="43" y="140"/>
                  </a:lnTo>
                  <a:lnTo>
                    <a:pt x="70" y="130"/>
                  </a:lnTo>
                  <a:lnTo>
                    <a:pt x="99" y="138"/>
                  </a:lnTo>
                  <a:lnTo>
                    <a:pt x="97" y="132"/>
                  </a:lnTo>
                  <a:lnTo>
                    <a:pt x="80" y="124"/>
                  </a:lnTo>
                  <a:lnTo>
                    <a:pt x="45" y="122"/>
                  </a:lnTo>
                  <a:lnTo>
                    <a:pt x="37" y="124"/>
                  </a:lnTo>
                  <a:lnTo>
                    <a:pt x="29" y="105"/>
                  </a:lnTo>
                  <a:lnTo>
                    <a:pt x="37" y="103"/>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19" name="Google Shape;2419;g7826bb8c5e_0_4294"/>
            <p:cNvSpPr/>
            <p:nvPr/>
          </p:nvSpPr>
          <p:spPr>
            <a:xfrm>
              <a:off x="4589708" y="3307374"/>
              <a:ext cx="45767" cy="10923"/>
            </a:xfrm>
            <a:custGeom>
              <a:avLst/>
              <a:gdLst/>
              <a:ahLst/>
              <a:cxnLst/>
              <a:rect l="l" t="t" r="r" b="b"/>
              <a:pathLst>
                <a:path w="88" h="19" extrusionOk="0">
                  <a:moveTo>
                    <a:pt x="68" y="9"/>
                  </a:moveTo>
                  <a:lnTo>
                    <a:pt x="18" y="0"/>
                  </a:lnTo>
                  <a:lnTo>
                    <a:pt x="4" y="0"/>
                  </a:lnTo>
                  <a:lnTo>
                    <a:pt x="0" y="9"/>
                  </a:lnTo>
                  <a:lnTo>
                    <a:pt x="31" y="15"/>
                  </a:lnTo>
                  <a:lnTo>
                    <a:pt x="62" y="19"/>
                  </a:lnTo>
                  <a:lnTo>
                    <a:pt x="88" y="11"/>
                  </a:lnTo>
                  <a:lnTo>
                    <a:pt x="68" y="9"/>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20" name="Google Shape;2420;g7826bb8c5e_0_4294"/>
            <p:cNvSpPr/>
            <p:nvPr/>
          </p:nvSpPr>
          <p:spPr>
            <a:xfrm>
              <a:off x="4574452" y="3226821"/>
              <a:ext cx="25425" cy="20479"/>
            </a:xfrm>
            <a:custGeom>
              <a:avLst/>
              <a:gdLst/>
              <a:ahLst/>
              <a:cxnLst/>
              <a:rect l="l" t="t" r="r" b="b"/>
              <a:pathLst>
                <a:path w="51" h="35" extrusionOk="0">
                  <a:moveTo>
                    <a:pt x="51" y="33"/>
                  </a:moveTo>
                  <a:lnTo>
                    <a:pt x="23" y="9"/>
                  </a:lnTo>
                  <a:lnTo>
                    <a:pt x="0" y="0"/>
                  </a:lnTo>
                  <a:lnTo>
                    <a:pt x="25" y="17"/>
                  </a:lnTo>
                  <a:lnTo>
                    <a:pt x="49" y="35"/>
                  </a:lnTo>
                  <a:lnTo>
                    <a:pt x="51" y="33"/>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21" name="Google Shape;2421;g7826bb8c5e_0_4294"/>
            <p:cNvSpPr/>
            <p:nvPr/>
          </p:nvSpPr>
          <p:spPr>
            <a:xfrm>
              <a:off x="4621490" y="3218630"/>
              <a:ext cx="10171" cy="5462"/>
            </a:xfrm>
            <a:custGeom>
              <a:avLst/>
              <a:gdLst/>
              <a:ahLst/>
              <a:cxnLst/>
              <a:rect l="l" t="t" r="r" b="b"/>
              <a:pathLst>
                <a:path w="20" h="8" extrusionOk="0">
                  <a:moveTo>
                    <a:pt x="20" y="8"/>
                  </a:moveTo>
                  <a:lnTo>
                    <a:pt x="8" y="4"/>
                  </a:lnTo>
                  <a:lnTo>
                    <a:pt x="0" y="0"/>
                  </a:lnTo>
                  <a:lnTo>
                    <a:pt x="18" y="4"/>
                  </a:lnTo>
                  <a:lnTo>
                    <a:pt x="20" y="8"/>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22" name="Google Shape;2422;g7826bb8c5e_0_4294"/>
            <p:cNvSpPr/>
            <p:nvPr/>
          </p:nvSpPr>
          <p:spPr>
            <a:xfrm>
              <a:off x="4533771" y="3240474"/>
              <a:ext cx="6356" cy="5462"/>
            </a:xfrm>
            <a:custGeom>
              <a:avLst/>
              <a:gdLst/>
              <a:ahLst/>
              <a:cxnLst/>
              <a:rect l="l" t="t" r="r" b="b"/>
              <a:pathLst>
                <a:path w="9" h="10" extrusionOk="0">
                  <a:moveTo>
                    <a:pt x="0" y="0"/>
                  </a:moveTo>
                  <a:lnTo>
                    <a:pt x="9" y="8"/>
                  </a:lnTo>
                  <a:lnTo>
                    <a:pt x="2" y="10"/>
                  </a:lnTo>
                  <a:lnTo>
                    <a:pt x="0"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23" name="Google Shape;2423;g7826bb8c5e_0_4294"/>
            <p:cNvSpPr/>
            <p:nvPr/>
          </p:nvSpPr>
          <p:spPr>
            <a:xfrm>
              <a:off x="4622761" y="3236379"/>
              <a:ext cx="2542" cy="4096"/>
            </a:xfrm>
            <a:custGeom>
              <a:avLst/>
              <a:gdLst/>
              <a:ahLst/>
              <a:cxnLst/>
              <a:rect l="l" t="t" r="r" b="b"/>
              <a:pathLst>
                <a:path w="8" h="10" extrusionOk="0">
                  <a:moveTo>
                    <a:pt x="8" y="0"/>
                  </a:moveTo>
                  <a:lnTo>
                    <a:pt x="6" y="10"/>
                  </a:lnTo>
                  <a:lnTo>
                    <a:pt x="0" y="4"/>
                  </a:lnTo>
                  <a:lnTo>
                    <a:pt x="8"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24" name="Google Shape;2424;g7826bb8c5e_0_4294"/>
            <p:cNvSpPr/>
            <p:nvPr/>
          </p:nvSpPr>
          <p:spPr>
            <a:xfrm>
              <a:off x="4307482" y="3045236"/>
              <a:ext cx="190693" cy="204796"/>
            </a:xfrm>
            <a:custGeom>
              <a:avLst/>
              <a:gdLst/>
              <a:ahLst/>
              <a:cxnLst/>
              <a:rect l="l" t="t" r="r" b="b"/>
              <a:pathLst>
                <a:path w="365" h="339" extrusionOk="0">
                  <a:moveTo>
                    <a:pt x="204" y="16"/>
                  </a:moveTo>
                  <a:lnTo>
                    <a:pt x="157" y="0"/>
                  </a:lnTo>
                  <a:lnTo>
                    <a:pt x="125" y="4"/>
                  </a:lnTo>
                  <a:lnTo>
                    <a:pt x="107" y="2"/>
                  </a:lnTo>
                  <a:lnTo>
                    <a:pt x="107" y="4"/>
                  </a:lnTo>
                  <a:lnTo>
                    <a:pt x="101" y="12"/>
                  </a:lnTo>
                  <a:lnTo>
                    <a:pt x="94" y="21"/>
                  </a:lnTo>
                  <a:lnTo>
                    <a:pt x="72" y="21"/>
                  </a:lnTo>
                  <a:lnTo>
                    <a:pt x="61" y="37"/>
                  </a:lnTo>
                  <a:lnTo>
                    <a:pt x="41" y="21"/>
                  </a:lnTo>
                  <a:lnTo>
                    <a:pt x="24" y="35"/>
                  </a:lnTo>
                  <a:lnTo>
                    <a:pt x="6" y="37"/>
                  </a:lnTo>
                  <a:lnTo>
                    <a:pt x="4" y="53"/>
                  </a:lnTo>
                  <a:lnTo>
                    <a:pt x="0" y="68"/>
                  </a:lnTo>
                  <a:lnTo>
                    <a:pt x="2" y="78"/>
                  </a:lnTo>
                  <a:lnTo>
                    <a:pt x="2" y="91"/>
                  </a:lnTo>
                  <a:lnTo>
                    <a:pt x="24" y="103"/>
                  </a:lnTo>
                  <a:lnTo>
                    <a:pt x="24" y="118"/>
                  </a:lnTo>
                  <a:lnTo>
                    <a:pt x="53" y="97"/>
                  </a:lnTo>
                  <a:lnTo>
                    <a:pt x="94" y="107"/>
                  </a:lnTo>
                  <a:lnTo>
                    <a:pt x="115" y="146"/>
                  </a:lnTo>
                  <a:lnTo>
                    <a:pt x="144" y="171"/>
                  </a:lnTo>
                  <a:lnTo>
                    <a:pt x="171" y="196"/>
                  </a:lnTo>
                  <a:lnTo>
                    <a:pt x="179" y="200"/>
                  </a:lnTo>
                  <a:lnTo>
                    <a:pt x="181" y="200"/>
                  </a:lnTo>
                  <a:lnTo>
                    <a:pt x="204" y="212"/>
                  </a:lnTo>
                  <a:lnTo>
                    <a:pt x="241" y="237"/>
                  </a:lnTo>
                  <a:lnTo>
                    <a:pt x="258" y="244"/>
                  </a:lnTo>
                  <a:lnTo>
                    <a:pt x="276" y="258"/>
                  </a:lnTo>
                  <a:lnTo>
                    <a:pt x="295" y="297"/>
                  </a:lnTo>
                  <a:lnTo>
                    <a:pt x="283" y="330"/>
                  </a:lnTo>
                  <a:lnTo>
                    <a:pt x="297" y="339"/>
                  </a:lnTo>
                  <a:lnTo>
                    <a:pt x="311" y="314"/>
                  </a:lnTo>
                  <a:lnTo>
                    <a:pt x="322" y="301"/>
                  </a:lnTo>
                  <a:lnTo>
                    <a:pt x="328" y="291"/>
                  </a:lnTo>
                  <a:lnTo>
                    <a:pt x="311" y="275"/>
                  </a:lnTo>
                  <a:lnTo>
                    <a:pt x="318" y="243"/>
                  </a:lnTo>
                  <a:lnTo>
                    <a:pt x="336" y="248"/>
                  </a:lnTo>
                  <a:lnTo>
                    <a:pt x="359" y="266"/>
                  </a:lnTo>
                  <a:lnTo>
                    <a:pt x="365" y="250"/>
                  </a:lnTo>
                  <a:lnTo>
                    <a:pt x="326" y="227"/>
                  </a:lnTo>
                  <a:lnTo>
                    <a:pt x="285" y="206"/>
                  </a:lnTo>
                  <a:lnTo>
                    <a:pt x="291" y="194"/>
                  </a:lnTo>
                  <a:lnTo>
                    <a:pt x="280" y="188"/>
                  </a:lnTo>
                  <a:lnTo>
                    <a:pt x="241" y="177"/>
                  </a:lnTo>
                  <a:lnTo>
                    <a:pt x="225" y="153"/>
                  </a:lnTo>
                  <a:lnTo>
                    <a:pt x="210" y="128"/>
                  </a:lnTo>
                  <a:lnTo>
                    <a:pt x="179" y="111"/>
                  </a:lnTo>
                  <a:lnTo>
                    <a:pt x="167" y="80"/>
                  </a:lnTo>
                  <a:lnTo>
                    <a:pt x="163" y="62"/>
                  </a:lnTo>
                  <a:lnTo>
                    <a:pt x="189" y="47"/>
                  </a:lnTo>
                  <a:lnTo>
                    <a:pt x="206" y="51"/>
                  </a:lnTo>
                  <a:lnTo>
                    <a:pt x="200" y="27"/>
                  </a:lnTo>
                  <a:lnTo>
                    <a:pt x="204" y="16"/>
                  </a:lnTo>
                  <a:lnTo>
                    <a:pt x="175" y="111"/>
                  </a:lnTo>
                  <a:lnTo>
                    <a:pt x="173" y="111"/>
                  </a:lnTo>
                  <a:lnTo>
                    <a:pt x="171" y="111"/>
                  </a:lnTo>
                  <a:lnTo>
                    <a:pt x="171" y="113"/>
                  </a:lnTo>
                  <a:lnTo>
                    <a:pt x="173" y="113"/>
                  </a:lnTo>
                  <a:lnTo>
                    <a:pt x="175" y="111"/>
                  </a:lnTo>
                  <a:lnTo>
                    <a:pt x="204" y="16"/>
                  </a:lnTo>
                  <a:lnTo>
                    <a:pt x="181" y="196"/>
                  </a:lnTo>
                  <a:lnTo>
                    <a:pt x="183" y="196"/>
                  </a:lnTo>
                  <a:lnTo>
                    <a:pt x="181" y="196"/>
                  </a:lnTo>
                  <a:lnTo>
                    <a:pt x="204" y="16"/>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25" name="Google Shape;2425;g7826bb8c5e_0_4294"/>
            <p:cNvSpPr/>
            <p:nvPr/>
          </p:nvSpPr>
          <p:spPr>
            <a:xfrm>
              <a:off x="4307482" y="3045236"/>
              <a:ext cx="190693" cy="204796"/>
            </a:xfrm>
            <a:custGeom>
              <a:avLst/>
              <a:gdLst/>
              <a:ahLst/>
              <a:cxnLst/>
              <a:rect l="l" t="t" r="r" b="b"/>
              <a:pathLst>
                <a:path w="365" h="339" extrusionOk="0">
                  <a:moveTo>
                    <a:pt x="204" y="16"/>
                  </a:moveTo>
                  <a:lnTo>
                    <a:pt x="157" y="0"/>
                  </a:lnTo>
                  <a:lnTo>
                    <a:pt x="125" y="4"/>
                  </a:lnTo>
                  <a:lnTo>
                    <a:pt x="107" y="2"/>
                  </a:lnTo>
                  <a:lnTo>
                    <a:pt x="107" y="4"/>
                  </a:lnTo>
                  <a:lnTo>
                    <a:pt x="101" y="12"/>
                  </a:lnTo>
                  <a:lnTo>
                    <a:pt x="94" y="21"/>
                  </a:lnTo>
                  <a:lnTo>
                    <a:pt x="72" y="21"/>
                  </a:lnTo>
                  <a:lnTo>
                    <a:pt x="61" y="37"/>
                  </a:lnTo>
                  <a:lnTo>
                    <a:pt x="41" y="21"/>
                  </a:lnTo>
                  <a:lnTo>
                    <a:pt x="24" y="35"/>
                  </a:lnTo>
                  <a:lnTo>
                    <a:pt x="6" y="37"/>
                  </a:lnTo>
                  <a:lnTo>
                    <a:pt x="4" y="53"/>
                  </a:lnTo>
                  <a:lnTo>
                    <a:pt x="0" y="68"/>
                  </a:lnTo>
                  <a:lnTo>
                    <a:pt x="2" y="78"/>
                  </a:lnTo>
                  <a:lnTo>
                    <a:pt x="2" y="91"/>
                  </a:lnTo>
                  <a:lnTo>
                    <a:pt x="24" y="103"/>
                  </a:lnTo>
                  <a:lnTo>
                    <a:pt x="24" y="118"/>
                  </a:lnTo>
                  <a:lnTo>
                    <a:pt x="53" y="97"/>
                  </a:lnTo>
                  <a:lnTo>
                    <a:pt x="94" y="107"/>
                  </a:lnTo>
                  <a:lnTo>
                    <a:pt x="115" y="146"/>
                  </a:lnTo>
                  <a:lnTo>
                    <a:pt x="144" y="171"/>
                  </a:lnTo>
                  <a:lnTo>
                    <a:pt x="171" y="196"/>
                  </a:lnTo>
                  <a:lnTo>
                    <a:pt x="179" y="200"/>
                  </a:lnTo>
                  <a:lnTo>
                    <a:pt x="181" y="200"/>
                  </a:lnTo>
                  <a:lnTo>
                    <a:pt x="204" y="212"/>
                  </a:lnTo>
                  <a:lnTo>
                    <a:pt x="241" y="237"/>
                  </a:lnTo>
                  <a:lnTo>
                    <a:pt x="258" y="244"/>
                  </a:lnTo>
                  <a:lnTo>
                    <a:pt x="276" y="258"/>
                  </a:lnTo>
                  <a:lnTo>
                    <a:pt x="295" y="297"/>
                  </a:lnTo>
                  <a:lnTo>
                    <a:pt x="283" y="330"/>
                  </a:lnTo>
                  <a:lnTo>
                    <a:pt x="297" y="339"/>
                  </a:lnTo>
                  <a:lnTo>
                    <a:pt x="311" y="314"/>
                  </a:lnTo>
                  <a:lnTo>
                    <a:pt x="322" y="301"/>
                  </a:lnTo>
                  <a:lnTo>
                    <a:pt x="328" y="291"/>
                  </a:lnTo>
                  <a:lnTo>
                    <a:pt x="311" y="275"/>
                  </a:lnTo>
                  <a:lnTo>
                    <a:pt x="318" y="243"/>
                  </a:lnTo>
                  <a:lnTo>
                    <a:pt x="336" y="248"/>
                  </a:lnTo>
                  <a:lnTo>
                    <a:pt x="359" y="266"/>
                  </a:lnTo>
                  <a:lnTo>
                    <a:pt x="365" y="250"/>
                  </a:lnTo>
                  <a:lnTo>
                    <a:pt x="326" y="227"/>
                  </a:lnTo>
                  <a:lnTo>
                    <a:pt x="285" y="206"/>
                  </a:lnTo>
                  <a:lnTo>
                    <a:pt x="291" y="194"/>
                  </a:lnTo>
                  <a:lnTo>
                    <a:pt x="280" y="188"/>
                  </a:lnTo>
                  <a:lnTo>
                    <a:pt x="241" y="177"/>
                  </a:lnTo>
                  <a:lnTo>
                    <a:pt x="225" y="153"/>
                  </a:lnTo>
                  <a:lnTo>
                    <a:pt x="210" y="128"/>
                  </a:lnTo>
                  <a:lnTo>
                    <a:pt x="179" y="111"/>
                  </a:lnTo>
                  <a:lnTo>
                    <a:pt x="167" y="80"/>
                  </a:lnTo>
                  <a:lnTo>
                    <a:pt x="163" y="62"/>
                  </a:lnTo>
                  <a:lnTo>
                    <a:pt x="189" y="47"/>
                  </a:lnTo>
                  <a:lnTo>
                    <a:pt x="206" y="51"/>
                  </a:lnTo>
                  <a:lnTo>
                    <a:pt x="200" y="27"/>
                  </a:lnTo>
                  <a:lnTo>
                    <a:pt x="204" y="16"/>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26" name="Google Shape;2426;g7826bb8c5e_0_4294"/>
            <p:cNvSpPr/>
            <p:nvPr/>
          </p:nvSpPr>
          <p:spPr>
            <a:xfrm>
              <a:off x="4396472" y="3112137"/>
              <a:ext cx="2542" cy="1364"/>
            </a:xfrm>
            <a:custGeom>
              <a:avLst/>
              <a:gdLst/>
              <a:ahLst/>
              <a:cxnLst/>
              <a:rect l="l" t="t" r="r" b="b"/>
              <a:pathLst>
                <a:path w="4" h="2" extrusionOk="0">
                  <a:moveTo>
                    <a:pt x="4" y="0"/>
                  </a:moveTo>
                  <a:lnTo>
                    <a:pt x="2" y="0"/>
                  </a:lnTo>
                  <a:lnTo>
                    <a:pt x="0" y="0"/>
                  </a:lnTo>
                  <a:lnTo>
                    <a:pt x="0" y="2"/>
                  </a:lnTo>
                  <a:lnTo>
                    <a:pt x="2" y="2"/>
                  </a:lnTo>
                  <a:lnTo>
                    <a:pt x="4"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27" name="Google Shape;2427;g7826bb8c5e_0_4294"/>
            <p:cNvSpPr/>
            <p:nvPr/>
          </p:nvSpPr>
          <p:spPr>
            <a:xfrm>
              <a:off x="4401557" y="3162652"/>
              <a:ext cx="1272" cy="1500"/>
            </a:xfrm>
            <a:custGeom>
              <a:avLst/>
              <a:gdLst/>
              <a:ahLst/>
              <a:cxnLst/>
              <a:rect l="l" t="t" r="r" b="b"/>
              <a:pathLst>
                <a:path w="2" h="120000" extrusionOk="0">
                  <a:moveTo>
                    <a:pt x="0" y="0"/>
                  </a:moveTo>
                  <a:lnTo>
                    <a:pt x="2" y="0"/>
                  </a:lnTo>
                  <a:lnTo>
                    <a:pt x="0" y="0"/>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28" name="Google Shape;2428;g7826bb8c5e_0_4294"/>
            <p:cNvSpPr/>
            <p:nvPr/>
          </p:nvSpPr>
          <p:spPr>
            <a:xfrm>
              <a:off x="4405372" y="3241840"/>
              <a:ext cx="50852" cy="38229"/>
            </a:xfrm>
            <a:custGeom>
              <a:avLst/>
              <a:gdLst/>
              <a:ahLst/>
              <a:cxnLst/>
              <a:rect l="l" t="t" r="r" b="b"/>
              <a:pathLst>
                <a:path w="96" h="60" extrusionOk="0">
                  <a:moveTo>
                    <a:pt x="83" y="37"/>
                  </a:moveTo>
                  <a:lnTo>
                    <a:pt x="85" y="60"/>
                  </a:lnTo>
                  <a:lnTo>
                    <a:pt x="46" y="44"/>
                  </a:lnTo>
                  <a:lnTo>
                    <a:pt x="7" y="27"/>
                  </a:lnTo>
                  <a:lnTo>
                    <a:pt x="0" y="10"/>
                  </a:lnTo>
                  <a:lnTo>
                    <a:pt x="27" y="6"/>
                  </a:lnTo>
                  <a:lnTo>
                    <a:pt x="62" y="4"/>
                  </a:lnTo>
                  <a:lnTo>
                    <a:pt x="96" y="0"/>
                  </a:lnTo>
                  <a:lnTo>
                    <a:pt x="83" y="37"/>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29" name="Google Shape;2429;g7826bb8c5e_0_4294"/>
            <p:cNvSpPr/>
            <p:nvPr/>
          </p:nvSpPr>
          <p:spPr>
            <a:xfrm>
              <a:off x="4332907" y="3173575"/>
              <a:ext cx="25425" cy="54612"/>
            </a:xfrm>
            <a:custGeom>
              <a:avLst/>
              <a:gdLst/>
              <a:ahLst/>
              <a:cxnLst/>
              <a:rect l="l" t="t" r="r" b="b"/>
              <a:pathLst>
                <a:path w="50" h="90" extrusionOk="0">
                  <a:moveTo>
                    <a:pt x="27" y="76"/>
                  </a:moveTo>
                  <a:lnTo>
                    <a:pt x="15" y="90"/>
                  </a:lnTo>
                  <a:lnTo>
                    <a:pt x="8" y="68"/>
                  </a:lnTo>
                  <a:lnTo>
                    <a:pt x="4" y="41"/>
                  </a:lnTo>
                  <a:lnTo>
                    <a:pt x="0" y="14"/>
                  </a:lnTo>
                  <a:lnTo>
                    <a:pt x="31" y="0"/>
                  </a:lnTo>
                  <a:lnTo>
                    <a:pt x="50" y="28"/>
                  </a:lnTo>
                  <a:lnTo>
                    <a:pt x="45" y="74"/>
                  </a:lnTo>
                  <a:lnTo>
                    <a:pt x="27" y="76"/>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30" name="Google Shape;2430;g7826bb8c5e_0_4294"/>
            <p:cNvSpPr/>
            <p:nvPr/>
          </p:nvSpPr>
          <p:spPr>
            <a:xfrm>
              <a:off x="4316382" y="3117598"/>
              <a:ext cx="1200" cy="0"/>
            </a:xfrm>
            <a:custGeom>
              <a:avLst/>
              <a:gdLst/>
              <a:ahLst/>
              <a:cxnLst/>
              <a:rect l="l" t="t" r="r" b="b"/>
              <a:pathLst>
                <a:path w="120000" h="2" extrusionOk="0">
                  <a:moveTo>
                    <a:pt x="0" y="0"/>
                  </a:moveTo>
                  <a:lnTo>
                    <a:pt x="0" y="0"/>
                  </a:lnTo>
                  <a:lnTo>
                    <a:pt x="0"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31" name="Google Shape;2431;g7826bb8c5e_0_4294"/>
            <p:cNvSpPr/>
            <p:nvPr/>
          </p:nvSpPr>
          <p:spPr>
            <a:xfrm>
              <a:off x="4625304" y="3158556"/>
              <a:ext cx="310195" cy="140626"/>
            </a:xfrm>
            <a:custGeom>
              <a:avLst/>
              <a:gdLst/>
              <a:ahLst/>
              <a:cxnLst/>
              <a:rect l="l" t="t" r="r" b="b"/>
              <a:pathLst>
                <a:path w="589" h="231" extrusionOk="0">
                  <a:moveTo>
                    <a:pt x="442" y="194"/>
                  </a:moveTo>
                  <a:lnTo>
                    <a:pt x="394" y="194"/>
                  </a:lnTo>
                  <a:lnTo>
                    <a:pt x="347" y="198"/>
                  </a:lnTo>
                  <a:lnTo>
                    <a:pt x="335" y="202"/>
                  </a:lnTo>
                  <a:lnTo>
                    <a:pt x="334" y="217"/>
                  </a:lnTo>
                  <a:lnTo>
                    <a:pt x="320" y="231"/>
                  </a:lnTo>
                  <a:lnTo>
                    <a:pt x="318" y="229"/>
                  </a:lnTo>
                  <a:lnTo>
                    <a:pt x="318" y="221"/>
                  </a:lnTo>
                  <a:lnTo>
                    <a:pt x="318" y="192"/>
                  </a:lnTo>
                  <a:lnTo>
                    <a:pt x="304" y="200"/>
                  </a:lnTo>
                  <a:lnTo>
                    <a:pt x="283" y="198"/>
                  </a:lnTo>
                  <a:lnTo>
                    <a:pt x="260" y="208"/>
                  </a:lnTo>
                  <a:lnTo>
                    <a:pt x="227" y="223"/>
                  </a:lnTo>
                  <a:lnTo>
                    <a:pt x="202" y="216"/>
                  </a:lnTo>
                  <a:lnTo>
                    <a:pt x="151" y="194"/>
                  </a:lnTo>
                  <a:lnTo>
                    <a:pt x="144" y="210"/>
                  </a:lnTo>
                  <a:lnTo>
                    <a:pt x="130" y="217"/>
                  </a:lnTo>
                  <a:lnTo>
                    <a:pt x="101" y="208"/>
                  </a:lnTo>
                  <a:lnTo>
                    <a:pt x="83" y="198"/>
                  </a:lnTo>
                  <a:lnTo>
                    <a:pt x="66" y="200"/>
                  </a:lnTo>
                  <a:lnTo>
                    <a:pt x="50" y="200"/>
                  </a:lnTo>
                  <a:lnTo>
                    <a:pt x="70" y="190"/>
                  </a:lnTo>
                  <a:lnTo>
                    <a:pt x="45" y="186"/>
                  </a:lnTo>
                  <a:lnTo>
                    <a:pt x="49" y="179"/>
                  </a:lnTo>
                  <a:lnTo>
                    <a:pt x="33" y="163"/>
                  </a:lnTo>
                  <a:lnTo>
                    <a:pt x="37" y="157"/>
                  </a:lnTo>
                  <a:lnTo>
                    <a:pt x="12" y="144"/>
                  </a:lnTo>
                  <a:lnTo>
                    <a:pt x="6" y="130"/>
                  </a:lnTo>
                  <a:lnTo>
                    <a:pt x="16" y="132"/>
                  </a:lnTo>
                  <a:lnTo>
                    <a:pt x="25" y="136"/>
                  </a:lnTo>
                  <a:lnTo>
                    <a:pt x="19" y="122"/>
                  </a:lnTo>
                  <a:lnTo>
                    <a:pt x="19" y="115"/>
                  </a:lnTo>
                  <a:lnTo>
                    <a:pt x="16" y="95"/>
                  </a:lnTo>
                  <a:lnTo>
                    <a:pt x="0" y="93"/>
                  </a:lnTo>
                  <a:lnTo>
                    <a:pt x="2" y="66"/>
                  </a:lnTo>
                  <a:lnTo>
                    <a:pt x="33" y="62"/>
                  </a:lnTo>
                  <a:lnTo>
                    <a:pt x="43" y="55"/>
                  </a:lnTo>
                  <a:lnTo>
                    <a:pt x="80" y="57"/>
                  </a:lnTo>
                  <a:lnTo>
                    <a:pt x="103" y="47"/>
                  </a:lnTo>
                  <a:lnTo>
                    <a:pt x="95" y="45"/>
                  </a:lnTo>
                  <a:lnTo>
                    <a:pt x="80" y="31"/>
                  </a:lnTo>
                  <a:lnTo>
                    <a:pt x="138" y="33"/>
                  </a:lnTo>
                  <a:lnTo>
                    <a:pt x="180" y="8"/>
                  </a:lnTo>
                  <a:lnTo>
                    <a:pt x="209" y="4"/>
                  </a:lnTo>
                  <a:lnTo>
                    <a:pt x="240" y="0"/>
                  </a:lnTo>
                  <a:lnTo>
                    <a:pt x="260" y="2"/>
                  </a:lnTo>
                  <a:lnTo>
                    <a:pt x="281" y="12"/>
                  </a:lnTo>
                  <a:lnTo>
                    <a:pt x="295" y="20"/>
                  </a:lnTo>
                  <a:lnTo>
                    <a:pt x="334" y="29"/>
                  </a:lnTo>
                  <a:lnTo>
                    <a:pt x="374" y="37"/>
                  </a:lnTo>
                  <a:lnTo>
                    <a:pt x="413" y="39"/>
                  </a:lnTo>
                  <a:lnTo>
                    <a:pt x="460" y="18"/>
                  </a:lnTo>
                  <a:lnTo>
                    <a:pt x="500" y="14"/>
                  </a:lnTo>
                  <a:lnTo>
                    <a:pt x="518" y="29"/>
                  </a:lnTo>
                  <a:lnTo>
                    <a:pt x="531" y="53"/>
                  </a:lnTo>
                  <a:lnTo>
                    <a:pt x="545" y="74"/>
                  </a:lnTo>
                  <a:lnTo>
                    <a:pt x="572" y="86"/>
                  </a:lnTo>
                  <a:lnTo>
                    <a:pt x="558" y="97"/>
                  </a:lnTo>
                  <a:lnTo>
                    <a:pt x="562" y="117"/>
                  </a:lnTo>
                  <a:lnTo>
                    <a:pt x="570" y="155"/>
                  </a:lnTo>
                  <a:lnTo>
                    <a:pt x="589" y="183"/>
                  </a:lnTo>
                  <a:lnTo>
                    <a:pt x="572" y="184"/>
                  </a:lnTo>
                  <a:lnTo>
                    <a:pt x="562" y="177"/>
                  </a:lnTo>
                  <a:lnTo>
                    <a:pt x="522" y="179"/>
                  </a:lnTo>
                  <a:lnTo>
                    <a:pt x="514" y="184"/>
                  </a:lnTo>
                  <a:lnTo>
                    <a:pt x="504" y="181"/>
                  </a:lnTo>
                  <a:lnTo>
                    <a:pt x="473" y="188"/>
                  </a:lnTo>
                  <a:lnTo>
                    <a:pt x="442" y="194"/>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4F81BD"/>
                </a:solidFill>
                <a:latin typeface="Arial"/>
                <a:ea typeface="Arial"/>
                <a:cs typeface="Arial"/>
                <a:sym typeface="Arial"/>
              </a:endParaRPr>
            </a:p>
          </p:txBody>
        </p:sp>
        <p:sp>
          <p:nvSpPr>
            <p:cNvPr id="2432" name="Google Shape;2432;g7826bb8c5e_0_4294"/>
            <p:cNvSpPr/>
            <p:nvPr/>
          </p:nvSpPr>
          <p:spPr>
            <a:xfrm>
              <a:off x="4620219" y="3158556"/>
              <a:ext cx="48309" cy="40959"/>
            </a:xfrm>
            <a:custGeom>
              <a:avLst/>
              <a:gdLst/>
              <a:ahLst/>
              <a:cxnLst/>
              <a:rect l="l" t="t" r="r" b="b"/>
              <a:pathLst>
                <a:path w="90" h="68" extrusionOk="0">
                  <a:moveTo>
                    <a:pt x="10" y="2"/>
                  </a:moveTo>
                  <a:lnTo>
                    <a:pt x="4" y="10"/>
                  </a:lnTo>
                  <a:lnTo>
                    <a:pt x="12" y="24"/>
                  </a:lnTo>
                  <a:lnTo>
                    <a:pt x="0" y="47"/>
                  </a:lnTo>
                  <a:lnTo>
                    <a:pt x="20" y="51"/>
                  </a:lnTo>
                  <a:lnTo>
                    <a:pt x="8" y="68"/>
                  </a:lnTo>
                  <a:lnTo>
                    <a:pt x="43" y="43"/>
                  </a:lnTo>
                  <a:lnTo>
                    <a:pt x="90" y="35"/>
                  </a:lnTo>
                  <a:lnTo>
                    <a:pt x="76" y="24"/>
                  </a:lnTo>
                  <a:lnTo>
                    <a:pt x="55" y="0"/>
                  </a:lnTo>
                  <a:lnTo>
                    <a:pt x="10" y="2"/>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33" name="Google Shape;2433;g7826bb8c5e_0_4294"/>
            <p:cNvSpPr/>
            <p:nvPr/>
          </p:nvSpPr>
          <p:spPr>
            <a:xfrm>
              <a:off x="4545212" y="2843171"/>
              <a:ext cx="134757" cy="101033"/>
            </a:xfrm>
            <a:custGeom>
              <a:avLst/>
              <a:gdLst/>
              <a:ahLst/>
              <a:cxnLst/>
              <a:rect l="l" t="t" r="r" b="b"/>
              <a:pathLst>
                <a:path w="260" h="164" extrusionOk="0">
                  <a:moveTo>
                    <a:pt x="260" y="89"/>
                  </a:moveTo>
                  <a:lnTo>
                    <a:pt x="248" y="100"/>
                  </a:lnTo>
                  <a:lnTo>
                    <a:pt x="256" y="133"/>
                  </a:lnTo>
                  <a:lnTo>
                    <a:pt x="221" y="151"/>
                  </a:lnTo>
                  <a:lnTo>
                    <a:pt x="223" y="164"/>
                  </a:lnTo>
                  <a:lnTo>
                    <a:pt x="173" y="155"/>
                  </a:lnTo>
                  <a:lnTo>
                    <a:pt x="122" y="147"/>
                  </a:lnTo>
                  <a:lnTo>
                    <a:pt x="72" y="145"/>
                  </a:lnTo>
                  <a:lnTo>
                    <a:pt x="21" y="145"/>
                  </a:lnTo>
                  <a:lnTo>
                    <a:pt x="6" y="133"/>
                  </a:lnTo>
                  <a:lnTo>
                    <a:pt x="23" y="110"/>
                  </a:lnTo>
                  <a:lnTo>
                    <a:pt x="0" y="64"/>
                  </a:lnTo>
                  <a:lnTo>
                    <a:pt x="43" y="33"/>
                  </a:lnTo>
                  <a:lnTo>
                    <a:pt x="87" y="5"/>
                  </a:lnTo>
                  <a:lnTo>
                    <a:pt x="126" y="0"/>
                  </a:lnTo>
                  <a:lnTo>
                    <a:pt x="171" y="7"/>
                  </a:lnTo>
                  <a:lnTo>
                    <a:pt x="215" y="15"/>
                  </a:lnTo>
                  <a:lnTo>
                    <a:pt x="221" y="58"/>
                  </a:lnTo>
                  <a:lnTo>
                    <a:pt x="260" y="89"/>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34" name="Google Shape;2434;g7826bb8c5e_0_4294"/>
            <p:cNvSpPr/>
            <p:nvPr/>
          </p:nvSpPr>
          <p:spPr>
            <a:xfrm>
              <a:off x="4320195" y="2824056"/>
              <a:ext cx="35596" cy="45055"/>
            </a:xfrm>
            <a:custGeom>
              <a:avLst/>
              <a:gdLst/>
              <a:ahLst/>
              <a:cxnLst/>
              <a:rect l="l" t="t" r="r" b="b"/>
              <a:pathLst>
                <a:path w="68" h="75" extrusionOk="0">
                  <a:moveTo>
                    <a:pt x="37" y="68"/>
                  </a:moveTo>
                  <a:lnTo>
                    <a:pt x="35" y="75"/>
                  </a:lnTo>
                  <a:lnTo>
                    <a:pt x="13" y="71"/>
                  </a:lnTo>
                  <a:lnTo>
                    <a:pt x="7" y="66"/>
                  </a:lnTo>
                  <a:lnTo>
                    <a:pt x="2" y="48"/>
                  </a:lnTo>
                  <a:lnTo>
                    <a:pt x="0" y="13"/>
                  </a:lnTo>
                  <a:lnTo>
                    <a:pt x="15" y="9"/>
                  </a:lnTo>
                  <a:lnTo>
                    <a:pt x="21" y="13"/>
                  </a:lnTo>
                  <a:lnTo>
                    <a:pt x="23" y="5"/>
                  </a:lnTo>
                  <a:lnTo>
                    <a:pt x="44" y="0"/>
                  </a:lnTo>
                  <a:lnTo>
                    <a:pt x="52" y="13"/>
                  </a:lnTo>
                  <a:lnTo>
                    <a:pt x="68" y="13"/>
                  </a:lnTo>
                  <a:lnTo>
                    <a:pt x="60" y="29"/>
                  </a:lnTo>
                  <a:lnTo>
                    <a:pt x="40" y="44"/>
                  </a:lnTo>
                  <a:lnTo>
                    <a:pt x="40" y="48"/>
                  </a:lnTo>
                  <a:lnTo>
                    <a:pt x="37" y="68"/>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35" name="Google Shape;2435;g7826bb8c5e_0_4294"/>
            <p:cNvSpPr/>
            <p:nvPr/>
          </p:nvSpPr>
          <p:spPr>
            <a:xfrm>
              <a:off x="4362147" y="2843171"/>
              <a:ext cx="21611" cy="20480"/>
            </a:xfrm>
            <a:custGeom>
              <a:avLst/>
              <a:gdLst/>
              <a:ahLst/>
              <a:cxnLst/>
              <a:rect l="l" t="t" r="r" b="b"/>
              <a:pathLst>
                <a:path w="41" h="37" extrusionOk="0">
                  <a:moveTo>
                    <a:pt x="41" y="11"/>
                  </a:moveTo>
                  <a:lnTo>
                    <a:pt x="39" y="5"/>
                  </a:lnTo>
                  <a:lnTo>
                    <a:pt x="27" y="0"/>
                  </a:lnTo>
                  <a:lnTo>
                    <a:pt x="25" y="11"/>
                  </a:lnTo>
                  <a:lnTo>
                    <a:pt x="16" y="9"/>
                  </a:lnTo>
                  <a:lnTo>
                    <a:pt x="4" y="4"/>
                  </a:lnTo>
                  <a:lnTo>
                    <a:pt x="0" y="11"/>
                  </a:lnTo>
                  <a:lnTo>
                    <a:pt x="0" y="19"/>
                  </a:lnTo>
                  <a:lnTo>
                    <a:pt x="21" y="37"/>
                  </a:lnTo>
                  <a:lnTo>
                    <a:pt x="31" y="31"/>
                  </a:lnTo>
                  <a:lnTo>
                    <a:pt x="31" y="23"/>
                  </a:lnTo>
                  <a:lnTo>
                    <a:pt x="41" y="1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36" name="Google Shape;2436;g7826bb8c5e_0_4294"/>
            <p:cNvSpPr/>
            <p:nvPr/>
          </p:nvSpPr>
          <p:spPr>
            <a:xfrm>
              <a:off x="4322737" y="2806308"/>
              <a:ext cx="30511" cy="23210"/>
            </a:xfrm>
            <a:custGeom>
              <a:avLst/>
              <a:gdLst/>
              <a:ahLst/>
              <a:cxnLst/>
              <a:rect l="l" t="t" r="r" b="b"/>
              <a:pathLst>
                <a:path w="56" h="38" extrusionOk="0">
                  <a:moveTo>
                    <a:pt x="46" y="25"/>
                  </a:moveTo>
                  <a:lnTo>
                    <a:pt x="5" y="27"/>
                  </a:lnTo>
                  <a:lnTo>
                    <a:pt x="0" y="38"/>
                  </a:lnTo>
                  <a:lnTo>
                    <a:pt x="1" y="21"/>
                  </a:lnTo>
                  <a:lnTo>
                    <a:pt x="29" y="17"/>
                  </a:lnTo>
                  <a:lnTo>
                    <a:pt x="56" y="0"/>
                  </a:lnTo>
                  <a:lnTo>
                    <a:pt x="46" y="25"/>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37" name="Google Shape;2437;g7826bb8c5e_0_4294"/>
            <p:cNvSpPr/>
            <p:nvPr/>
          </p:nvSpPr>
          <p:spPr>
            <a:xfrm>
              <a:off x="4345620" y="2855458"/>
              <a:ext cx="13985" cy="8192"/>
            </a:xfrm>
            <a:custGeom>
              <a:avLst/>
              <a:gdLst/>
              <a:ahLst/>
              <a:cxnLst/>
              <a:rect l="l" t="t" r="r" b="b"/>
              <a:pathLst>
                <a:path w="29" h="16" extrusionOk="0">
                  <a:moveTo>
                    <a:pt x="29" y="6"/>
                  </a:moveTo>
                  <a:lnTo>
                    <a:pt x="20" y="0"/>
                  </a:lnTo>
                  <a:lnTo>
                    <a:pt x="0" y="2"/>
                  </a:lnTo>
                  <a:lnTo>
                    <a:pt x="22" y="16"/>
                  </a:lnTo>
                  <a:lnTo>
                    <a:pt x="29" y="6"/>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38" name="Google Shape;2438;g7826bb8c5e_0_4294"/>
            <p:cNvSpPr/>
            <p:nvPr/>
          </p:nvSpPr>
          <p:spPr>
            <a:xfrm>
              <a:off x="4373589" y="2867746"/>
              <a:ext cx="6356" cy="2730"/>
            </a:xfrm>
            <a:custGeom>
              <a:avLst/>
              <a:gdLst/>
              <a:ahLst/>
              <a:cxnLst/>
              <a:rect l="l" t="t" r="r" b="b"/>
              <a:pathLst>
                <a:path w="8" h="8" extrusionOk="0">
                  <a:moveTo>
                    <a:pt x="8" y="4"/>
                  </a:moveTo>
                  <a:lnTo>
                    <a:pt x="2" y="0"/>
                  </a:lnTo>
                  <a:lnTo>
                    <a:pt x="0" y="8"/>
                  </a:lnTo>
                  <a:lnTo>
                    <a:pt x="8" y="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39" name="Google Shape;2439;g7826bb8c5e_0_4294"/>
            <p:cNvSpPr/>
            <p:nvPr/>
          </p:nvSpPr>
          <p:spPr>
            <a:xfrm>
              <a:off x="4532500" y="2768080"/>
              <a:ext cx="66107" cy="35498"/>
            </a:xfrm>
            <a:custGeom>
              <a:avLst/>
              <a:gdLst/>
              <a:ahLst/>
              <a:cxnLst/>
              <a:rect l="l" t="t" r="r" b="b"/>
              <a:pathLst>
                <a:path w="126" h="58" extrusionOk="0">
                  <a:moveTo>
                    <a:pt x="126" y="36"/>
                  </a:moveTo>
                  <a:lnTo>
                    <a:pt x="116" y="3"/>
                  </a:lnTo>
                  <a:lnTo>
                    <a:pt x="48" y="0"/>
                  </a:lnTo>
                  <a:lnTo>
                    <a:pt x="0" y="13"/>
                  </a:lnTo>
                  <a:lnTo>
                    <a:pt x="4" y="25"/>
                  </a:lnTo>
                  <a:lnTo>
                    <a:pt x="21" y="44"/>
                  </a:lnTo>
                  <a:lnTo>
                    <a:pt x="31" y="44"/>
                  </a:lnTo>
                  <a:lnTo>
                    <a:pt x="72" y="52"/>
                  </a:lnTo>
                  <a:lnTo>
                    <a:pt x="112" y="58"/>
                  </a:lnTo>
                  <a:lnTo>
                    <a:pt x="126" y="36"/>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40" name="Google Shape;2440;g7826bb8c5e_0_4294"/>
            <p:cNvSpPr/>
            <p:nvPr/>
          </p:nvSpPr>
          <p:spPr>
            <a:xfrm>
              <a:off x="4504532" y="2791289"/>
              <a:ext cx="104246" cy="51882"/>
            </a:xfrm>
            <a:custGeom>
              <a:avLst/>
              <a:gdLst/>
              <a:ahLst/>
              <a:cxnLst/>
              <a:rect l="l" t="t" r="r" b="b"/>
              <a:pathLst>
                <a:path w="202" h="85" extrusionOk="0">
                  <a:moveTo>
                    <a:pt x="103" y="58"/>
                  </a:moveTo>
                  <a:lnTo>
                    <a:pt x="55" y="64"/>
                  </a:lnTo>
                  <a:lnTo>
                    <a:pt x="8" y="70"/>
                  </a:lnTo>
                  <a:lnTo>
                    <a:pt x="0" y="72"/>
                  </a:lnTo>
                  <a:lnTo>
                    <a:pt x="12" y="25"/>
                  </a:lnTo>
                  <a:lnTo>
                    <a:pt x="37" y="23"/>
                  </a:lnTo>
                  <a:lnTo>
                    <a:pt x="72" y="47"/>
                  </a:lnTo>
                  <a:lnTo>
                    <a:pt x="88" y="33"/>
                  </a:lnTo>
                  <a:lnTo>
                    <a:pt x="84" y="0"/>
                  </a:lnTo>
                  <a:lnTo>
                    <a:pt x="125" y="8"/>
                  </a:lnTo>
                  <a:lnTo>
                    <a:pt x="165" y="14"/>
                  </a:lnTo>
                  <a:lnTo>
                    <a:pt x="183" y="39"/>
                  </a:lnTo>
                  <a:lnTo>
                    <a:pt x="202" y="80"/>
                  </a:lnTo>
                  <a:lnTo>
                    <a:pt x="163" y="85"/>
                  </a:lnTo>
                  <a:lnTo>
                    <a:pt x="103" y="58"/>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41" name="Google Shape;2441;g7826bb8c5e_0_4294"/>
            <p:cNvSpPr/>
            <p:nvPr/>
          </p:nvSpPr>
          <p:spPr>
            <a:xfrm>
              <a:off x="4505802" y="2829518"/>
              <a:ext cx="83905" cy="53246"/>
            </a:xfrm>
            <a:custGeom>
              <a:avLst/>
              <a:gdLst/>
              <a:ahLst/>
              <a:cxnLst/>
              <a:rect l="l" t="t" r="r" b="b"/>
              <a:pathLst>
                <a:path w="163" h="86" extrusionOk="0">
                  <a:moveTo>
                    <a:pt x="6" y="60"/>
                  </a:moveTo>
                  <a:lnTo>
                    <a:pt x="0" y="14"/>
                  </a:lnTo>
                  <a:lnTo>
                    <a:pt x="8" y="12"/>
                  </a:lnTo>
                  <a:lnTo>
                    <a:pt x="55" y="6"/>
                  </a:lnTo>
                  <a:lnTo>
                    <a:pt x="103" y="0"/>
                  </a:lnTo>
                  <a:lnTo>
                    <a:pt x="163" y="27"/>
                  </a:lnTo>
                  <a:lnTo>
                    <a:pt x="119" y="55"/>
                  </a:lnTo>
                  <a:lnTo>
                    <a:pt x="76" y="86"/>
                  </a:lnTo>
                  <a:lnTo>
                    <a:pt x="51" y="84"/>
                  </a:lnTo>
                  <a:lnTo>
                    <a:pt x="49" y="68"/>
                  </a:lnTo>
                  <a:lnTo>
                    <a:pt x="24" y="64"/>
                  </a:lnTo>
                  <a:lnTo>
                    <a:pt x="6" y="6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42" name="Google Shape;2442;g7826bb8c5e_0_4294"/>
            <p:cNvSpPr/>
            <p:nvPr/>
          </p:nvSpPr>
          <p:spPr>
            <a:xfrm>
              <a:off x="4251545" y="2900513"/>
              <a:ext cx="55937" cy="57342"/>
            </a:xfrm>
            <a:custGeom>
              <a:avLst/>
              <a:gdLst/>
              <a:ahLst/>
              <a:cxnLst/>
              <a:rect l="l" t="t" r="r" b="b"/>
              <a:pathLst>
                <a:path w="108" h="95" extrusionOk="0">
                  <a:moveTo>
                    <a:pt x="81" y="54"/>
                  </a:moveTo>
                  <a:lnTo>
                    <a:pt x="105" y="40"/>
                  </a:lnTo>
                  <a:lnTo>
                    <a:pt x="97" y="27"/>
                  </a:lnTo>
                  <a:lnTo>
                    <a:pt x="108" y="3"/>
                  </a:lnTo>
                  <a:lnTo>
                    <a:pt x="74" y="0"/>
                  </a:lnTo>
                  <a:lnTo>
                    <a:pt x="37" y="23"/>
                  </a:lnTo>
                  <a:lnTo>
                    <a:pt x="10" y="60"/>
                  </a:lnTo>
                  <a:lnTo>
                    <a:pt x="0" y="73"/>
                  </a:lnTo>
                  <a:lnTo>
                    <a:pt x="25" y="73"/>
                  </a:lnTo>
                  <a:lnTo>
                    <a:pt x="62" y="75"/>
                  </a:lnTo>
                  <a:lnTo>
                    <a:pt x="68" y="87"/>
                  </a:lnTo>
                  <a:lnTo>
                    <a:pt x="77" y="95"/>
                  </a:lnTo>
                  <a:lnTo>
                    <a:pt x="81" y="54"/>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43" name="Google Shape;2443;g7826bb8c5e_0_4294"/>
            <p:cNvSpPr/>
            <p:nvPr/>
          </p:nvSpPr>
          <p:spPr>
            <a:xfrm>
              <a:off x="4410457" y="2870477"/>
              <a:ext cx="152555" cy="126973"/>
            </a:xfrm>
            <a:custGeom>
              <a:avLst/>
              <a:gdLst/>
              <a:ahLst/>
              <a:cxnLst/>
              <a:rect l="l" t="t" r="r" b="b"/>
              <a:pathLst>
                <a:path w="293" h="206" extrusionOk="0">
                  <a:moveTo>
                    <a:pt x="120" y="10"/>
                  </a:moveTo>
                  <a:lnTo>
                    <a:pt x="115" y="0"/>
                  </a:lnTo>
                  <a:lnTo>
                    <a:pt x="78" y="2"/>
                  </a:lnTo>
                  <a:lnTo>
                    <a:pt x="39" y="16"/>
                  </a:lnTo>
                  <a:lnTo>
                    <a:pt x="0" y="23"/>
                  </a:lnTo>
                  <a:lnTo>
                    <a:pt x="12" y="35"/>
                  </a:lnTo>
                  <a:lnTo>
                    <a:pt x="2" y="37"/>
                  </a:lnTo>
                  <a:lnTo>
                    <a:pt x="6" y="70"/>
                  </a:lnTo>
                  <a:lnTo>
                    <a:pt x="22" y="111"/>
                  </a:lnTo>
                  <a:lnTo>
                    <a:pt x="27" y="140"/>
                  </a:lnTo>
                  <a:lnTo>
                    <a:pt x="31" y="138"/>
                  </a:lnTo>
                  <a:lnTo>
                    <a:pt x="70" y="153"/>
                  </a:lnTo>
                  <a:lnTo>
                    <a:pt x="78" y="163"/>
                  </a:lnTo>
                  <a:lnTo>
                    <a:pt x="93" y="161"/>
                  </a:lnTo>
                  <a:lnTo>
                    <a:pt x="113" y="161"/>
                  </a:lnTo>
                  <a:lnTo>
                    <a:pt x="149" y="188"/>
                  </a:lnTo>
                  <a:lnTo>
                    <a:pt x="180" y="190"/>
                  </a:lnTo>
                  <a:lnTo>
                    <a:pt x="188" y="196"/>
                  </a:lnTo>
                  <a:lnTo>
                    <a:pt x="213" y="194"/>
                  </a:lnTo>
                  <a:lnTo>
                    <a:pt x="258" y="206"/>
                  </a:lnTo>
                  <a:lnTo>
                    <a:pt x="264" y="194"/>
                  </a:lnTo>
                  <a:lnTo>
                    <a:pt x="289" y="157"/>
                  </a:lnTo>
                  <a:lnTo>
                    <a:pt x="293" y="138"/>
                  </a:lnTo>
                  <a:lnTo>
                    <a:pt x="277" y="99"/>
                  </a:lnTo>
                  <a:lnTo>
                    <a:pt x="262" y="87"/>
                  </a:lnTo>
                  <a:lnTo>
                    <a:pt x="279" y="64"/>
                  </a:lnTo>
                  <a:lnTo>
                    <a:pt x="256" y="18"/>
                  </a:lnTo>
                  <a:lnTo>
                    <a:pt x="204" y="14"/>
                  </a:lnTo>
                  <a:lnTo>
                    <a:pt x="149" y="8"/>
                  </a:lnTo>
                  <a:lnTo>
                    <a:pt x="120" y="10"/>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44" name="Google Shape;2444;g7826bb8c5e_0_4294"/>
            <p:cNvSpPr/>
            <p:nvPr/>
          </p:nvSpPr>
          <p:spPr>
            <a:xfrm>
              <a:off x="4517245" y="3015199"/>
              <a:ext cx="151282" cy="102399"/>
            </a:xfrm>
            <a:custGeom>
              <a:avLst/>
              <a:gdLst/>
              <a:ahLst/>
              <a:cxnLst/>
              <a:rect l="l" t="t" r="r" b="b"/>
              <a:pathLst>
                <a:path w="287" h="170" extrusionOk="0">
                  <a:moveTo>
                    <a:pt x="263" y="137"/>
                  </a:moveTo>
                  <a:lnTo>
                    <a:pt x="259" y="166"/>
                  </a:lnTo>
                  <a:lnTo>
                    <a:pt x="201" y="155"/>
                  </a:lnTo>
                  <a:lnTo>
                    <a:pt x="155" y="170"/>
                  </a:lnTo>
                  <a:lnTo>
                    <a:pt x="120" y="164"/>
                  </a:lnTo>
                  <a:lnTo>
                    <a:pt x="87" y="159"/>
                  </a:lnTo>
                  <a:lnTo>
                    <a:pt x="79" y="149"/>
                  </a:lnTo>
                  <a:lnTo>
                    <a:pt x="77" y="137"/>
                  </a:lnTo>
                  <a:lnTo>
                    <a:pt x="66" y="133"/>
                  </a:lnTo>
                  <a:lnTo>
                    <a:pt x="58" y="132"/>
                  </a:lnTo>
                  <a:lnTo>
                    <a:pt x="44" y="124"/>
                  </a:lnTo>
                  <a:lnTo>
                    <a:pt x="0" y="79"/>
                  </a:lnTo>
                  <a:lnTo>
                    <a:pt x="17" y="73"/>
                  </a:lnTo>
                  <a:lnTo>
                    <a:pt x="40" y="40"/>
                  </a:lnTo>
                  <a:lnTo>
                    <a:pt x="70" y="11"/>
                  </a:lnTo>
                  <a:lnTo>
                    <a:pt x="71" y="9"/>
                  </a:lnTo>
                  <a:lnTo>
                    <a:pt x="128" y="15"/>
                  </a:lnTo>
                  <a:lnTo>
                    <a:pt x="178" y="0"/>
                  </a:lnTo>
                  <a:lnTo>
                    <a:pt x="180" y="0"/>
                  </a:lnTo>
                  <a:lnTo>
                    <a:pt x="201" y="21"/>
                  </a:lnTo>
                  <a:lnTo>
                    <a:pt x="225" y="44"/>
                  </a:lnTo>
                  <a:lnTo>
                    <a:pt x="234" y="75"/>
                  </a:lnTo>
                  <a:lnTo>
                    <a:pt x="242" y="106"/>
                  </a:lnTo>
                  <a:lnTo>
                    <a:pt x="267" y="106"/>
                  </a:lnTo>
                  <a:lnTo>
                    <a:pt x="285" y="112"/>
                  </a:lnTo>
                  <a:lnTo>
                    <a:pt x="287" y="120"/>
                  </a:lnTo>
                  <a:lnTo>
                    <a:pt x="273" y="128"/>
                  </a:lnTo>
                  <a:lnTo>
                    <a:pt x="269" y="126"/>
                  </a:lnTo>
                  <a:lnTo>
                    <a:pt x="263" y="137"/>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45" name="Google Shape;2445;g7826bb8c5e_0_4294"/>
            <p:cNvSpPr/>
            <p:nvPr/>
          </p:nvSpPr>
          <p:spPr>
            <a:xfrm>
              <a:off x="4386301" y="2953761"/>
              <a:ext cx="102975" cy="54612"/>
            </a:xfrm>
            <a:custGeom>
              <a:avLst/>
              <a:gdLst/>
              <a:ahLst/>
              <a:cxnLst/>
              <a:rect l="l" t="t" r="r" b="b"/>
              <a:pathLst>
                <a:path w="195" h="89" extrusionOk="0">
                  <a:moveTo>
                    <a:pt x="159" y="25"/>
                  </a:moveTo>
                  <a:lnTo>
                    <a:pt x="195" y="52"/>
                  </a:lnTo>
                  <a:lnTo>
                    <a:pt x="194" y="56"/>
                  </a:lnTo>
                  <a:lnTo>
                    <a:pt x="184" y="62"/>
                  </a:lnTo>
                  <a:lnTo>
                    <a:pt x="176" y="66"/>
                  </a:lnTo>
                  <a:lnTo>
                    <a:pt x="176" y="70"/>
                  </a:lnTo>
                  <a:lnTo>
                    <a:pt x="166" y="79"/>
                  </a:lnTo>
                  <a:lnTo>
                    <a:pt x="151" y="83"/>
                  </a:lnTo>
                  <a:lnTo>
                    <a:pt x="141" y="83"/>
                  </a:lnTo>
                  <a:lnTo>
                    <a:pt x="131" y="81"/>
                  </a:lnTo>
                  <a:lnTo>
                    <a:pt x="83" y="75"/>
                  </a:lnTo>
                  <a:lnTo>
                    <a:pt x="66" y="89"/>
                  </a:lnTo>
                  <a:lnTo>
                    <a:pt x="50" y="81"/>
                  </a:lnTo>
                  <a:lnTo>
                    <a:pt x="7" y="43"/>
                  </a:lnTo>
                  <a:lnTo>
                    <a:pt x="0" y="29"/>
                  </a:lnTo>
                  <a:lnTo>
                    <a:pt x="66" y="0"/>
                  </a:lnTo>
                  <a:lnTo>
                    <a:pt x="73" y="4"/>
                  </a:lnTo>
                  <a:lnTo>
                    <a:pt x="77" y="2"/>
                  </a:lnTo>
                  <a:lnTo>
                    <a:pt x="116" y="17"/>
                  </a:lnTo>
                  <a:lnTo>
                    <a:pt x="124" y="27"/>
                  </a:lnTo>
                  <a:lnTo>
                    <a:pt x="139" y="25"/>
                  </a:lnTo>
                  <a:lnTo>
                    <a:pt x="159" y="25"/>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46" name="Google Shape;2446;g7826bb8c5e_0_4294"/>
            <p:cNvSpPr/>
            <p:nvPr/>
          </p:nvSpPr>
          <p:spPr>
            <a:xfrm>
              <a:off x="4238832" y="2945570"/>
              <a:ext cx="55937" cy="40959"/>
            </a:xfrm>
            <a:custGeom>
              <a:avLst/>
              <a:gdLst/>
              <a:ahLst/>
              <a:cxnLst/>
              <a:rect l="l" t="t" r="r" b="b"/>
              <a:pathLst>
                <a:path w="106" h="66" extrusionOk="0">
                  <a:moveTo>
                    <a:pt x="23" y="0"/>
                  </a:moveTo>
                  <a:lnTo>
                    <a:pt x="0" y="10"/>
                  </a:lnTo>
                  <a:lnTo>
                    <a:pt x="11" y="24"/>
                  </a:lnTo>
                  <a:lnTo>
                    <a:pt x="50" y="47"/>
                  </a:lnTo>
                  <a:lnTo>
                    <a:pt x="64" y="47"/>
                  </a:lnTo>
                  <a:lnTo>
                    <a:pt x="66" y="51"/>
                  </a:lnTo>
                  <a:lnTo>
                    <a:pt x="95" y="66"/>
                  </a:lnTo>
                  <a:lnTo>
                    <a:pt x="97" y="66"/>
                  </a:lnTo>
                  <a:lnTo>
                    <a:pt x="97" y="60"/>
                  </a:lnTo>
                  <a:lnTo>
                    <a:pt x="104" y="45"/>
                  </a:lnTo>
                  <a:lnTo>
                    <a:pt x="106" y="26"/>
                  </a:lnTo>
                  <a:lnTo>
                    <a:pt x="100" y="22"/>
                  </a:lnTo>
                  <a:lnTo>
                    <a:pt x="91" y="14"/>
                  </a:lnTo>
                  <a:lnTo>
                    <a:pt x="85" y="2"/>
                  </a:lnTo>
                  <a:lnTo>
                    <a:pt x="48" y="0"/>
                  </a:lnTo>
                  <a:lnTo>
                    <a:pt x="23"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47" name="Google Shape;2447;g7826bb8c5e_0_4294"/>
            <p:cNvSpPr/>
            <p:nvPr/>
          </p:nvSpPr>
          <p:spPr>
            <a:xfrm>
              <a:off x="4290955" y="2867746"/>
              <a:ext cx="133484" cy="166567"/>
            </a:xfrm>
            <a:custGeom>
              <a:avLst/>
              <a:gdLst/>
              <a:ahLst/>
              <a:cxnLst/>
              <a:rect l="l" t="t" r="r" b="b"/>
              <a:pathLst>
                <a:path w="256" h="276" extrusionOk="0">
                  <a:moveTo>
                    <a:pt x="62" y="51"/>
                  </a:moveTo>
                  <a:lnTo>
                    <a:pt x="66" y="53"/>
                  </a:lnTo>
                  <a:lnTo>
                    <a:pt x="66" y="47"/>
                  </a:lnTo>
                  <a:lnTo>
                    <a:pt x="78" y="39"/>
                  </a:lnTo>
                  <a:lnTo>
                    <a:pt x="97" y="49"/>
                  </a:lnTo>
                  <a:lnTo>
                    <a:pt x="88" y="37"/>
                  </a:lnTo>
                  <a:lnTo>
                    <a:pt x="78" y="24"/>
                  </a:lnTo>
                  <a:lnTo>
                    <a:pt x="76" y="20"/>
                  </a:lnTo>
                  <a:lnTo>
                    <a:pt x="70" y="0"/>
                  </a:lnTo>
                  <a:lnTo>
                    <a:pt x="92" y="4"/>
                  </a:lnTo>
                  <a:lnTo>
                    <a:pt x="99" y="4"/>
                  </a:lnTo>
                  <a:lnTo>
                    <a:pt x="103" y="16"/>
                  </a:lnTo>
                  <a:lnTo>
                    <a:pt x="134" y="20"/>
                  </a:lnTo>
                  <a:lnTo>
                    <a:pt x="134" y="29"/>
                  </a:lnTo>
                  <a:lnTo>
                    <a:pt x="142" y="35"/>
                  </a:lnTo>
                  <a:lnTo>
                    <a:pt x="183" y="18"/>
                  </a:lnTo>
                  <a:lnTo>
                    <a:pt x="181" y="20"/>
                  </a:lnTo>
                  <a:lnTo>
                    <a:pt x="216" y="31"/>
                  </a:lnTo>
                  <a:lnTo>
                    <a:pt x="229" y="31"/>
                  </a:lnTo>
                  <a:lnTo>
                    <a:pt x="241" y="43"/>
                  </a:lnTo>
                  <a:lnTo>
                    <a:pt x="231" y="45"/>
                  </a:lnTo>
                  <a:lnTo>
                    <a:pt x="235" y="78"/>
                  </a:lnTo>
                  <a:lnTo>
                    <a:pt x="251" y="119"/>
                  </a:lnTo>
                  <a:lnTo>
                    <a:pt x="256" y="148"/>
                  </a:lnTo>
                  <a:lnTo>
                    <a:pt x="249" y="144"/>
                  </a:lnTo>
                  <a:lnTo>
                    <a:pt x="183" y="173"/>
                  </a:lnTo>
                  <a:lnTo>
                    <a:pt x="190" y="187"/>
                  </a:lnTo>
                  <a:lnTo>
                    <a:pt x="233" y="225"/>
                  </a:lnTo>
                  <a:lnTo>
                    <a:pt x="208" y="247"/>
                  </a:lnTo>
                  <a:lnTo>
                    <a:pt x="214" y="266"/>
                  </a:lnTo>
                  <a:lnTo>
                    <a:pt x="204" y="270"/>
                  </a:lnTo>
                  <a:lnTo>
                    <a:pt x="169" y="270"/>
                  </a:lnTo>
                  <a:lnTo>
                    <a:pt x="144" y="270"/>
                  </a:lnTo>
                  <a:lnTo>
                    <a:pt x="136" y="276"/>
                  </a:lnTo>
                  <a:lnTo>
                    <a:pt x="109" y="272"/>
                  </a:lnTo>
                  <a:lnTo>
                    <a:pt x="80" y="266"/>
                  </a:lnTo>
                  <a:lnTo>
                    <a:pt x="51" y="270"/>
                  </a:lnTo>
                  <a:lnTo>
                    <a:pt x="62" y="218"/>
                  </a:lnTo>
                  <a:lnTo>
                    <a:pt x="18" y="202"/>
                  </a:lnTo>
                  <a:lnTo>
                    <a:pt x="12" y="200"/>
                  </a:lnTo>
                  <a:lnTo>
                    <a:pt x="12" y="196"/>
                  </a:lnTo>
                  <a:lnTo>
                    <a:pt x="4" y="175"/>
                  </a:lnTo>
                  <a:lnTo>
                    <a:pt x="6" y="156"/>
                  </a:lnTo>
                  <a:lnTo>
                    <a:pt x="0" y="152"/>
                  </a:lnTo>
                  <a:lnTo>
                    <a:pt x="4" y="111"/>
                  </a:lnTo>
                  <a:lnTo>
                    <a:pt x="28" y="97"/>
                  </a:lnTo>
                  <a:lnTo>
                    <a:pt x="20" y="84"/>
                  </a:lnTo>
                  <a:lnTo>
                    <a:pt x="31" y="60"/>
                  </a:lnTo>
                  <a:lnTo>
                    <a:pt x="26" y="59"/>
                  </a:lnTo>
                  <a:lnTo>
                    <a:pt x="31" y="45"/>
                  </a:lnTo>
                  <a:lnTo>
                    <a:pt x="62" y="5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48" name="Google Shape;2448;g7826bb8c5e_0_4294"/>
            <p:cNvSpPr/>
            <p:nvPr/>
          </p:nvSpPr>
          <p:spPr>
            <a:xfrm>
              <a:off x="4393929" y="2875939"/>
              <a:ext cx="8900" cy="4096"/>
            </a:xfrm>
            <a:custGeom>
              <a:avLst/>
              <a:gdLst/>
              <a:ahLst/>
              <a:cxnLst/>
              <a:rect l="l" t="t" r="r" b="b"/>
              <a:pathLst>
                <a:path w="18" h="8" extrusionOk="0">
                  <a:moveTo>
                    <a:pt x="0" y="8"/>
                  </a:moveTo>
                  <a:lnTo>
                    <a:pt x="18" y="8"/>
                  </a:lnTo>
                  <a:lnTo>
                    <a:pt x="10" y="0"/>
                  </a:lnTo>
                  <a:lnTo>
                    <a:pt x="0" y="8"/>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49" name="Google Shape;2449;g7826bb8c5e_0_4294"/>
            <p:cNvSpPr/>
            <p:nvPr/>
          </p:nvSpPr>
          <p:spPr>
            <a:xfrm>
              <a:off x="4287141" y="2971510"/>
              <a:ext cx="10171" cy="16383"/>
            </a:xfrm>
            <a:custGeom>
              <a:avLst/>
              <a:gdLst/>
              <a:ahLst/>
              <a:cxnLst/>
              <a:rect l="l" t="t" r="r" b="b"/>
              <a:pathLst>
                <a:path w="15" h="25" extrusionOk="0">
                  <a:moveTo>
                    <a:pt x="7" y="0"/>
                  </a:moveTo>
                  <a:lnTo>
                    <a:pt x="0" y="15"/>
                  </a:lnTo>
                  <a:lnTo>
                    <a:pt x="0" y="21"/>
                  </a:lnTo>
                  <a:lnTo>
                    <a:pt x="15" y="25"/>
                  </a:lnTo>
                  <a:lnTo>
                    <a:pt x="15" y="21"/>
                  </a:lnTo>
                  <a:lnTo>
                    <a:pt x="7"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50" name="Google Shape;2450;g7826bb8c5e_0_4294"/>
            <p:cNvSpPr/>
            <p:nvPr/>
          </p:nvSpPr>
          <p:spPr>
            <a:xfrm>
              <a:off x="4610048" y="3002912"/>
              <a:ext cx="67379" cy="80553"/>
            </a:xfrm>
            <a:custGeom>
              <a:avLst/>
              <a:gdLst/>
              <a:ahLst/>
              <a:cxnLst/>
              <a:rect l="l" t="t" r="r" b="b"/>
              <a:pathLst>
                <a:path w="130" h="134" extrusionOk="0">
                  <a:moveTo>
                    <a:pt x="25" y="0"/>
                  </a:moveTo>
                  <a:lnTo>
                    <a:pt x="0" y="22"/>
                  </a:lnTo>
                  <a:lnTo>
                    <a:pt x="2" y="22"/>
                  </a:lnTo>
                  <a:lnTo>
                    <a:pt x="23" y="43"/>
                  </a:lnTo>
                  <a:lnTo>
                    <a:pt x="47" y="66"/>
                  </a:lnTo>
                  <a:lnTo>
                    <a:pt x="56" y="97"/>
                  </a:lnTo>
                  <a:lnTo>
                    <a:pt x="64" y="128"/>
                  </a:lnTo>
                  <a:lnTo>
                    <a:pt x="89" y="128"/>
                  </a:lnTo>
                  <a:lnTo>
                    <a:pt x="107" y="134"/>
                  </a:lnTo>
                  <a:lnTo>
                    <a:pt x="105" y="117"/>
                  </a:lnTo>
                  <a:lnTo>
                    <a:pt x="130" y="91"/>
                  </a:lnTo>
                  <a:lnTo>
                    <a:pt x="107" y="70"/>
                  </a:lnTo>
                  <a:lnTo>
                    <a:pt x="83" y="49"/>
                  </a:lnTo>
                  <a:lnTo>
                    <a:pt x="58" y="26"/>
                  </a:lnTo>
                  <a:lnTo>
                    <a:pt x="35" y="4"/>
                  </a:lnTo>
                  <a:lnTo>
                    <a:pt x="25" y="0"/>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51" name="Google Shape;2451;g7826bb8c5e_0_4294"/>
            <p:cNvSpPr/>
            <p:nvPr/>
          </p:nvSpPr>
          <p:spPr>
            <a:xfrm>
              <a:off x="4270615" y="2533248"/>
              <a:ext cx="320364" cy="264868"/>
            </a:xfrm>
            <a:custGeom>
              <a:avLst/>
              <a:gdLst/>
              <a:ahLst/>
              <a:cxnLst/>
              <a:rect l="l" t="t" r="r" b="b"/>
              <a:pathLst>
                <a:path w="612" h="434" extrusionOk="0">
                  <a:moveTo>
                    <a:pt x="360" y="44"/>
                  </a:moveTo>
                  <a:lnTo>
                    <a:pt x="360" y="46"/>
                  </a:lnTo>
                  <a:lnTo>
                    <a:pt x="351" y="54"/>
                  </a:lnTo>
                  <a:lnTo>
                    <a:pt x="351" y="35"/>
                  </a:lnTo>
                  <a:lnTo>
                    <a:pt x="349" y="46"/>
                  </a:lnTo>
                  <a:lnTo>
                    <a:pt x="341" y="48"/>
                  </a:lnTo>
                  <a:lnTo>
                    <a:pt x="337" y="38"/>
                  </a:lnTo>
                  <a:lnTo>
                    <a:pt x="331" y="46"/>
                  </a:lnTo>
                  <a:lnTo>
                    <a:pt x="333" y="54"/>
                  </a:lnTo>
                  <a:lnTo>
                    <a:pt x="316" y="50"/>
                  </a:lnTo>
                  <a:lnTo>
                    <a:pt x="318" y="56"/>
                  </a:lnTo>
                  <a:lnTo>
                    <a:pt x="306" y="52"/>
                  </a:lnTo>
                  <a:lnTo>
                    <a:pt x="300" y="62"/>
                  </a:lnTo>
                  <a:lnTo>
                    <a:pt x="300" y="73"/>
                  </a:lnTo>
                  <a:lnTo>
                    <a:pt x="296" y="75"/>
                  </a:lnTo>
                  <a:lnTo>
                    <a:pt x="269" y="81"/>
                  </a:lnTo>
                  <a:lnTo>
                    <a:pt x="296" y="83"/>
                  </a:lnTo>
                  <a:lnTo>
                    <a:pt x="292" y="89"/>
                  </a:lnTo>
                  <a:lnTo>
                    <a:pt x="273" y="89"/>
                  </a:lnTo>
                  <a:lnTo>
                    <a:pt x="269" y="91"/>
                  </a:lnTo>
                  <a:lnTo>
                    <a:pt x="265" y="97"/>
                  </a:lnTo>
                  <a:lnTo>
                    <a:pt x="265" y="100"/>
                  </a:lnTo>
                  <a:lnTo>
                    <a:pt x="258" y="93"/>
                  </a:lnTo>
                  <a:lnTo>
                    <a:pt x="250" y="97"/>
                  </a:lnTo>
                  <a:lnTo>
                    <a:pt x="232" y="110"/>
                  </a:lnTo>
                  <a:lnTo>
                    <a:pt x="256" y="106"/>
                  </a:lnTo>
                  <a:lnTo>
                    <a:pt x="248" y="110"/>
                  </a:lnTo>
                  <a:lnTo>
                    <a:pt x="252" y="116"/>
                  </a:lnTo>
                  <a:lnTo>
                    <a:pt x="250" y="118"/>
                  </a:lnTo>
                  <a:lnTo>
                    <a:pt x="234" y="116"/>
                  </a:lnTo>
                  <a:lnTo>
                    <a:pt x="232" y="122"/>
                  </a:lnTo>
                  <a:lnTo>
                    <a:pt x="252" y="128"/>
                  </a:lnTo>
                  <a:lnTo>
                    <a:pt x="228" y="130"/>
                  </a:lnTo>
                  <a:lnTo>
                    <a:pt x="209" y="135"/>
                  </a:lnTo>
                  <a:lnTo>
                    <a:pt x="197" y="145"/>
                  </a:lnTo>
                  <a:lnTo>
                    <a:pt x="199" y="145"/>
                  </a:lnTo>
                  <a:lnTo>
                    <a:pt x="192" y="153"/>
                  </a:lnTo>
                  <a:lnTo>
                    <a:pt x="197" y="155"/>
                  </a:lnTo>
                  <a:lnTo>
                    <a:pt x="213" y="155"/>
                  </a:lnTo>
                  <a:lnTo>
                    <a:pt x="190" y="162"/>
                  </a:lnTo>
                  <a:lnTo>
                    <a:pt x="182" y="172"/>
                  </a:lnTo>
                  <a:lnTo>
                    <a:pt x="184" y="180"/>
                  </a:lnTo>
                  <a:lnTo>
                    <a:pt x="184" y="186"/>
                  </a:lnTo>
                  <a:lnTo>
                    <a:pt x="190" y="190"/>
                  </a:lnTo>
                  <a:lnTo>
                    <a:pt x="161" y="199"/>
                  </a:lnTo>
                  <a:lnTo>
                    <a:pt x="159" y="201"/>
                  </a:lnTo>
                  <a:lnTo>
                    <a:pt x="170" y="197"/>
                  </a:lnTo>
                  <a:lnTo>
                    <a:pt x="164" y="209"/>
                  </a:lnTo>
                  <a:lnTo>
                    <a:pt x="151" y="213"/>
                  </a:lnTo>
                  <a:lnTo>
                    <a:pt x="141" y="217"/>
                  </a:lnTo>
                  <a:lnTo>
                    <a:pt x="126" y="230"/>
                  </a:lnTo>
                  <a:lnTo>
                    <a:pt x="118" y="240"/>
                  </a:lnTo>
                  <a:lnTo>
                    <a:pt x="130" y="246"/>
                  </a:lnTo>
                  <a:lnTo>
                    <a:pt x="143" y="234"/>
                  </a:lnTo>
                  <a:lnTo>
                    <a:pt x="155" y="230"/>
                  </a:lnTo>
                  <a:lnTo>
                    <a:pt x="153" y="240"/>
                  </a:lnTo>
                  <a:lnTo>
                    <a:pt x="133" y="250"/>
                  </a:lnTo>
                  <a:lnTo>
                    <a:pt x="122" y="250"/>
                  </a:lnTo>
                  <a:lnTo>
                    <a:pt x="102" y="246"/>
                  </a:lnTo>
                  <a:lnTo>
                    <a:pt x="100" y="250"/>
                  </a:lnTo>
                  <a:lnTo>
                    <a:pt x="87" y="257"/>
                  </a:lnTo>
                  <a:lnTo>
                    <a:pt x="81" y="263"/>
                  </a:lnTo>
                  <a:lnTo>
                    <a:pt x="83" y="267"/>
                  </a:lnTo>
                  <a:lnTo>
                    <a:pt x="75" y="265"/>
                  </a:lnTo>
                  <a:lnTo>
                    <a:pt x="83" y="273"/>
                  </a:lnTo>
                  <a:lnTo>
                    <a:pt x="48" y="265"/>
                  </a:lnTo>
                  <a:lnTo>
                    <a:pt x="46" y="273"/>
                  </a:lnTo>
                  <a:lnTo>
                    <a:pt x="58" y="273"/>
                  </a:lnTo>
                  <a:lnTo>
                    <a:pt x="68" y="273"/>
                  </a:lnTo>
                  <a:lnTo>
                    <a:pt x="56" y="277"/>
                  </a:lnTo>
                  <a:lnTo>
                    <a:pt x="35" y="281"/>
                  </a:lnTo>
                  <a:lnTo>
                    <a:pt x="50" y="289"/>
                  </a:lnTo>
                  <a:lnTo>
                    <a:pt x="48" y="292"/>
                  </a:lnTo>
                  <a:lnTo>
                    <a:pt x="33" y="285"/>
                  </a:lnTo>
                  <a:lnTo>
                    <a:pt x="33" y="289"/>
                  </a:lnTo>
                  <a:lnTo>
                    <a:pt x="19" y="290"/>
                  </a:lnTo>
                  <a:lnTo>
                    <a:pt x="23" y="294"/>
                  </a:lnTo>
                  <a:lnTo>
                    <a:pt x="9" y="296"/>
                  </a:lnTo>
                  <a:lnTo>
                    <a:pt x="2" y="294"/>
                  </a:lnTo>
                  <a:lnTo>
                    <a:pt x="0" y="302"/>
                  </a:lnTo>
                  <a:lnTo>
                    <a:pt x="37" y="304"/>
                  </a:lnTo>
                  <a:lnTo>
                    <a:pt x="0" y="306"/>
                  </a:lnTo>
                  <a:lnTo>
                    <a:pt x="11" y="318"/>
                  </a:lnTo>
                  <a:lnTo>
                    <a:pt x="4" y="320"/>
                  </a:lnTo>
                  <a:lnTo>
                    <a:pt x="6" y="320"/>
                  </a:lnTo>
                  <a:lnTo>
                    <a:pt x="2" y="327"/>
                  </a:lnTo>
                  <a:lnTo>
                    <a:pt x="38" y="323"/>
                  </a:lnTo>
                  <a:lnTo>
                    <a:pt x="56" y="321"/>
                  </a:lnTo>
                  <a:lnTo>
                    <a:pt x="60" y="320"/>
                  </a:lnTo>
                  <a:lnTo>
                    <a:pt x="62" y="329"/>
                  </a:lnTo>
                  <a:lnTo>
                    <a:pt x="54" y="333"/>
                  </a:lnTo>
                  <a:lnTo>
                    <a:pt x="35" y="329"/>
                  </a:lnTo>
                  <a:lnTo>
                    <a:pt x="0" y="333"/>
                  </a:lnTo>
                  <a:lnTo>
                    <a:pt x="6" y="339"/>
                  </a:lnTo>
                  <a:lnTo>
                    <a:pt x="6" y="341"/>
                  </a:lnTo>
                  <a:lnTo>
                    <a:pt x="0" y="343"/>
                  </a:lnTo>
                  <a:lnTo>
                    <a:pt x="17" y="345"/>
                  </a:lnTo>
                  <a:lnTo>
                    <a:pt x="11" y="353"/>
                  </a:lnTo>
                  <a:lnTo>
                    <a:pt x="4" y="360"/>
                  </a:lnTo>
                  <a:lnTo>
                    <a:pt x="17" y="358"/>
                  </a:lnTo>
                  <a:lnTo>
                    <a:pt x="21" y="366"/>
                  </a:lnTo>
                  <a:lnTo>
                    <a:pt x="35" y="353"/>
                  </a:lnTo>
                  <a:lnTo>
                    <a:pt x="46" y="351"/>
                  </a:lnTo>
                  <a:lnTo>
                    <a:pt x="38" y="362"/>
                  </a:lnTo>
                  <a:lnTo>
                    <a:pt x="37" y="353"/>
                  </a:lnTo>
                  <a:lnTo>
                    <a:pt x="23" y="374"/>
                  </a:lnTo>
                  <a:lnTo>
                    <a:pt x="27" y="376"/>
                  </a:lnTo>
                  <a:lnTo>
                    <a:pt x="11" y="380"/>
                  </a:lnTo>
                  <a:lnTo>
                    <a:pt x="9" y="391"/>
                  </a:lnTo>
                  <a:lnTo>
                    <a:pt x="23" y="387"/>
                  </a:lnTo>
                  <a:lnTo>
                    <a:pt x="33" y="384"/>
                  </a:lnTo>
                  <a:lnTo>
                    <a:pt x="33" y="391"/>
                  </a:lnTo>
                  <a:lnTo>
                    <a:pt x="31" y="401"/>
                  </a:lnTo>
                  <a:lnTo>
                    <a:pt x="19" y="403"/>
                  </a:lnTo>
                  <a:lnTo>
                    <a:pt x="21" y="420"/>
                  </a:lnTo>
                  <a:lnTo>
                    <a:pt x="44" y="432"/>
                  </a:lnTo>
                  <a:lnTo>
                    <a:pt x="81" y="434"/>
                  </a:lnTo>
                  <a:lnTo>
                    <a:pt x="124" y="399"/>
                  </a:lnTo>
                  <a:lnTo>
                    <a:pt x="143" y="397"/>
                  </a:lnTo>
                  <a:lnTo>
                    <a:pt x="145" y="378"/>
                  </a:lnTo>
                  <a:lnTo>
                    <a:pt x="153" y="372"/>
                  </a:lnTo>
                  <a:lnTo>
                    <a:pt x="161" y="395"/>
                  </a:lnTo>
                  <a:lnTo>
                    <a:pt x="174" y="403"/>
                  </a:lnTo>
                  <a:lnTo>
                    <a:pt x="190" y="370"/>
                  </a:lnTo>
                  <a:lnTo>
                    <a:pt x="194" y="339"/>
                  </a:lnTo>
                  <a:lnTo>
                    <a:pt x="194" y="331"/>
                  </a:lnTo>
                  <a:lnTo>
                    <a:pt x="205" y="320"/>
                  </a:lnTo>
                  <a:lnTo>
                    <a:pt x="184" y="308"/>
                  </a:lnTo>
                  <a:lnTo>
                    <a:pt x="182" y="275"/>
                  </a:lnTo>
                  <a:lnTo>
                    <a:pt x="182" y="240"/>
                  </a:lnTo>
                  <a:lnTo>
                    <a:pt x="205" y="226"/>
                  </a:lnTo>
                  <a:lnTo>
                    <a:pt x="228" y="225"/>
                  </a:lnTo>
                  <a:lnTo>
                    <a:pt x="215" y="209"/>
                  </a:lnTo>
                  <a:lnTo>
                    <a:pt x="234" y="168"/>
                  </a:lnTo>
                  <a:lnTo>
                    <a:pt x="230" y="159"/>
                  </a:lnTo>
                  <a:lnTo>
                    <a:pt x="254" y="153"/>
                  </a:lnTo>
                  <a:lnTo>
                    <a:pt x="265" y="133"/>
                  </a:lnTo>
                  <a:lnTo>
                    <a:pt x="279" y="100"/>
                  </a:lnTo>
                  <a:lnTo>
                    <a:pt x="312" y="93"/>
                  </a:lnTo>
                  <a:lnTo>
                    <a:pt x="314" y="79"/>
                  </a:lnTo>
                  <a:lnTo>
                    <a:pt x="358" y="81"/>
                  </a:lnTo>
                  <a:lnTo>
                    <a:pt x="354" y="64"/>
                  </a:lnTo>
                  <a:lnTo>
                    <a:pt x="366" y="64"/>
                  </a:lnTo>
                  <a:lnTo>
                    <a:pt x="384" y="54"/>
                  </a:lnTo>
                  <a:lnTo>
                    <a:pt x="411" y="69"/>
                  </a:lnTo>
                  <a:lnTo>
                    <a:pt x="440" y="75"/>
                  </a:lnTo>
                  <a:lnTo>
                    <a:pt x="471" y="75"/>
                  </a:lnTo>
                  <a:lnTo>
                    <a:pt x="486" y="69"/>
                  </a:lnTo>
                  <a:lnTo>
                    <a:pt x="494" y="44"/>
                  </a:lnTo>
                  <a:lnTo>
                    <a:pt x="529" y="31"/>
                  </a:lnTo>
                  <a:lnTo>
                    <a:pt x="570" y="42"/>
                  </a:lnTo>
                  <a:lnTo>
                    <a:pt x="572" y="64"/>
                  </a:lnTo>
                  <a:lnTo>
                    <a:pt x="595" y="48"/>
                  </a:lnTo>
                  <a:lnTo>
                    <a:pt x="612" y="48"/>
                  </a:lnTo>
                  <a:lnTo>
                    <a:pt x="612" y="38"/>
                  </a:lnTo>
                  <a:lnTo>
                    <a:pt x="597" y="38"/>
                  </a:lnTo>
                  <a:lnTo>
                    <a:pt x="583" y="38"/>
                  </a:lnTo>
                  <a:lnTo>
                    <a:pt x="564" y="29"/>
                  </a:lnTo>
                  <a:lnTo>
                    <a:pt x="612" y="23"/>
                  </a:lnTo>
                  <a:lnTo>
                    <a:pt x="587" y="11"/>
                  </a:lnTo>
                  <a:lnTo>
                    <a:pt x="564" y="7"/>
                  </a:lnTo>
                  <a:lnTo>
                    <a:pt x="546" y="11"/>
                  </a:lnTo>
                  <a:lnTo>
                    <a:pt x="544" y="27"/>
                  </a:lnTo>
                  <a:lnTo>
                    <a:pt x="541" y="17"/>
                  </a:lnTo>
                  <a:lnTo>
                    <a:pt x="539" y="11"/>
                  </a:lnTo>
                  <a:lnTo>
                    <a:pt x="537" y="11"/>
                  </a:lnTo>
                  <a:lnTo>
                    <a:pt x="533" y="0"/>
                  </a:lnTo>
                  <a:lnTo>
                    <a:pt x="517" y="5"/>
                  </a:lnTo>
                  <a:lnTo>
                    <a:pt x="502" y="21"/>
                  </a:lnTo>
                  <a:lnTo>
                    <a:pt x="494" y="5"/>
                  </a:lnTo>
                  <a:lnTo>
                    <a:pt x="465" y="29"/>
                  </a:lnTo>
                  <a:lnTo>
                    <a:pt x="477" y="9"/>
                  </a:lnTo>
                  <a:lnTo>
                    <a:pt x="471" y="7"/>
                  </a:lnTo>
                  <a:lnTo>
                    <a:pt x="451" y="5"/>
                  </a:lnTo>
                  <a:lnTo>
                    <a:pt x="451" y="11"/>
                  </a:lnTo>
                  <a:lnTo>
                    <a:pt x="424" y="29"/>
                  </a:lnTo>
                  <a:lnTo>
                    <a:pt x="405" y="29"/>
                  </a:lnTo>
                  <a:lnTo>
                    <a:pt x="409" y="25"/>
                  </a:lnTo>
                  <a:lnTo>
                    <a:pt x="382" y="27"/>
                  </a:lnTo>
                  <a:lnTo>
                    <a:pt x="397" y="31"/>
                  </a:lnTo>
                  <a:lnTo>
                    <a:pt x="393" y="38"/>
                  </a:lnTo>
                  <a:lnTo>
                    <a:pt x="378" y="36"/>
                  </a:lnTo>
                  <a:lnTo>
                    <a:pt x="360" y="4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52" name="Google Shape;2452;g7826bb8c5e_0_4294"/>
            <p:cNvSpPr/>
            <p:nvPr/>
          </p:nvSpPr>
          <p:spPr>
            <a:xfrm>
              <a:off x="4320195" y="2376237"/>
              <a:ext cx="119501" cy="57342"/>
            </a:xfrm>
            <a:custGeom>
              <a:avLst/>
              <a:gdLst/>
              <a:ahLst/>
              <a:cxnLst/>
              <a:rect l="l" t="t" r="r" b="b"/>
              <a:pathLst>
                <a:path w="228" h="97" extrusionOk="0">
                  <a:moveTo>
                    <a:pt x="56" y="8"/>
                  </a:moveTo>
                  <a:lnTo>
                    <a:pt x="25" y="8"/>
                  </a:lnTo>
                  <a:lnTo>
                    <a:pt x="0" y="10"/>
                  </a:lnTo>
                  <a:lnTo>
                    <a:pt x="4" y="21"/>
                  </a:lnTo>
                  <a:lnTo>
                    <a:pt x="23" y="19"/>
                  </a:lnTo>
                  <a:lnTo>
                    <a:pt x="25" y="27"/>
                  </a:lnTo>
                  <a:lnTo>
                    <a:pt x="9" y="29"/>
                  </a:lnTo>
                  <a:lnTo>
                    <a:pt x="37" y="43"/>
                  </a:lnTo>
                  <a:lnTo>
                    <a:pt x="62" y="50"/>
                  </a:lnTo>
                  <a:lnTo>
                    <a:pt x="77" y="43"/>
                  </a:lnTo>
                  <a:lnTo>
                    <a:pt x="93" y="35"/>
                  </a:lnTo>
                  <a:lnTo>
                    <a:pt x="95" y="41"/>
                  </a:lnTo>
                  <a:lnTo>
                    <a:pt x="122" y="37"/>
                  </a:lnTo>
                  <a:lnTo>
                    <a:pt x="124" y="44"/>
                  </a:lnTo>
                  <a:lnTo>
                    <a:pt x="69" y="54"/>
                  </a:lnTo>
                  <a:lnTo>
                    <a:pt x="64" y="60"/>
                  </a:lnTo>
                  <a:lnTo>
                    <a:pt x="130" y="60"/>
                  </a:lnTo>
                  <a:lnTo>
                    <a:pt x="104" y="64"/>
                  </a:lnTo>
                  <a:lnTo>
                    <a:pt x="114" y="68"/>
                  </a:lnTo>
                  <a:lnTo>
                    <a:pt x="75" y="72"/>
                  </a:lnTo>
                  <a:lnTo>
                    <a:pt x="118" y="85"/>
                  </a:lnTo>
                  <a:lnTo>
                    <a:pt x="135" y="97"/>
                  </a:lnTo>
                  <a:lnTo>
                    <a:pt x="141" y="91"/>
                  </a:lnTo>
                  <a:lnTo>
                    <a:pt x="161" y="70"/>
                  </a:lnTo>
                  <a:lnTo>
                    <a:pt x="172" y="54"/>
                  </a:lnTo>
                  <a:lnTo>
                    <a:pt x="178" y="46"/>
                  </a:lnTo>
                  <a:lnTo>
                    <a:pt x="228" y="35"/>
                  </a:lnTo>
                  <a:lnTo>
                    <a:pt x="170" y="23"/>
                  </a:lnTo>
                  <a:lnTo>
                    <a:pt x="164" y="13"/>
                  </a:lnTo>
                  <a:lnTo>
                    <a:pt x="147" y="15"/>
                  </a:lnTo>
                  <a:lnTo>
                    <a:pt x="145" y="10"/>
                  </a:lnTo>
                  <a:lnTo>
                    <a:pt x="114" y="0"/>
                  </a:lnTo>
                  <a:lnTo>
                    <a:pt x="118" y="31"/>
                  </a:lnTo>
                  <a:lnTo>
                    <a:pt x="81" y="6"/>
                  </a:lnTo>
                  <a:lnTo>
                    <a:pt x="66" y="15"/>
                  </a:lnTo>
                  <a:lnTo>
                    <a:pt x="48" y="12"/>
                  </a:lnTo>
                  <a:lnTo>
                    <a:pt x="56" y="8"/>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53" name="Google Shape;2453;g7826bb8c5e_0_4294"/>
            <p:cNvSpPr/>
            <p:nvPr/>
          </p:nvSpPr>
          <p:spPr>
            <a:xfrm>
              <a:off x="4399014" y="2369411"/>
              <a:ext cx="99161" cy="17749"/>
            </a:xfrm>
            <a:custGeom>
              <a:avLst/>
              <a:gdLst/>
              <a:ahLst/>
              <a:cxnLst/>
              <a:rect l="l" t="t" r="r" b="b"/>
              <a:pathLst>
                <a:path w="190" h="29" extrusionOk="0">
                  <a:moveTo>
                    <a:pt x="83" y="8"/>
                  </a:moveTo>
                  <a:lnTo>
                    <a:pt x="33" y="2"/>
                  </a:lnTo>
                  <a:lnTo>
                    <a:pt x="19" y="6"/>
                  </a:lnTo>
                  <a:lnTo>
                    <a:pt x="0" y="8"/>
                  </a:lnTo>
                  <a:lnTo>
                    <a:pt x="2" y="14"/>
                  </a:lnTo>
                  <a:lnTo>
                    <a:pt x="77" y="18"/>
                  </a:lnTo>
                  <a:lnTo>
                    <a:pt x="41" y="23"/>
                  </a:lnTo>
                  <a:lnTo>
                    <a:pt x="99" y="29"/>
                  </a:lnTo>
                  <a:lnTo>
                    <a:pt x="163" y="27"/>
                  </a:lnTo>
                  <a:lnTo>
                    <a:pt x="190" y="12"/>
                  </a:lnTo>
                  <a:lnTo>
                    <a:pt x="174" y="6"/>
                  </a:lnTo>
                  <a:lnTo>
                    <a:pt x="114" y="4"/>
                  </a:lnTo>
                  <a:lnTo>
                    <a:pt x="105" y="4"/>
                  </a:lnTo>
                  <a:lnTo>
                    <a:pt x="93" y="0"/>
                  </a:lnTo>
                  <a:lnTo>
                    <a:pt x="87" y="4"/>
                  </a:lnTo>
                  <a:lnTo>
                    <a:pt x="83" y="8"/>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54" name="Google Shape;2454;g7826bb8c5e_0_4294"/>
            <p:cNvSpPr/>
            <p:nvPr/>
          </p:nvSpPr>
          <p:spPr>
            <a:xfrm>
              <a:off x="4435882" y="2406273"/>
              <a:ext cx="45767" cy="13653"/>
            </a:xfrm>
            <a:custGeom>
              <a:avLst/>
              <a:gdLst/>
              <a:ahLst/>
              <a:cxnLst/>
              <a:rect l="l" t="t" r="r" b="b"/>
              <a:pathLst>
                <a:path w="91" h="20" extrusionOk="0">
                  <a:moveTo>
                    <a:pt x="68" y="20"/>
                  </a:moveTo>
                  <a:lnTo>
                    <a:pt x="38" y="20"/>
                  </a:lnTo>
                  <a:lnTo>
                    <a:pt x="9" y="20"/>
                  </a:lnTo>
                  <a:lnTo>
                    <a:pt x="17" y="8"/>
                  </a:lnTo>
                  <a:lnTo>
                    <a:pt x="0" y="2"/>
                  </a:lnTo>
                  <a:lnTo>
                    <a:pt x="54" y="0"/>
                  </a:lnTo>
                  <a:lnTo>
                    <a:pt x="91" y="12"/>
                  </a:lnTo>
                  <a:lnTo>
                    <a:pt x="68" y="2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55" name="Google Shape;2455;g7826bb8c5e_0_4294"/>
            <p:cNvSpPr/>
            <p:nvPr/>
          </p:nvSpPr>
          <p:spPr>
            <a:xfrm>
              <a:off x="4395201" y="2575571"/>
              <a:ext cx="15256" cy="9557"/>
            </a:xfrm>
            <a:custGeom>
              <a:avLst/>
              <a:gdLst/>
              <a:ahLst/>
              <a:cxnLst/>
              <a:rect l="l" t="t" r="r" b="b"/>
              <a:pathLst>
                <a:path w="31" h="18" extrusionOk="0">
                  <a:moveTo>
                    <a:pt x="18" y="0"/>
                  </a:moveTo>
                  <a:lnTo>
                    <a:pt x="6" y="16"/>
                  </a:lnTo>
                  <a:lnTo>
                    <a:pt x="0" y="18"/>
                  </a:lnTo>
                  <a:lnTo>
                    <a:pt x="12" y="16"/>
                  </a:lnTo>
                  <a:lnTo>
                    <a:pt x="18" y="18"/>
                  </a:lnTo>
                  <a:lnTo>
                    <a:pt x="31" y="4"/>
                  </a:lnTo>
                  <a:lnTo>
                    <a:pt x="20" y="8"/>
                  </a:lnTo>
                  <a:lnTo>
                    <a:pt x="18"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56" name="Google Shape;2456;g7826bb8c5e_0_4294"/>
            <p:cNvSpPr/>
            <p:nvPr/>
          </p:nvSpPr>
          <p:spPr>
            <a:xfrm>
              <a:off x="4463851" y="2553727"/>
              <a:ext cx="166538" cy="206162"/>
            </a:xfrm>
            <a:custGeom>
              <a:avLst/>
              <a:gdLst/>
              <a:ahLst/>
              <a:cxnLst/>
              <a:rect l="l" t="t" r="r" b="b"/>
              <a:pathLst>
                <a:path w="322" h="339" extrusionOk="0">
                  <a:moveTo>
                    <a:pt x="270" y="182"/>
                  </a:moveTo>
                  <a:lnTo>
                    <a:pt x="260" y="170"/>
                  </a:lnTo>
                  <a:lnTo>
                    <a:pt x="260" y="141"/>
                  </a:lnTo>
                  <a:lnTo>
                    <a:pt x="227" y="104"/>
                  </a:lnTo>
                  <a:lnTo>
                    <a:pt x="242" y="81"/>
                  </a:lnTo>
                  <a:lnTo>
                    <a:pt x="206" y="60"/>
                  </a:lnTo>
                  <a:lnTo>
                    <a:pt x="204" y="38"/>
                  </a:lnTo>
                  <a:lnTo>
                    <a:pt x="206" y="33"/>
                  </a:lnTo>
                  <a:lnTo>
                    <a:pt x="204" y="11"/>
                  </a:lnTo>
                  <a:lnTo>
                    <a:pt x="163" y="0"/>
                  </a:lnTo>
                  <a:lnTo>
                    <a:pt x="128" y="13"/>
                  </a:lnTo>
                  <a:lnTo>
                    <a:pt x="120" y="38"/>
                  </a:lnTo>
                  <a:lnTo>
                    <a:pt x="105" y="44"/>
                  </a:lnTo>
                  <a:lnTo>
                    <a:pt x="74" y="44"/>
                  </a:lnTo>
                  <a:lnTo>
                    <a:pt x="45" y="38"/>
                  </a:lnTo>
                  <a:lnTo>
                    <a:pt x="18" y="23"/>
                  </a:lnTo>
                  <a:lnTo>
                    <a:pt x="0" y="33"/>
                  </a:lnTo>
                  <a:lnTo>
                    <a:pt x="72" y="62"/>
                  </a:lnTo>
                  <a:lnTo>
                    <a:pt x="97" y="106"/>
                  </a:lnTo>
                  <a:lnTo>
                    <a:pt x="111" y="137"/>
                  </a:lnTo>
                  <a:lnTo>
                    <a:pt x="120" y="135"/>
                  </a:lnTo>
                  <a:lnTo>
                    <a:pt x="134" y="145"/>
                  </a:lnTo>
                  <a:lnTo>
                    <a:pt x="140" y="168"/>
                  </a:lnTo>
                  <a:lnTo>
                    <a:pt x="95" y="203"/>
                  </a:lnTo>
                  <a:lnTo>
                    <a:pt x="78" y="221"/>
                  </a:lnTo>
                  <a:lnTo>
                    <a:pt x="56" y="230"/>
                  </a:lnTo>
                  <a:lnTo>
                    <a:pt x="62" y="269"/>
                  </a:lnTo>
                  <a:lnTo>
                    <a:pt x="70" y="312"/>
                  </a:lnTo>
                  <a:lnTo>
                    <a:pt x="99" y="322"/>
                  </a:lnTo>
                  <a:lnTo>
                    <a:pt x="99" y="327"/>
                  </a:lnTo>
                  <a:lnTo>
                    <a:pt x="111" y="325"/>
                  </a:lnTo>
                  <a:lnTo>
                    <a:pt x="120" y="339"/>
                  </a:lnTo>
                  <a:lnTo>
                    <a:pt x="128" y="335"/>
                  </a:lnTo>
                  <a:lnTo>
                    <a:pt x="194" y="322"/>
                  </a:lnTo>
                  <a:lnTo>
                    <a:pt x="207" y="316"/>
                  </a:lnTo>
                  <a:lnTo>
                    <a:pt x="242" y="316"/>
                  </a:lnTo>
                  <a:lnTo>
                    <a:pt x="262" y="296"/>
                  </a:lnTo>
                  <a:lnTo>
                    <a:pt x="283" y="275"/>
                  </a:lnTo>
                  <a:lnTo>
                    <a:pt x="302" y="256"/>
                  </a:lnTo>
                  <a:lnTo>
                    <a:pt x="322" y="236"/>
                  </a:lnTo>
                  <a:lnTo>
                    <a:pt x="273" y="207"/>
                  </a:lnTo>
                  <a:lnTo>
                    <a:pt x="287" y="197"/>
                  </a:lnTo>
                  <a:lnTo>
                    <a:pt x="270" y="182"/>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57" name="Google Shape;2457;g7826bb8c5e_0_4294"/>
            <p:cNvSpPr/>
            <p:nvPr/>
          </p:nvSpPr>
          <p:spPr>
            <a:xfrm>
              <a:off x="4346892" y="3038410"/>
              <a:ext cx="1271" cy="4096"/>
            </a:xfrm>
            <a:custGeom>
              <a:avLst/>
              <a:gdLst/>
              <a:ahLst/>
              <a:cxnLst/>
              <a:rect l="l" t="t" r="r" b="b"/>
              <a:pathLst>
                <a:path w="4" h="7" extrusionOk="0">
                  <a:moveTo>
                    <a:pt x="2" y="0"/>
                  </a:moveTo>
                  <a:lnTo>
                    <a:pt x="0" y="7"/>
                  </a:lnTo>
                  <a:lnTo>
                    <a:pt x="4" y="7"/>
                  </a:lnTo>
                  <a:lnTo>
                    <a:pt x="2"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58" name="Google Shape;2458;g7826bb8c5e_0_4294"/>
            <p:cNvSpPr/>
            <p:nvPr/>
          </p:nvSpPr>
          <p:spPr>
            <a:xfrm>
              <a:off x="4348163" y="2998816"/>
              <a:ext cx="116959" cy="55978"/>
            </a:xfrm>
            <a:custGeom>
              <a:avLst/>
              <a:gdLst/>
              <a:ahLst/>
              <a:cxnLst/>
              <a:rect l="l" t="t" r="r" b="b"/>
              <a:pathLst>
                <a:path w="225" h="92" extrusionOk="0">
                  <a:moveTo>
                    <a:pt x="79" y="74"/>
                  </a:moveTo>
                  <a:lnTo>
                    <a:pt x="47" y="78"/>
                  </a:lnTo>
                  <a:lnTo>
                    <a:pt x="29" y="76"/>
                  </a:lnTo>
                  <a:lnTo>
                    <a:pt x="6" y="70"/>
                  </a:lnTo>
                  <a:lnTo>
                    <a:pt x="2" y="70"/>
                  </a:lnTo>
                  <a:lnTo>
                    <a:pt x="2" y="66"/>
                  </a:lnTo>
                  <a:lnTo>
                    <a:pt x="0" y="63"/>
                  </a:lnTo>
                  <a:lnTo>
                    <a:pt x="0" y="53"/>
                  </a:lnTo>
                  <a:lnTo>
                    <a:pt x="21" y="57"/>
                  </a:lnTo>
                  <a:lnTo>
                    <a:pt x="27" y="57"/>
                  </a:lnTo>
                  <a:lnTo>
                    <a:pt x="35" y="51"/>
                  </a:lnTo>
                  <a:lnTo>
                    <a:pt x="60" y="51"/>
                  </a:lnTo>
                  <a:lnTo>
                    <a:pt x="95" y="51"/>
                  </a:lnTo>
                  <a:lnTo>
                    <a:pt x="105" y="47"/>
                  </a:lnTo>
                  <a:lnTo>
                    <a:pt x="99" y="28"/>
                  </a:lnTo>
                  <a:lnTo>
                    <a:pt x="124" y="6"/>
                  </a:lnTo>
                  <a:lnTo>
                    <a:pt x="140" y="14"/>
                  </a:lnTo>
                  <a:lnTo>
                    <a:pt x="157" y="0"/>
                  </a:lnTo>
                  <a:lnTo>
                    <a:pt x="205" y="6"/>
                  </a:lnTo>
                  <a:lnTo>
                    <a:pt x="225" y="33"/>
                  </a:lnTo>
                  <a:lnTo>
                    <a:pt x="213" y="47"/>
                  </a:lnTo>
                  <a:lnTo>
                    <a:pt x="211" y="49"/>
                  </a:lnTo>
                  <a:lnTo>
                    <a:pt x="200" y="74"/>
                  </a:lnTo>
                  <a:lnTo>
                    <a:pt x="198" y="76"/>
                  </a:lnTo>
                  <a:lnTo>
                    <a:pt x="138" y="92"/>
                  </a:lnTo>
                  <a:lnTo>
                    <a:pt x="126" y="90"/>
                  </a:lnTo>
                  <a:lnTo>
                    <a:pt x="79" y="7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59" name="Google Shape;2459;g7826bb8c5e_0_4294"/>
            <p:cNvSpPr/>
            <p:nvPr/>
          </p:nvSpPr>
          <p:spPr>
            <a:xfrm>
              <a:off x="4447324" y="3082099"/>
              <a:ext cx="64836" cy="61438"/>
            </a:xfrm>
            <a:custGeom>
              <a:avLst/>
              <a:gdLst/>
              <a:ahLst/>
              <a:cxnLst/>
              <a:rect l="l" t="t" r="r" b="b"/>
              <a:pathLst>
                <a:path w="120" h="101" extrusionOk="0">
                  <a:moveTo>
                    <a:pt x="108" y="14"/>
                  </a:moveTo>
                  <a:lnTo>
                    <a:pt x="108" y="20"/>
                  </a:lnTo>
                  <a:lnTo>
                    <a:pt x="107" y="25"/>
                  </a:lnTo>
                  <a:lnTo>
                    <a:pt x="101" y="31"/>
                  </a:lnTo>
                  <a:lnTo>
                    <a:pt x="103" y="33"/>
                  </a:lnTo>
                  <a:lnTo>
                    <a:pt x="107" y="39"/>
                  </a:lnTo>
                  <a:lnTo>
                    <a:pt x="120" y="47"/>
                  </a:lnTo>
                  <a:lnTo>
                    <a:pt x="110" y="51"/>
                  </a:lnTo>
                  <a:lnTo>
                    <a:pt x="118" y="56"/>
                  </a:lnTo>
                  <a:lnTo>
                    <a:pt x="118" y="64"/>
                  </a:lnTo>
                  <a:lnTo>
                    <a:pt x="101" y="68"/>
                  </a:lnTo>
                  <a:lnTo>
                    <a:pt x="108" y="74"/>
                  </a:lnTo>
                  <a:lnTo>
                    <a:pt x="105" y="78"/>
                  </a:lnTo>
                  <a:lnTo>
                    <a:pt x="99" y="74"/>
                  </a:lnTo>
                  <a:lnTo>
                    <a:pt x="91" y="86"/>
                  </a:lnTo>
                  <a:lnTo>
                    <a:pt x="87" y="87"/>
                  </a:lnTo>
                  <a:lnTo>
                    <a:pt x="95" y="99"/>
                  </a:lnTo>
                  <a:lnTo>
                    <a:pt x="87" y="101"/>
                  </a:lnTo>
                  <a:lnTo>
                    <a:pt x="81" y="99"/>
                  </a:lnTo>
                  <a:lnTo>
                    <a:pt x="72" y="91"/>
                  </a:lnTo>
                  <a:lnTo>
                    <a:pt x="64" y="87"/>
                  </a:lnTo>
                  <a:lnTo>
                    <a:pt x="64" y="86"/>
                  </a:lnTo>
                  <a:lnTo>
                    <a:pt x="50" y="74"/>
                  </a:lnTo>
                  <a:lnTo>
                    <a:pt x="48" y="68"/>
                  </a:lnTo>
                  <a:lnTo>
                    <a:pt x="41" y="64"/>
                  </a:lnTo>
                  <a:lnTo>
                    <a:pt x="17" y="43"/>
                  </a:lnTo>
                  <a:lnTo>
                    <a:pt x="17" y="41"/>
                  </a:lnTo>
                  <a:lnTo>
                    <a:pt x="13" y="39"/>
                  </a:lnTo>
                  <a:lnTo>
                    <a:pt x="8" y="23"/>
                  </a:lnTo>
                  <a:lnTo>
                    <a:pt x="0" y="18"/>
                  </a:lnTo>
                  <a:lnTo>
                    <a:pt x="0" y="2"/>
                  </a:lnTo>
                  <a:lnTo>
                    <a:pt x="8" y="2"/>
                  </a:lnTo>
                  <a:lnTo>
                    <a:pt x="15" y="10"/>
                  </a:lnTo>
                  <a:lnTo>
                    <a:pt x="23" y="0"/>
                  </a:lnTo>
                  <a:lnTo>
                    <a:pt x="33" y="0"/>
                  </a:lnTo>
                  <a:lnTo>
                    <a:pt x="41" y="4"/>
                  </a:lnTo>
                  <a:lnTo>
                    <a:pt x="62" y="8"/>
                  </a:lnTo>
                  <a:lnTo>
                    <a:pt x="66" y="4"/>
                  </a:lnTo>
                  <a:lnTo>
                    <a:pt x="72" y="8"/>
                  </a:lnTo>
                  <a:lnTo>
                    <a:pt x="74" y="4"/>
                  </a:lnTo>
                  <a:lnTo>
                    <a:pt x="81" y="8"/>
                  </a:lnTo>
                  <a:lnTo>
                    <a:pt x="85" y="6"/>
                  </a:lnTo>
                  <a:lnTo>
                    <a:pt x="93" y="14"/>
                  </a:lnTo>
                  <a:lnTo>
                    <a:pt x="99" y="14"/>
                  </a:lnTo>
                  <a:lnTo>
                    <a:pt x="108" y="1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60" name="Google Shape;2460;g7826bb8c5e_0_4294"/>
            <p:cNvSpPr/>
            <p:nvPr/>
          </p:nvSpPr>
          <p:spPr>
            <a:xfrm>
              <a:off x="4412999" y="3050697"/>
              <a:ext cx="92803" cy="84648"/>
            </a:xfrm>
            <a:custGeom>
              <a:avLst/>
              <a:gdLst/>
              <a:ahLst/>
              <a:cxnLst/>
              <a:rect l="l" t="t" r="r" b="b"/>
              <a:pathLst>
                <a:path w="174" h="137" extrusionOk="0">
                  <a:moveTo>
                    <a:pt x="157" y="64"/>
                  </a:moveTo>
                  <a:lnTo>
                    <a:pt x="163" y="64"/>
                  </a:lnTo>
                  <a:lnTo>
                    <a:pt x="165" y="54"/>
                  </a:lnTo>
                  <a:lnTo>
                    <a:pt x="174" y="52"/>
                  </a:lnTo>
                  <a:lnTo>
                    <a:pt x="174" y="50"/>
                  </a:lnTo>
                  <a:lnTo>
                    <a:pt x="165" y="48"/>
                  </a:lnTo>
                  <a:lnTo>
                    <a:pt x="161" y="44"/>
                  </a:lnTo>
                  <a:lnTo>
                    <a:pt x="165" y="42"/>
                  </a:lnTo>
                  <a:lnTo>
                    <a:pt x="161" y="41"/>
                  </a:lnTo>
                  <a:lnTo>
                    <a:pt x="151" y="27"/>
                  </a:lnTo>
                  <a:lnTo>
                    <a:pt x="109" y="23"/>
                  </a:lnTo>
                  <a:lnTo>
                    <a:pt x="81" y="0"/>
                  </a:lnTo>
                  <a:lnTo>
                    <a:pt x="79" y="4"/>
                  </a:lnTo>
                  <a:lnTo>
                    <a:pt x="76" y="4"/>
                  </a:lnTo>
                  <a:lnTo>
                    <a:pt x="76" y="8"/>
                  </a:lnTo>
                  <a:lnTo>
                    <a:pt x="68" y="8"/>
                  </a:lnTo>
                  <a:lnTo>
                    <a:pt x="64" y="11"/>
                  </a:lnTo>
                  <a:lnTo>
                    <a:pt x="54" y="13"/>
                  </a:lnTo>
                  <a:lnTo>
                    <a:pt x="56" y="19"/>
                  </a:lnTo>
                  <a:lnTo>
                    <a:pt x="58" y="23"/>
                  </a:lnTo>
                  <a:lnTo>
                    <a:pt x="62" y="29"/>
                  </a:lnTo>
                  <a:lnTo>
                    <a:pt x="56" y="29"/>
                  </a:lnTo>
                  <a:lnTo>
                    <a:pt x="46" y="33"/>
                  </a:lnTo>
                  <a:lnTo>
                    <a:pt x="46" y="37"/>
                  </a:lnTo>
                  <a:lnTo>
                    <a:pt x="48" y="42"/>
                  </a:lnTo>
                  <a:lnTo>
                    <a:pt x="41" y="42"/>
                  </a:lnTo>
                  <a:lnTo>
                    <a:pt x="35" y="39"/>
                  </a:lnTo>
                  <a:lnTo>
                    <a:pt x="33" y="41"/>
                  </a:lnTo>
                  <a:lnTo>
                    <a:pt x="31" y="41"/>
                  </a:lnTo>
                  <a:lnTo>
                    <a:pt x="27" y="37"/>
                  </a:lnTo>
                  <a:lnTo>
                    <a:pt x="21" y="42"/>
                  </a:lnTo>
                  <a:lnTo>
                    <a:pt x="8" y="42"/>
                  </a:lnTo>
                  <a:lnTo>
                    <a:pt x="0" y="39"/>
                  </a:lnTo>
                  <a:lnTo>
                    <a:pt x="6" y="50"/>
                  </a:lnTo>
                  <a:lnTo>
                    <a:pt x="14" y="62"/>
                  </a:lnTo>
                  <a:lnTo>
                    <a:pt x="21" y="54"/>
                  </a:lnTo>
                  <a:lnTo>
                    <a:pt x="45" y="91"/>
                  </a:lnTo>
                  <a:lnTo>
                    <a:pt x="52" y="99"/>
                  </a:lnTo>
                  <a:lnTo>
                    <a:pt x="81" y="116"/>
                  </a:lnTo>
                  <a:lnTo>
                    <a:pt x="118" y="136"/>
                  </a:lnTo>
                  <a:lnTo>
                    <a:pt x="126" y="137"/>
                  </a:lnTo>
                  <a:lnTo>
                    <a:pt x="128" y="137"/>
                  </a:lnTo>
                  <a:lnTo>
                    <a:pt x="128" y="136"/>
                  </a:lnTo>
                  <a:lnTo>
                    <a:pt x="114" y="124"/>
                  </a:lnTo>
                  <a:lnTo>
                    <a:pt x="112" y="118"/>
                  </a:lnTo>
                  <a:lnTo>
                    <a:pt x="105" y="114"/>
                  </a:lnTo>
                  <a:lnTo>
                    <a:pt x="81" y="93"/>
                  </a:lnTo>
                  <a:lnTo>
                    <a:pt x="81" y="91"/>
                  </a:lnTo>
                  <a:lnTo>
                    <a:pt x="77" y="89"/>
                  </a:lnTo>
                  <a:lnTo>
                    <a:pt x="72" y="73"/>
                  </a:lnTo>
                  <a:lnTo>
                    <a:pt x="64" y="68"/>
                  </a:lnTo>
                  <a:lnTo>
                    <a:pt x="64" y="52"/>
                  </a:lnTo>
                  <a:lnTo>
                    <a:pt x="72" y="52"/>
                  </a:lnTo>
                  <a:lnTo>
                    <a:pt x="79" y="60"/>
                  </a:lnTo>
                  <a:lnTo>
                    <a:pt x="87" y="50"/>
                  </a:lnTo>
                  <a:lnTo>
                    <a:pt x="97" y="50"/>
                  </a:lnTo>
                  <a:lnTo>
                    <a:pt x="105" y="54"/>
                  </a:lnTo>
                  <a:lnTo>
                    <a:pt x="126" y="58"/>
                  </a:lnTo>
                  <a:lnTo>
                    <a:pt x="130" y="54"/>
                  </a:lnTo>
                  <a:lnTo>
                    <a:pt x="136" y="58"/>
                  </a:lnTo>
                  <a:lnTo>
                    <a:pt x="138" y="54"/>
                  </a:lnTo>
                  <a:lnTo>
                    <a:pt x="145" y="58"/>
                  </a:lnTo>
                  <a:lnTo>
                    <a:pt x="149" y="56"/>
                  </a:lnTo>
                  <a:lnTo>
                    <a:pt x="157" y="6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61" name="Google Shape;2461;g7826bb8c5e_0_4294"/>
            <p:cNvSpPr/>
            <p:nvPr/>
          </p:nvSpPr>
          <p:spPr>
            <a:xfrm>
              <a:off x="4468936" y="3135346"/>
              <a:ext cx="25425" cy="12289"/>
            </a:xfrm>
            <a:custGeom>
              <a:avLst/>
              <a:gdLst/>
              <a:ahLst/>
              <a:cxnLst/>
              <a:rect l="l" t="t" r="r" b="b"/>
              <a:pathLst>
                <a:path w="46" h="20" extrusionOk="0">
                  <a:moveTo>
                    <a:pt x="46" y="20"/>
                  </a:moveTo>
                  <a:lnTo>
                    <a:pt x="46" y="14"/>
                  </a:lnTo>
                  <a:lnTo>
                    <a:pt x="40" y="12"/>
                  </a:lnTo>
                  <a:lnTo>
                    <a:pt x="31" y="4"/>
                  </a:lnTo>
                  <a:lnTo>
                    <a:pt x="23" y="0"/>
                  </a:lnTo>
                  <a:lnTo>
                    <a:pt x="21" y="2"/>
                  </a:lnTo>
                  <a:lnTo>
                    <a:pt x="0" y="0"/>
                  </a:lnTo>
                  <a:lnTo>
                    <a:pt x="46" y="2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62" name="Google Shape;2462;g7826bb8c5e_0_4294"/>
            <p:cNvSpPr/>
            <p:nvPr/>
          </p:nvSpPr>
          <p:spPr>
            <a:xfrm>
              <a:off x="4125688" y="2952396"/>
              <a:ext cx="198321" cy="195239"/>
            </a:xfrm>
            <a:custGeom>
              <a:avLst/>
              <a:gdLst/>
              <a:ahLst/>
              <a:cxnLst/>
              <a:rect l="l" t="t" r="r" b="b"/>
              <a:pathLst>
                <a:path w="378" h="322" extrusionOk="0">
                  <a:moveTo>
                    <a:pt x="371" y="256"/>
                  </a:moveTo>
                  <a:lnTo>
                    <a:pt x="371" y="271"/>
                  </a:lnTo>
                  <a:lnTo>
                    <a:pt x="367" y="271"/>
                  </a:lnTo>
                  <a:lnTo>
                    <a:pt x="367" y="273"/>
                  </a:lnTo>
                  <a:lnTo>
                    <a:pt x="336" y="297"/>
                  </a:lnTo>
                  <a:lnTo>
                    <a:pt x="295" y="285"/>
                  </a:lnTo>
                  <a:lnTo>
                    <a:pt x="285" y="281"/>
                  </a:lnTo>
                  <a:lnTo>
                    <a:pt x="282" y="285"/>
                  </a:lnTo>
                  <a:lnTo>
                    <a:pt x="256" y="283"/>
                  </a:lnTo>
                  <a:lnTo>
                    <a:pt x="237" y="297"/>
                  </a:lnTo>
                  <a:lnTo>
                    <a:pt x="241" y="322"/>
                  </a:lnTo>
                  <a:lnTo>
                    <a:pt x="196" y="320"/>
                  </a:lnTo>
                  <a:lnTo>
                    <a:pt x="196" y="314"/>
                  </a:lnTo>
                  <a:lnTo>
                    <a:pt x="187" y="316"/>
                  </a:lnTo>
                  <a:lnTo>
                    <a:pt x="103" y="297"/>
                  </a:lnTo>
                  <a:lnTo>
                    <a:pt x="88" y="285"/>
                  </a:lnTo>
                  <a:lnTo>
                    <a:pt x="99" y="266"/>
                  </a:lnTo>
                  <a:lnTo>
                    <a:pt x="103" y="237"/>
                  </a:lnTo>
                  <a:lnTo>
                    <a:pt x="107" y="207"/>
                  </a:lnTo>
                  <a:lnTo>
                    <a:pt x="123" y="223"/>
                  </a:lnTo>
                  <a:lnTo>
                    <a:pt x="107" y="196"/>
                  </a:lnTo>
                  <a:lnTo>
                    <a:pt x="109" y="184"/>
                  </a:lnTo>
                  <a:lnTo>
                    <a:pt x="94" y="173"/>
                  </a:lnTo>
                  <a:lnTo>
                    <a:pt x="82" y="147"/>
                  </a:lnTo>
                  <a:lnTo>
                    <a:pt x="84" y="142"/>
                  </a:lnTo>
                  <a:lnTo>
                    <a:pt x="68" y="136"/>
                  </a:lnTo>
                  <a:lnTo>
                    <a:pt x="49" y="130"/>
                  </a:lnTo>
                  <a:lnTo>
                    <a:pt x="24" y="118"/>
                  </a:lnTo>
                  <a:lnTo>
                    <a:pt x="8" y="112"/>
                  </a:lnTo>
                  <a:lnTo>
                    <a:pt x="10" y="105"/>
                  </a:lnTo>
                  <a:lnTo>
                    <a:pt x="16" y="103"/>
                  </a:lnTo>
                  <a:lnTo>
                    <a:pt x="0" y="101"/>
                  </a:lnTo>
                  <a:lnTo>
                    <a:pt x="37" y="85"/>
                  </a:lnTo>
                  <a:lnTo>
                    <a:pt x="59" y="89"/>
                  </a:lnTo>
                  <a:lnTo>
                    <a:pt x="95" y="91"/>
                  </a:lnTo>
                  <a:lnTo>
                    <a:pt x="88" y="54"/>
                  </a:lnTo>
                  <a:lnTo>
                    <a:pt x="97" y="52"/>
                  </a:lnTo>
                  <a:lnTo>
                    <a:pt x="107" y="62"/>
                  </a:lnTo>
                  <a:lnTo>
                    <a:pt x="154" y="60"/>
                  </a:lnTo>
                  <a:lnTo>
                    <a:pt x="144" y="58"/>
                  </a:lnTo>
                  <a:lnTo>
                    <a:pt x="185" y="35"/>
                  </a:lnTo>
                  <a:lnTo>
                    <a:pt x="189" y="12"/>
                  </a:lnTo>
                  <a:lnTo>
                    <a:pt x="216" y="0"/>
                  </a:lnTo>
                  <a:lnTo>
                    <a:pt x="227" y="14"/>
                  </a:lnTo>
                  <a:lnTo>
                    <a:pt x="266" y="37"/>
                  </a:lnTo>
                  <a:lnTo>
                    <a:pt x="280" y="37"/>
                  </a:lnTo>
                  <a:lnTo>
                    <a:pt x="282" y="41"/>
                  </a:lnTo>
                  <a:lnTo>
                    <a:pt x="311" y="56"/>
                  </a:lnTo>
                  <a:lnTo>
                    <a:pt x="313" y="56"/>
                  </a:lnTo>
                  <a:lnTo>
                    <a:pt x="328" y="60"/>
                  </a:lnTo>
                  <a:lnTo>
                    <a:pt x="334" y="62"/>
                  </a:lnTo>
                  <a:lnTo>
                    <a:pt x="378" y="78"/>
                  </a:lnTo>
                  <a:lnTo>
                    <a:pt x="367" y="130"/>
                  </a:lnTo>
                  <a:lnTo>
                    <a:pt x="357" y="136"/>
                  </a:lnTo>
                  <a:lnTo>
                    <a:pt x="349" y="140"/>
                  </a:lnTo>
                  <a:lnTo>
                    <a:pt x="324" y="178"/>
                  </a:lnTo>
                  <a:lnTo>
                    <a:pt x="336" y="171"/>
                  </a:lnTo>
                  <a:lnTo>
                    <a:pt x="353" y="190"/>
                  </a:lnTo>
                  <a:lnTo>
                    <a:pt x="351" y="206"/>
                  </a:lnTo>
                  <a:lnTo>
                    <a:pt x="347" y="221"/>
                  </a:lnTo>
                  <a:lnTo>
                    <a:pt x="349" y="231"/>
                  </a:lnTo>
                  <a:lnTo>
                    <a:pt x="349" y="244"/>
                  </a:lnTo>
                  <a:lnTo>
                    <a:pt x="371" y="256"/>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63" name="Google Shape;2463;g7826bb8c5e_0_4294"/>
            <p:cNvSpPr/>
            <p:nvPr/>
          </p:nvSpPr>
          <p:spPr>
            <a:xfrm>
              <a:off x="4339264" y="3138077"/>
              <a:ext cx="15256" cy="30036"/>
            </a:xfrm>
            <a:custGeom>
              <a:avLst/>
              <a:gdLst/>
              <a:ahLst/>
              <a:cxnLst/>
              <a:rect l="l" t="t" r="r" b="b"/>
              <a:pathLst>
                <a:path w="27" h="51" extrusionOk="0">
                  <a:moveTo>
                    <a:pt x="19" y="51"/>
                  </a:moveTo>
                  <a:lnTo>
                    <a:pt x="5" y="43"/>
                  </a:lnTo>
                  <a:lnTo>
                    <a:pt x="0" y="22"/>
                  </a:lnTo>
                  <a:lnTo>
                    <a:pt x="19" y="0"/>
                  </a:lnTo>
                  <a:lnTo>
                    <a:pt x="27" y="22"/>
                  </a:lnTo>
                  <a:lnTo>
                    <a:pt x="19" y="51"/>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64" name="Google Shape;2464;g7826bb8c5e_0_4294"/>
            <p:cNvSpPr/>
            <p:nvPr/>
          </p:nvSpPr>
          <p:spPr>
            <a:xfrm>
              <a:off x="4451138" y="3009738"/>
              <a:ext cx="101703" cy="60074"/>
            </a:xfrm>
            <a:custGeom>
              <a:avLst/>
              <a:gdLst/>
              <a:ahLst/>
              <a:cxnLst/>
              <a:rect l="l" t="t" r="r" b="b"/>
              <a:pathLst>
                <a:path w="196" h="95" extrusionOk="0">
                  <a:moveTo>
                    <a:pt x="81" y="95"/>
                  </a:moveTo>
                  <a:lnTo>
                    <a:pt x="39" y="91"/>
                  </a:lnTo>
                  <a:lnTo>
                    <a:pt x="11" y="68"/>
                  </a:lnTo>
                  <a:lnTo>
                    <a:pt x="2" y="62"/>
                  </a:lnTo>
                  <a:lnTo>
                    <a:pt x="0" y="58"/>
                  </a:lnTo>
                  <a:lnTo>
                    <a:pt x="2" y="56"/>
                  </a:lnTo>
                  <a:lnTo>
                    <a:pt x="13" y="31"/>
                  </a:lnTo>
                  <a:lnTo>
                    <a:pt x="15" y="29"/>
                  </a:lnTo>
                  <a:lnTo>
                    <a:pt x="27" y="15"/>
                  </a:lnTo>
                  <a:lnTo>
                    <a:pt x="35" y="21"/>
                  </a:lnTo>
                  <a:lnTo>
                    <a:pt x="73" y="21"/>
                  </a:lnTo>
                  <a:lnTo>
                    <a:pt x="122" y="0"/>
                  </a:lnTo>
                  <a:lnTo>
                    <a:pt x="172" y="2"/>
                  </a:lnTo>
                  <a:lnTo>
                    <a:pt x="196" y="19"/>
                  </a:lnTo>
                  <a:lnTo>
                    <a:pt x="166" y="48"/>
                  </a:lnTo>
                  <a:lnTo>
                    <a:pt x="143" y="81"/>
                  </a:lnTo>
                  <a:lnTo>
                    <a:pt x="126" y="87"/>
                  </a:lnTo>
                  <a:lnTo>
                    <a:pt x="81" y="95"/>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65" name="Google Shape;2465;g7826bb8c5e_0_4294"/>
            <p:cNvSpPr/>
            <p:nvPr/>
          </p:nvSpPr>
          <p:spPr>
            <a:xfrm>
              <a:off x="4401557" y="3162652"/>
              <a:ext cx="1272" cy="1500"/>
            </a:xfrm>
            <a:custGeom>
              <a:avLst/>
              <a:gdLst/>
              <a:ahLst/>
              <a:cxnLst/>
              <a:rect l="l" t="t" r="r" b="b"/>
              <a:pathLst>
                <a:path w="2" h="120000" extrusionOk="0">
                  <a:moveTo>
                    <a:pt x="0" y="0"/>
                  </a:moveTo>
                  <a:lnTo>
                    <a:pt x="2" y="0"/>
                  </a:lnTo>
                  <a:lnTo>
                    <a:pt x="0" y="0"/>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66" name="Google Shape;2466;g7826bb8c5e_0_4294"/>
            <p:cNvSpPr/>
            <p:nvPr/>
          </p:nvSpPr>
          <p:spPr>
            <a:xfrm>
              <a:off x="4569367" y="2414466"/>
              <a:ext cx="2082374" cy="748186"/>
            </a:xfrm>
            <a:custGeom>
              <a:avLst/>
              <a:gdLst/>
              <a:ahLst/>
              <a:cxnLst/>
              <a:rect l="l" t="t" r="r" b="b"/>
              <a:pathLst>
                <a:path w="3991" h="1231" extrusionOk="0">
                  <a:moveTo>
                    <a:pt x="3690" y="262"/>
                  </a:moveTo>
                  <a:lnTo>
                    <a:pt x="3615" y="246"/>
                  </a:lnTo>
                  <a:lnTo>
                    <a:pt x="3539" y="232"/>
                  </a:lnTo>
                  <a:lnTo>
                    <a:pt x="3473" y="231"/>
                  </a:lnTo>
                  <a:lnTo>
                    <a:pt x="3411" y="227"/>
                  </a:lnTo>
                  <a:lnTo>
                    <a:pt x="3433" y="240"/>
                  </a:lnTo>
                  <a:lnTo>
                    <a:pt x="3469" y="262"/>
                  </a:lnTo>
                  <a:lnTo>
                    <a:pt x="3466" y="267"/>
                  </a:lnTo>
                  <a:lnTo>
                    <a:pt x="3442" y="265"/>
                  </a:lnTo>
                  <a:lnTo>
                    <a:pt x="3407" y="254"/>
                  </a:lnTo>
                  <a:lnTo>
                    <a:pt x="3394" y="254"/>
                  </a:lnTo>
                  <a:lnTo>
                    <a:pt x="3357" y="234"/>
                  </a:lnTo>
                  <a:lnTo>
                    <a:pt x="3330" y="244"/>
                  </a:lnTo>
                  <a:lnTo>
                    <a:pt x="3229" y="238"/>
                  </a:lnTo>
                  <a:lnTo>
                    <a:pt x="3227" y="254"/>
                  </a:lnTo>
                  <a:lnTo>
                    <a:pt x="3194" y="240"/>
                  </a:lnTo>
                  <a:lnTo>
                    <a:pt x="3155" y="231"/>
                  </a:lnTo>
                  <a:lnTo>
                    <a:pt x="3119" y="207"/>
                  </a:lnTo>
                  <a:lnTo>
                    <a:pt x="3058" y="196"/>
                  </a:lnTo>
                  <a:lnTo>
                    <a:pt x="2998" y="200"/>
                  </a:lnTo>
                  <a:lnTo>
                    <a:pt x="2938" y="201"/>
                  </a:lnTo>
                  <a:lnTo>
                    <a:pt x="2923" y="198"/>
                  </a:lnTo>
                  <a:lnTo>
                    <a:pt x="2878" y="186"/>
                  </a:lnTo>
                  <a:lnTo>
                    <a:pt x="2863" y="190"/>
                  </a:lnTo>
                  <a:lnTo>
                    <a:pt x="2865" y="182"/>
                  </a:lnTo>
                  <a:lnTo>
                    <a:pt x="2847" y="180"/>
                  </a:lnTo>
                  <a:lnTo>
                    <a:pt x="2816" y="174"/>
                  </a:lnTo>
                  <a:lnTo>
                    <a:pt x="2834" y="170"/>
                  </a:lnTo>
                  <a:lnTo>
                    <a:pt x="2777" y="157"/>
                  </a:lnTo>
                  <a:lnTo>
                    <a:pt x="2743" y="165"/>
                  </a:lnTo>
                  <a:lnTo>
                    <a:pt x="2735" y="165"/>
                  </a:lnTo>
                  <a:lnTo>
                    <a:pt x="2739" y="157"/>
                  </a:lnTo>
                  <a:lnTo>
                    <a:pt x="2737" y="155"/>
                  </a:lnTo>
                  <a:lnTo>
                    <a:pt x="2653" y="149"/>
                  </a:lnTo>
                  <a:lnTo>
                    <a:pt x="2572" y="141"/>
                  </a:lnTo>
                  <a:lnTo>
                    <a:pt x="2591" y="149"/>
                  </a:lnTo>
                  <a:lnTo>
                    <a:pt x="2556" y="157"/>
                  </a:lnTo>
                  <a:lnTo>
                    <a:pt x="2570" y="159"/>
                  </a:lnTo>
                  <a:lnTo>
                    <a:pt x="2580" y="161"/>
                  </a:lnTo>
                  <a:lnTo>
                    <a:pt x="2591" y="170"/>
                  </a:lnTo>
                  <a:lnTo>
                    <a:pt x="2605" y="182"/>
                  </a:lnTo>
                  <a:lnTo>
                    <a:pt x="2562" y="180"/>
                  </a:lnTo>
                  <a:lnTo>
                    <a:pt x="2572" y="186"/>
                  </a:lnTo>
                  <a:lnTo>
                    <a:pt x="2576" y="194"/>
                  </a:lnTo>
                  <a:lnTo>
                    <a:pt x="2508" y="178"/>
                  </a:lnTo>
                  <a:lnTo>
                    <a:pt x="2487" y="186"/>
                  </a:lnTo>
                  <a:lnTo>
                    <a:pt x="2428" y="174"/>
                  </a:lnTo>
                  <a:lnTo>
                    <a:pt x="2419" y="170"/>
                  </a:lnTo>
                  <a:lnTo>
                    <a:pt x="2432" y="190"/>
                  </a:lnTo>
                  <a:lnTo>
                    <a:pt x="2427" y="205"/>
                  </a:lnTo>
                  <a:lnTo>
                    <a:pt x="2388" y="194"/>
                  </a:lnTo>
                  <a:lnTo>
                    <a:pt x="2341" y="174"/>
                  </a:lnTo>
                  <a:lnTo>
                    <a:pt x="2287" y="155"/>
                  </a:lnTo>
                  <a:lnTo>
                    <a:pt x="2271" y="159"/>
                  </a:lnTo>
                  <a:lnTo>
                    <a:pt x="2312" y="186"/>
                  </a:lnTo>
                  <a:lnTo>
                    <a:pt x="2256" y="155"/>
                  </a:lnTo>
                  <a:lnTo>
                    <a:pt x="2167" y="145"/>
                  </a:lnTo>
                  <a:lnTo>
                    <a:pt x="2078" y="136"/>
                  </a:lnTo>
                  <a:lnTo>
                    <a:pt x="2029" y="124"/>
                  </a:lnTo>
                  <a:lnTo>
                    <a:pt x="2035" y="118"/>
                  </a:lnTo>
                  <a:lnTo>
                    <a:pt x="1998" y="118"/>
                  </a:lnTo>
                  <a:lnTo>
                    <a:pt x="1915" y="120"/>
                  </a:lnTo>
                  <a:lnTo>
                    <a:pt x="1888" y="108"/>
                  </a:lnTo>
                  <a:lnTo>
                    <a:pt x="1851" y="108"/>
                  </a:lnTo>
                  <a:lnTo>
                    <a:pt x="1851" y="104"/>
                  </a:lnTo>
                  <a:lnTo>
                    <a:pt x="1812" y="110"/>
                  </a:lnTo>
                  <a:lnTo>
                    <a:pt x="1847" y="114"/>
                  </a:lnTo>
                  <a:lnTo>
                    <a:pt x="1804" y="128"/>
                  </a:lnTo>
                  <a:lnTo>
                    <a:pt x="1758" y="134"/>
                  </a:lnTo>
                  <a:lnTo>
                    <a:pt x="1760" y="126"/>
                  </a:lnTo>
                  <a:lnTo>
                    <a:pt x="1806" y="97"/>
                  </a:lnTo>
                  <a:lnTo>
                    <a:pt x="1851" y="64"/>
                  </a:lnTo>
                  <a:lnTo>
                    <a:pt x="1830" y="58"/>
                  </a:lnTo>
                  <a:lnTo>
                    <a:pt x="1810" y="50"/>
                  </a:lnTo>
                  <a:lnTo>
                    <a:pt x="1843" y="58"/>
                  </a:lnTo>
                  <a:lnTo>
                    <a:pt x="1814" y="41"/>
                  </a:lnTo>
                  <a:lnTo>
                    <a:pt x="1808" y="42"/>
                  </a:lnTo>
                  <a:lnTo>
                    <a:pt x="1791" y="41"/>
                  </a:lnTo>
                  <a:lnTo>
                    <a:pt x="1754" y="29"/>
                  </a:lnTo>
                  <a:lnTo>
                    <a:pt x="1676" y="29"/>
                  </a:lnTo>
                  <a:lnTo>
                    <a:pt x="1649" y="31"/>
                  </a:lnTo>
                  <a:lnTo>
                    <a:pt x="1645" y="17"/>
                  </a:lnTo>
                  <a:lnTo>
                    <a:pt x="1612" y="15"/>
                  </a:lnTo>
                  <a:lnTo>
                    <a:pt x="1574" y="15"/>
                  </a:lnTo>
                  <a:lnTo>
                    <a:pt x="1603" y="6"/>
                  </a:lnTo>
                  <a:lnTo>
                    <a:pt x="1545" y="0"/>
                  </a:lnTo>
                  <a:lnTo>
                    <a:pt x="1508" y="19"/>
                  </a:lnTo>
                  <a:lnTo>
                    <a:pt x="1523" y="31"/>
                  </a:lnTo>
                  <a:lnTo>
                    <a:pt x="1545" y="33"/>
                  </a:lnTo>
                  <a:lnTo>
                    <a:pt x="1488" y="37"/>
                  </a:lnTo>
                  <a:lnTo>
                    <a:pt x="1508" y="42"/>
                  </a:lnTo>
                  <a:lnTo>
                    <a:pt x="1469" y="44"/>
                  </a:lnTo>
                  <a:lnTo>
                    <a:pt x="1434" y="46"/>
                  </a:lnTo>
                  <a:lnTo>
                    <a:pt x="1364" y="46"/>
                  </a:lnTo>
                  <a:lnTo>
                    <a:pt x="1393" y="48"/>
                  </a:lnTo>
                  <a:lnTo>
                    <a:pt x="1339" y="58"/>
                  </a:lnTo>
                  <a:lnTo>
                    <a:pt x="1285" y="68"/>
                  </a:lnTo>
                  <a:lnTo>
                    <a:pt x="1267" y="72"/>
                  </a:lnTo>
                  <a:lnTo>
                    <a:pt x="1265" y="87"/>
                  </a:lnTo>
                  <a:lnTo>
                    <a:pt x="1246" y="85"/>
                  </a:lnTo>
                  <a:lnTo>
                    <a:pt x="1281" y="95"/>
                  </a:lnTo>
                  <a:lnTo>
                    <a:pt x="1258" y="97"/>
                  </a:lnTo>
                  <a:lnTo>
                    <a:pt x="1287" y="104"/>
                  </a:lnTo>
                  <a:lnTo>
                    <a:pt x="1287" y="108"/>
                  </a:lnTo>
                  <a:lnTo>
                    <a:pt x="1223" y="114"/>
                  </a:lnTo>
                  <a:lnTo>
                    <a:pt x="1157" y="120"/>
                  </a:lnTo>
                  <a:lnTo>
                    <a:pt x="1167" y="134"/>
                  </a:lnTo>
                  <a:lnTo>
                    <a:pt x="1196" y="155"/>
                  </a:lnTo>
                  <a:lnTo>
                    <a:pt x="1229" y="163"/>
                  </a:lnTo>
                  <a:lnTo>
                    <a:pt x="1273" y="178"/>
                  </a:lnTo>
                  <a:lnTo>
                    <a:pt x="1296" y="207"/>
                  </a:lnTo>
                  <a:lnTo>
                    <a:pt x="1302" y="217"/>
                  </a:lnTo>
                  <a:lnTo>
                    <a:pt x="1291" y="219"/>
                  </a:lnTo>
                  <a:lnTo>
                    <a:pt x="1269" y="198"/>
                  </a:lnTo>
                  <a:lnTo>
                    <a:pt x="1263" y="209"/>
                  </a:lnTo>
                  <a:lnTo>
                    <a:pt x="1250" y="190"/>
                  </a:lnTo>
                  <a:lnTo>
                    <a:pt x="1263" y="176"/>
                  </a:lnTo>
                  <a:lnTo>
                    <a:pt x="1211" y="170"/>
                  </a:lnTo>
                  <a:lnTo>
                    <a:pt x="1157" y="155"/>
                  </a:lnTo>
                  <a:lnTo>
                    <a:pt x="1114" y="161"/>
                  </a:lnTo>
                  <a:lnTo>
                    <a:pt x="1136" y="170"/>
                  </a:lnTo>
                  <a:lnTo>
                    <a:pt x="1085" y="168"/>
                  </a:lnTo>
                  <a:lnTo>
                    <a:pt x="1099" y="180"/>
                  </a:lnTo>
                  <a:lnTo>
                    <a:pt x="1157" y="190"/>
                  </a:lnTo>
                  <a:lnTo>
                    <a:pt x="1168" y="198"/>
                  </a:lnTo>
                  <a:lnTo>
                    <a:pt x="1083" y="184"/>
                  </a:lnTo>
                  <a:lnTo>
                    <a:pt x="1054" y="143"/>
                  </a:lnTo>
                  <a:lnTo>
                    <a:pt x="1035" y="141"/>
                  </a:lnTo>
                  <a:lnTo>
                    <a:pt x="1056" y="163"/>
                  </a:lnTo>
                  <a:lnTo>
                    <a:pt x="1033" y="176"/>
                  </a:lnTo>
                  <a:lnTo>
                    <a:pt x="1042" y="190"/>
                  </a:lnTo>
                  <a:lnTo>
                    <a:pt x="1077" y="211"/>
                  </a:lnTo>
                  <a:lnTo>
                    <a:pt x="1075" y="236"/>
                  </a:lnTo>
                  <a:lnTo>
                    <a:pt x="1099" y="258"/>
                  </a:lnTo>
                  <a:lnTo>
                    <a:pt x="1163" y="256"/>
                  </a:lnTo>
                  <a:lnTo>
                    <a:pt x="1196" y="265"/>
                  </a:lnTo>
                  <a:lnTo>
                    <a:pt x="1209" y="287"/>
                  </a:lnTo>
                  <a:lnTo>
                    <a:pt x="1221" y="300"/>
                  </a:lnTo>
                  <a:lnTo>
                    <a:pt x="1256" y="308"/>
                  </a:lnTo>
                  <a:lnTo>
                    <a:pt x="1203" y="300"/>
                  </a:lnTo>
                  <a:lnTo>
                    <a:pt x="1184" y="271"/>
                  </a:lnTo>
                  <a:lnTo>
                    <a:pt x="1165" y="262"/>
                  </a:lnTo>
                  <a:lnTo>
                    <a:pt x="1120" y="269"/>
                  </a:lnTo>
                  <a:lnTo>
                    <a:pt x="1147" y="304"/>
                  </a:lnTo>
                  <a:lnTo>
                    <a:pt x="1124" y="337"/>
                  </a:lnTo>
                  <a:lnTo>
                    <a:pt x="1114" y="343"/>
                  </a:lnTo>
                  <a:lnTo>
                    <a:pt x="1099" y="349"/>
                  </a:lnTo>
                  <a:lnTo>
                    <a:pt x="1029" y="339"/>
                  </a:lnTo>
                  <a:lnTo>
                    <a:pt x="1021" y="333"/>
                  </a:lnTo>
                  <a:lnTo>
                    <a:pt x="1066" y="335"/>
                  </a:lnTo>
                  <a:lnTo>
                    <a:pt x="1058" y="339"/>
                  </a:lnTo>
                  <a:lnTo>
                    <a:pt x="1089" y="335"/>
                  </a:lnTo>
                  <a:lnTo>
                    <a:pt x="1083" y="327"/>
                  </a:lnTo>
                  <a:lnTo>
                    <a:pt x="1105" y="295"/>
                  </a:lnTo>
                  <a:lnTo>
                    <a:pt x="1105" y="279"/>
                  </a:lnTo>
                  <a:lnTo>
                    <a:pt x="1062" y="254"/>
                  </a:lnTo>
                  <a:lnTo>
                    <a:pt x="1042" y="223"/>
                  </a:lnTo>
                  <a:lnTo>
                    <a:pt x="1023" y="194"/>
                  </a:lnTo>
                  <a:lnTo>
                    <a:pt x="998" y="180"/>
                  </a:lnTo>
                  <a:lnTo>
                    <a:pt x="998" y="151"/>
                  </a:lnTo>
                  <a:lnTo>
                    <a:pt x="959" y="137"/>
                  </a:lnTo>
                  <a:lnTo>
                    <a:pt x="907" y="141"/>
                  </a:lnTo>
                  <a:lnTo>
                    <a:pt x="901" y="182"/>
                  </a:lnTo>
                  <a:lnTo>
                    <a:pt x="882" y="198"/>
                  </a:lnTo>
                  <a:lnTo>
                    <a:pt x="889" y="205"/>
                  </a:lnTo>
                  <a:lnTo>
                    <a:pt x="905" y="205"/>
                  </a:lnTo>
                  <a:lnTo>
                    <a:pt x="911" y="227"/>
                  </a:lnTo>
                  <a:lnTo>
                    <a:pt x="918" y="240"/>
                  </a:lnTo>
                  <a:lnTo>
                    <a:pt x="951" y="248"/>
                  </a:lnTo>
                  <a:lnTo>
                    <a:pt x="973" y="263"/>
                  </a:lnTo>
                  <a:lnTo>
                    <a:pt x="984" y="265"/>
                  </a:lnTo>
                  <a:lnTo>
                    <a:pt x="975" y="285"/>
                  </a:lnTo>
                  <a:lnTo>
                    <a:pt x="936" y="265"/>
                  </a:lnTo>
                  <a:lnTo>
                    <a:pt x="876" y="250"/>
                  </a:lnTo>
                  <a:lnTo>
                    <a:pt x="820" y="242"/>
                  </a:lnTo>
                  <a:lnTo>
                    <a:pt x="765" y="232"/>
                  </a:lnTo>
                  <a:lnTo>
                    <a:pt x="754" y="242"/>
                  </a:lnTo>
                  <a:lnTo>
                    <a:pt x="783" y="263"/>
                  </a:lnTo>
                  <a:lnTo>
                    <a:pt x="763" y="273"/>
                  </a:lnTo>
                  <a:lnTo>
                    <a:pt x="761" y="283"/>
                  </a:lnTo>
                  <a:lnTo>
                    <a:pt x="746" y="279"/>
                  </a:lnTo>
                  <a:lnTo>
                    <a:pt x="740" y="263"/>
                  </a:lnTo>
                  <a:lnTo>
                    <a:pt x="705" y="269"/>
                  </a:lnTo>
                  <a:lnTo>
                    <a:pt x="676" y="273"/>
                  </a:lnTo>
                  <a:lnTo>
                    <a:pt x="647" y="285"/>
                  </a:lnTo>
                  <a:lnTo>
                    <a:pt x="606" y="283"/>
                  </a:lnTo>
                  <a:lnTo>
                    <a:pt x="618" y="277"/>
                  </a:lnTo>
                  <a:lnTo>
                    <a:pt x="608" y="265"/>
                  </a:lnTo>
                  <a:lnTo>
                    <a:pt x="628" y="262"/>
                  </a:lnTo>
                  <a:lnTo>
                    <a:pt x="583" y="275"/>
                  </a:lnTo>
                  <a:lnTo>
                    <a:pt x="579" y="279"/>
                  </a:lnTo>
                  <a:lnTo>
                    <a:pt x="529" y="289"/>
                  </a:lnTo>
                  <a:lnTo>
                    <a:pt x="502" y="298"/>
                  </a:lnTo>
                  <a:lnTo>
                    <a:pt x="504" y="304"/>
                  </a:lnTo>
                  <a:lnTo>
                    <a:pt x="480" y="308"/>
                  </a:lnTo>
                  <a:lnTo>
                    <a:pt x="480" y="329"/>
                  </a:lnTo>
                  <a:lnTo>
                    <a:pt x="440" y="329"/>
                  </a:lnTo>
                  <a:lnTo>
                    <a:pt x="411" y="310"/>
                  </a:lnTo>
                  <a:lnTo>
                    <a:pt x="449" y="296"/>
                  </a:lnTo>
                  <a:lnTo>
                    <a:pt x="405" y="275"/>
                  </a:lnTo>
                  <a:lnTo>
                    <a:pt x="354" y="271"/>
                  </a:lnTo>
                  <a:lnTo>
                    <a:pt x="383" y="285"/>
                  </a:lnTo>
                  <a:lnTo>
                    <a:pt x="395" y="320"/>
                  </a:lnTo>
                  <a:lnTo>
                    <a:pt x="407" y="343"/>
                  </a:lnTo>
                  <a:lnTo>
                    <a:pt x="407" y="358"/>
                  </a:lnTo>
                  <a:lnTo>
                    <a:pt x="393" y="358"/>
                  </a:lnTo>
                  <a:lnTo>
                    <a:pt x="383" y="345"/>
                  </a:lnTo>
                  <a:lnTo>
                    <a:pt x="354" y="341"/>
                  </a:lnTo>
                  <a:lnTo>
                    <a:pt x="329" y="360"/>
                  </a:lnTo>
                  <a:lnTo>
                    <a:pt x="304" y="378"/>
                  </a:lnTo>
                  <a:lnTo>
                    <a:pt x="329" y="407"/>
                  </a:lnTo>
                  <a:lnTo>
                    <a:pt x="271" y="399"/>
                  </a:lnTo>
                  <a:lnTo>
                    <a:pt x="232" y="386"/>
                  </a:lnTo>
                  <a:lnTo>
                    <a:pt x="234" y="401"/>
                  </a:lnTo>
                  <a:lnTo>
                    <a:pt x="261" y="413"/>
                  </a:lnTo>
                  <a:lnTo>
                    <a:pt x="277" y="424"/>
                  </a:lnTo>
                  <a:lnTo>
                    <a:pt x="242" y="428"/>
                  </a:lnTo>
                  <a:lnTo>
                    <a:pt x="190" y="403"/>
                  </a:lnTo>
                  <a:lnTo>
                    <a:pt x="174" y="376"/>
                  </a:lnTo>
                  <a:lnTo>
                    <a:pt x="172" y="364"/>
                  </a:lnTo>
                  <a:lnTo>
                    <a:pt x="176" y="364"/>
                  </a:lnTo>
                  <a:lnTo>
                    <a:pt x="141" y="349"/>
                  </a:lnTo>
                  <a:lnTo>
                    <a:pt x="128" y="341"/>
                  </a:lnTo>
                  <a:lnTo>
                    <a:pt x="95" y="322"/>
                  </a:lnTo>
                  <a:lnTo>
                    <a:pt x="114" y="327"/>
                  </a:lnTo>
                  <a:lnTo>
                    <a:pt x="184" y="341"/>
                  </a:lnTo>
                  <a:lnTo>
                    <a:pt x="252" y="357"/>
                  </a:lnTo>
                  <a:lnTo>
                    <a:pt x="318" y="341"/>
                  </a:lnTo>
                  <a:lnTo>
                    <a:pt x="323" y="318"/>
                  </a:lnTo>
                  <a:lnTo>
                    <a:pt x="298" y="300"/>
                  </a:lnTo>
                  <a:lnTo>
                    <a:pt x="226" y="277"/>
                  </a:lnTo>
                  <a:lnTo>
                    <a:pt x="153" y="254"/>
                  </a:lnTo>
                  <a:lnTo>
                    <a:pt x="112" y="256"/>
                  </a:lnTo>
                  <a:lnTo>
                    <a:pt x="100" y="258"/>
                  </a:lnTo>
                  <a:lnTo>
                    <a:pt x="108" y="248"/>
                  </a:lnTo>
                  <a:lnTo>
                    <a:pt x="93" y="250"/>
                  </a:lnTo>
                  <a:lnTo>
                    <a:pt x="73" y="238"/>
                  </a:lnTo>
                  <a:lnTo>
                    <a:pt x="97" y="236"/>
                  </a:lnTo>
                  <a:lnTo>
                    <a:pt x="66" y="231"/>
                  </a:lnTo>
                  <a:lnTo>
                    <a:pt x="56" y="238"/>
                  </a:lnTo>
                  <a:lnTo>
                    <a:pt x="42" y="234"/>
                  </a:lnTo>
                  <a:lnTo>
                    <a:pt x="42" y="244"/>
                  </a:lnTo>
                  <a:lnTo>
                    <a:pt x="25" y="244"/>
                  </a:lnTo>
                  <a:lnTo>
                    <a:pt x="2" y="260"/>
                  </a:lnTo>
                  <a:lnTo>
                    <a:pt x="0" y="265"/>
                  </a:lnTo>
                  <a:lnTo>
                    <a:pt x="2" y="287"/>
                  </a:lnTo>
                  <a:lnTo>
                    <a:pt x="38" y="308"/>
                  </a:lnTo>
                  <a:lnTo>
                    <a:pt x="23" y="331"/>
                  </a:lnTo>
                  <a:lnTo>
                    <a:pt x="56" y="368"/>
                  </a:lnTo>
                  <a:lnTo>
                    <a:pt x="56" y="397"/>
                  </a:lnTo>
                  <a:lnTo>
                    <a:pt x="66" y="409"/>
                  </a:lnTo>
                  <a:lnTo>
                    <a:pt x="83" y="424"/>
                  </a:lnTo>
                  <a:lnTo>
                    <a:pt x="69" y="434"/>
                  </a:lnTo>
                  <a:lnTo>
                    <a:pt x="118" y="463"/>
                  </a:lnTo>
                  <a:lnTo>
                    <a:pt x="98" y="483"/>
                  </a:lnTo>
                  <a:lnTo>
                    <a:pt x="79" y="502"/>
                  </a:lnTo>
                  <a:lnTo>
                    <a:pt x="58" y="523"/>
                  </a:lnTo>
                  <a:lnTo>
                    <a:pt x="38" y="543"/>
                  </a:lnTo>
                  <a:lnTo>
                    <a:pt x="58" y="543"/>
                  </a:lnTo>
                  <a:lnTo>
                    <a:pt x="54" y="543"/>
                  </a:lnTo>
                  <a:lnTo>
                    <a:pt x="60" y="549"/>
                  </a:lnTo>
                  <a:lnTo>
                    <a:pt x="106" y="564"/>
                  </a:lnTo>
                  <a:lnTo>
                    <a:pt x="77" y="562"/>
                  </a:lnTo>
                  <a:lnTo>
                    <a:pt x="54" y="574"/>
                  </a:lnTo>
                  <a:lnTo>
                    <a:pt x="46" y="583"/>
                  </a:lnTo>
                  <a:lnTo>
                    <a:pt x="56" y="616"/>
                  </a:lnTo>
                  <a:lnTo>
                    <a:pt x="42" y="638"/>
                  </a:lnTo>
                  <a:lnTo>
                    <a:pt x="60" y="663"/>
                  </a:lnTo>
                  <a:lnTo>
                    <a:pt x="79" y="704"/>
                  </a:lnTo>
                  <a:lnTo>
                    <a:pt x="124" y="711"/>
                  </a:lnTo>
                  <a:lnTo>
                    <a:pt x="168" y="719"/>
                  </a:lnTo>
                  <a:lnTo>
                    <a:pt x="174" y="762"/>
                  </a:lnTo>
                  <a:lnTo>
                    <a:pt x="213" y="793"/>
                  </a:lnTo>
                  <a:lnTo>
                    <a:pt x="201" y="804"/>
                  </a:lnTo>
                  <a:lnTo>
                    <a:pt x="209" y="837"/>
                  </a:lnTo>
                  <a:lnTo>
                    <a:pt x="232" y="830"/>
                  </a:lnTo>
                  <a:lnTo>
                    <a:pt x="281" y="835"/>
                  </a:lnTo>
                  <a:lnTo>
                    <a:pt x="285" y="847"/>
                  </a:lnTo>
                  <a:lnTo>
                    <a:pt x="323" y="880"/>
                  </a:lnTo>
                  <a:lnTo>
                    <a:pt x="362" y="913"/>
                  </a:lnTo>
                  <a:lnTo>
                    <a:pt x="381" y="909"/>
                  </a:lnTo>
                  <a:lnTo>
                    <a:pt x="426" y="923"/>
                  </a:lnTo>
                  <a:lnTo>
                    <a:pt x="471" y="936"/>
                  </a:lnTo>
                  <a:lnTo>
                    <a:pt x="490" y="991"/>
                  </a:lnTo>
                  <a:lnTo>
                    <a:pt x="465" y="1000"/>
                  </a:lnTo>
                  <a:lnTo>
                    <a:pt x="455" y="1022"/>
                  </a:lnTo>
                  <a:lnTo>
                    <a:pt x="461" y="1029"/>
                  </a:lnTo>
                  <a:lnTo>
                    <a:pt x="438" y="1043"/>
                  </a:lnTo>
                  <a:lnTo>
                    <a:pt x="422" y="1047"/>
                  </a:lnTo>
                  <a:lnTo>
                    <a:pt x="447" y="1066"/>
                  </a:lnTo>
                  <a:lnTo>
                    <a:pt x="438" y="1064"/>
                  </a:lnTo>
                  <a:lnTo>
                    <a:pt x="434" y="1076"/>
                  </a:lnTo>
                  <a:lnTo>
                    <a:pt x="430" y="1068"/>
                  </a:lnTo>
                  <a:lnTo>
                    <a:pt x="428" y="1089"/>
                  </a:lnTo>
                  <a:lnTo>
                    <a:pt x="401" y="1093"/>
                  </a:lnTo>
                  <a:lnTo>
                    <a:pt x="395" y="1101"/>
                  </a:lnTo>
                  <a:lnTo>
                    <a:pt x="440" y="1124"/>
                  </a:lnTo>
                  <a:lnTo>
                    <a:pt x="486" y="1148"/>
                  </a:lnTo>
                  <a:lnTo>
                    <a:pt x="488" y="1146"/>
                  </a:lnTo>
                  <a:lnTo>
                    <a:pt x="523" y="1148"/>
                  </a:lnTo>
                  <a:lnTo>
                    <a:pt x="556" y="1150"/>
                  </a:lnTo>
                  <a:lnTo>
                    <a:pt x="602" y="1169"/>
                  </a:lnTo>
                  <a:lnTo>
                    <a:pt x="649" y="1186"/>
                  </a:lnTo>
                  <a:lnTo>
                    <a:pt x="694" y="1204"/>
                  </a:lnTo>
                  <a:lnTo>
                    <a:pt x="740" y="1223"/>
                  </a:lnTo>
                  <a:lnTo>
                    <a:pt x="790" y="1231"/>
                  </a:lnTo>
                  <a:lnTo>
                    <a:pt x="765" y="1204"/>
                  </a:lnTo>
                  <a:lnTo>
                    <a:pt x="738" y="1175"/>
                  </a:lnTo>
                  <a:lnTo>
                    <a:pt x="734" y="1150"/>
                  </a:lnTo>
                  <a:lnTo>
                    <a:pt x="732" y="1159"/>
                  </a:lnTo>
                  <a:lnTo>
                    <a:pt x="715" y="1130"/>
                  </a:lnTo>
                  <a:lnTo>
                    <a:pt x="705" y="1120"/>
                  </a:lnTo>
                  <a:lnTo>
                    <a:pt x="721" y="1084"/>
                  </a:lnTo>
                  <a:lnTo>
                    <a:pt x="752" y="1070"/>
                  </a:lnTo>
                  <a:lnTo>
                    <a:pt x="767" y="1060"/>
                  </a:lnTo>
                  <a:lnTo>
                    <a:pt x="765" y="1053"/>
                  </a:lnTo>
                  <a:lnTo>
                    <a:pt x="740" y="1016"/>
                  </a:lnTo>
                  <a:lnTo>
                    <a:pt x="705" y="989"/>
                  </a:lnTo>
                  <a:lnTo>
                    <a:pt x="670" y="960"/>
                  </a:lnTo>
                  <a:lnTo>
                    <a:pt x="676" y="919"/>
                  </a:lnTo>
                  <a:lnTo>
                    <a:pt x="678" y="878"/>
                  </a:lnTo>
                  <a:lnTo>
                    <a:pt x="715" y="894"/>
                  </a:lnTo>
                  <a:lnTo>
                    <a:pt x="721" y="878"/>
                  </a:lnTo>
                  <a:lnTo>
                    <a:pt x="742" y="863"/>
                  </a:lnTo>
                  <a:lnTo>
                    <a:pt x="765" y="845"/>
                  </a:lnTo>
                  <a:lnTo>
                    <a:pt x="808" y="843"/>
                  </a:lnTo>
                  <a:lnTo>
                    <a:pt x="847" y="863"/>
                  </a:lnTo>
                  <a:lnTo>
                    <a:pt x="887" y="880"/>
                  </a:lnTo>
                  <a:lnTo>
                    <a:pt x="932" y="878"/>
                  </a:lnTo>
                  <a:lnTo>
                    <a:pt x="988" y="876"/>
                  </a:lnTo>
                  <a:lnTo>
                    <a:pt x="1046" y="886"/>
                  </a:lnTo>
                  <a:lnTo>
                    <a:pt x="1052" y="874"/>
                  </a:lnTo>
                  <a:lnTo>
                    <a:pt x="1019" y="837"/>
                  </a:lnTo>
                  <a:lnTo>
                    <a:pt x="1033" y="797"/>
                  </a:lnTo>
                  <a:lnTo>
                    <a:pt x="1060" y="797"/>
                  </a:lnTo>
                  <a:lnTo>
                    <a:pt x="1025" y="779"/>
                  </a:lnTo>
                  <a:lnTo>
                    <a:pt x="1062" y="773"/>
                  </a:lnTo>
                  <a:lnTo>
                    <a:pt x="1101" y="768"/>
                  </a:lnTo>
                  <a:lnTo>
                    <a:pt x="1136" y="758"/>
                  </a:lnTo>
                  <a:lnTo>
                    <a:pt x="1172" y="746"/>
                  </a:lnTo>
                  <a:lnTo>
                    <a:pt x="1207" y="737"/>
                  </a:lnTo>
                  <a:lnTo>
                    <a:pt x="1242" y="727"/>
                  </a:lnTo>
                  <a:lnTo>
                    <a:pt x="1269" y="725"/>
                  </a:lnTo>
                  <a:lnTo>
                    <a:pt x="1289" y="748"/>
                  </a:lnTo>
                  <a:lnTo>
                    <a:pt x="1347" y="768"/>
                  </a:lnTo>
                  <a:lnTo>
                    <a:pt x="1368" y="779"/>
                  </a:lnTo>
                  <a:lnTo>
                    <a:pt x="1391" y="783"/>
                  </a:lnTo>
                  <a:lnTo>
                    <a:pt x="1428" y="768"/>
                  </a:lnTo>
                  <a:lnTo>
                    <a:pt x="1465" y="754"/>
                  </a:lnTo>
                  <a:lnTo>
                    <a:pt x="1473" y="760"/>
                  </a:lnTo>
                  <a:lnTo>
                    <a:pt x="1467" y="777"/>
                  </a:lnTo>
                  <a:lnTo>
                    <a:pt x="1508" y="804"/>
                  </a:lnTo>
                  <a:lnTo>
                    <a:pt x="1546" y="832"/>
                  </a:lnTo>
                  <a:lnTo>
                    <a:pt x="1587" y="859"/>
                  </a:lnTo>
                  <a:lnTo>
                    <a:pt x="1628" y="886"/>
                  </a:lnTo>
                  <a:lnTo>
                    <a:pt x="1634" y="878"/>
                  </a:lnTo>
                  <a:lnTo>
                    <a:pt x="1657" y="886"/>
                  </a:lnTo>
                  <a:lnTo>
                    <a:pt x="1694" y="880"/>
                  </a:lnTo>
                  <a:lnTo>
                    <a:pt x="1735" y="903"/>
                  </a:lnTo>
                  <a:lnTo>
                    <a:pt x="1775" y="929"/>
                  </a:lnTo>
                  <a:lnTo>
                    <a:pt x="1814" y="919"/>
                  </a:lnTo>
                  <a:lnTo>
                    <a:pt x="1849" y="956"/>
                  </a:lnTo>
                  <a:lnTo>
                    <a:pt x="1870" y="952"/>
                  </a:lnTo>
                  <a:lnTo>
                    <a:pt x="1886" y="940"/>
                  </a:lnTo>
                  <a:lnTo>
                    <a:pt x="1913" y="929"/>
                  </a:lnTo>
                  <a:lnTo>
                    <a:pt x="1942" y="911"/>
                  </a:lnTo>
                  <a:lnTo>
                    <a:pt x="1971" y="894"/>
                  </a:lnTo>
                  <a:lnTo>
                    <a:pt x="2033" y="901"/>
                  </a:lnTo>
                  <a:lnTo>
                    <a:pt x="2043" y="913"/>
                  </a:lnTo>
                  <a:lnTo>
                    <a:pt x="2087" y="921"/>
                  </a:lnTo>
                  <a:lnTo>
                    <a:pt x="2132" y="929"/>
                  </a:lnTo>
                  <a:lnTo>
                    <a:pt x="2155" y="911"/>
                  </a:lnTo>
                  <a:lnTo>
                    <a:pt x="2126" y="886"/>
                  </a:lnTo>
                  <a:lnTo>
                    <a:pt x="2134" y="847"/>
                  </a:lnTo>
                  <a:lnTo>
                    <a:pt x="2184" y="859"/>
                  </a:lnTo>
                  <a:lnTo>
                    <a:pt x="2237" y="870"/>
                  </a:lnTo>
                  <a:lnTo>
                    <a:pt x="2258" y="892"/>
                  </a:lnTo>
                  <a:lnTo>
                    <a:pt x="2304" y="915"/>
                  </a:lnTo>
                  <a:lnTo>
                    <a:pt x="2355" y="905"/>
                  </a:lnTo>
                  <a:lnTo>
                    <a:pt x="2396" y="913"/>
                  </a:lnTo>
                  <a:lnTo>
                    <a:pt x="2438" y="923"/>
                  </a:lnTo>
                  <a:lnTo>
                    <a:pt x="2454" y="936"/>
                  </a:lnTo>
                  <a:lnTo>
                    <a:pt x="2516" y="952"/>
                  </a:lnTo>
                  <a:lnTo>
                    <a:pt x="2551" y="946"/>
                  </a:lnTo>
                  <a:lnTo>
                    <a:pt x="2586" y="938"/>
                  </a:lnTo>
                  <a:lnTo>
                    <a:pt x="2618" y="913"/>
                  </a:lnTo>
                  <a:lnTo>
                    <a:pt x="2675" y="925"/>
                  </a:lnTo>
                  <a:lnTo>
                    <a:pt x="2704" y="929"/>
                  </a:lnTo>
                  <a:lnTo>
                    <a:pt x="2746" y="936"/>
                  </a:lnTo>
                  <a:lnTo>
                    <a:pt x="2768" y="911"/>
                  </a:lnTo>
                  <a:lnTo>
                    <a:pt x="2758" y="886"/>
                  </a:lnTo>
                  <a:lnTo>
                    <a:pt x="2758" y="839"/>
                  </a:lnTo>
                  <a:lnTo>
                    <a:pt x="2737" y="826"/>
                  </a:lnTo>
                  <a:lnTo>
                    <a:pt x="2723" y="820"/>
                  </a:lnTo>
                  <a:lnTo>
                    <a:pt x="2744" y="801"/>
                  </a:lnTo>
                  <a:lnTo>
                    <a:pt x="2781" y="799"/>
                  </a:lnTo>
                  <a:lnTo>
                    <a:pt x="2818" y="799"/>
                  </a:lnTo>
                  <a:lnTo>
                    <a:pt x="2896" y="822"/>
                  </a:lnTo>
                  <a:lnTo>
                    <a:pt x="2925" y="847"/>
                  </a:lnTo>
                  <a:lnTo>
                    <a:pt x="2956" y="872"/>
                  </a:lnTo>
                  <a:lnTo>
                    <a:pt x="2987" y="899"/>
                  </a:lnTo>
                  <a:lnTo>
                    <a:pt x="3016" y="925"/>
                  </a:lnTo>
                  <a:lnTo>
                    <a:pt x="3049" y="938"/>
                  </a:lnTo>
                  <a:lnTo>
                    <a:pt x="3103" y="954"/>
                  </a:lnTo>
                  <a:lnTo>
                    <a:pt x="3134" y="965"/>
                  </a:lnTo>
                  <a:lnTo>
                    <a:pt x="3173" y="1006"/>
                  </a:lnTo>
                  <a:lnTo>
                    <a:pt x="3217" y="1000"/>
                  </a:lnTo>
                  <a:lnTo>
                    <a:pt x="3264" y="985"/>
                  </a:lnTo>
                  <a:lnTo>
                    <a:pt x="3283" y="1018"/>
                  </a:lnTo>
                  <a:lnTo>
                    <a:pt x="3289" y="1060"/>
                  </a:lnTo>
                  <a:lnTo>
                    <a:pt x="3295" y="1105"/>
                  </a:lnTo>
                  <a:lnTo>
                    <a:pt x="3254" y="1099"/>
                  </a:lnTo>
                  <a:lnTo>
                    <a:pt x="3248" y="1119"/>
                  </a:lnTo>
                  <a:lnTo>
                    <a:pt x="3270" y="1151"/>
                  </a:lnTo>
                  <a:lnTo>
                    <a:pt x="3291" y="1186"/>
                  </a:lnTo>
                  <a:lnTo>
                    <a:pt x="3278" y="1194"/>
                  </a:lnTo>
                  <a:lnTo>
                    <a:pt x="3285" y="1204"/>
                  </a:lnTo>
                  <a:lnTo>
                    <a:pt x="3291" y="1210"/>
                  </a:lnTo>
                  <a:lnTo>
                    <a:pt x="3287" y="1198"/>
                  </a:lnTo>
                  <a:lnTo>
                    <a:pt x="3293" y="1198"/>
                  </a:lnTo>
                  <a:lnTo>
                    <a:pt x="3309" y="1175"/>
                  </a:lnTo>
                  <a:lnTo>
                    <a:pt x="3318" y="1171"/>
                  </a:lnTo>
                  <a:lnTo>
                    <a:pt x="3328" y="1188"/>
                  </a:lnTo>
                  <a:lnTo>
                    <a:pt x="3351" y="1190"/>
                  </a:lnTo>
                  <a:lnTo>
                    <a:pt x="3386" y="1177"/>
                  </a:lnTo>
                  <a:lnTo>
                    <a:pt x="3398" y="1151"/>
                  </a:lnTo>
                  <a:lnTo>
                    <a:pt x="3407" y="1124"/>
                  </a:lnTo>
                  <a:lnTo>
                    <a:pt x="3413" y="1089"/>
                  </a:lnTo>
                  <a:lnTo>
                    <a:pt x="3417" y="1055"/>
                  </a:lnTo>
                  <a:lnTo>
                    <a:pt x="3419" y="1020"/>
                  </a:lnTo>
                  <a:lnTo>
                    <a:pt x="3421" y="985"/>
                  </a:lnTo>
                  <a:lnTo>
                    <a:pt x="3407" y="954"/>
                  </a:lnTo>
                  <a:lnTo>
                    <a:pt x="3394" y="923"/>
                  </a:lnTo>
                  <a:lnTo>
                    <a:pt x="3374" y="901"/>
                  </a:lnTo>
                  <a:lnTo>
                    <a:pt x="3367" y="878"/>
                  </a:lnTo>
                  <a:lnTo>
                    <a:pt x="3357" y="853"/>
                  </a:lnTo>
                  <a:lnTo>
                    <a:pt x="3336" y="828"/>
                  </a:lnTo>
                  <a:lnTo>
                    <a:pt x="3303" y="808"/>
                  </a:lnTo>
                  <a:lnTo>
                    <a:pt x="3322" y="808"/>
                  </a:lnTo>
                  <a:lnTo>
                    <a:pt x="3247" y="770"/>
                  </a:lnTo>
                  <a:lnTo>
                    <a:pt x="3210" y="764"/>
                  </a:lnTo>
                  <a:lnTo>
                    <a:pt x="3219" y="781"/>
                  </a:lnTo>
                  <a:lnTo>
                    <a:pt x="3192" y="793"/>
                  </a:lnTo>
                  <a:lnTo>
                    <a:pt x="3192" y="779"/>
                  </a:lnTo>
                  <a:lnTo>
                    <a:pt x="3177" y="773"/>
                  </a:lnTo>
                  <a:lnTo>
                    <a:pt x="3173" y="781"/>
                  </a:lnTo>
                  <a:lnTo>
                    <a:pt x="3150" y="758"/>
                  </a:lnTo>
                  <a:lnTo>
                    <a:pt x="3099" y="750"/>
                  </a:lnTo>
                  <a:lnTo>
                    <a:pt x="3111" y="719"/>
                  </a:lnTo>
                  <a:lnTo>
                    <a:pt x="3121" y="686"/>
                  </a:lnTo>
                  <a:lnTo>
                    <a:pt x="3130" y="665"/>
                  </a:lnTo>
                  <a:lnTo>
                    <a:pt x="3140" y="642"/>
                  </a:lnTo>
                  <a:lnTo>
                    <a:pt x="3132" y="624"/>
                  </a:lnTo>
                  <a:lnTo>
                    <a:pt x="3144" y="593"/>
                  </a:lnTo>
                  <a:lnTo>
                    <a:pt x="3179" y="589"/>
                  </a:lnTo>
                  <a:lnTo>
                    <a:pt x="3216" y="583"/>
                  </a:lnTo>
                  <a:lnTo>
                    <a:pt x="3225" y="583"/>
                  </a:lnTo>
                  <a:lnTo>
                    <a:pt x="3239" y="589"/>
                  </a:lnTo>
                  <a:lnTo>
                    <a:pt x="3245" y="583"/>
                  </a:lnTo>
                  <a:lnTo>
                    <a:pt x="3312" y="589"/>
                  </a:lnTo>
                  <a:lnTo>
                    <a:pt x="3312" y="581"/>
                  </a:lnTo>
                  <a:lnTo>
                    <a:pt x="3309" y="576"/>
                  </a:lnTo>
                  <a:lnTo>
                    <a:pt x="3361" y="578"/>
                  </a:lnTo>
                  <a:lnTo>
                    <a:pt x="3404" y="587"/>
                  </a:lnTo>
                  <a:lnTo>
                    <a:pt x="3388" y="593"/>
                  </a:lnTo>
                  <a:lnTo>
                    <a:pt x="3400" y="603"/>
                  </a:lnTo>
                  <a:lnTo>
                    <a:pt x="3429" y="599"/>
                  </a:lnTo>
                  <a:lnTo>
                    <a:pt x="3450" y="591"/>
                  </a:lnTo>
                  <a:lnTo>
                    <a:pt x="3491" y="591"/>
                  </a:lnTo>
                  <a:lnTo>
                    <a:pt x="3485" y="585"/>
                  </a:lnTo>
                  <a:lnTo>
                    <a:pt x="3456" y="581"/>
                  </a:lnTo>
                  <a:lnTo>
                    <a:pt x="3444" y="572"/>
                  </a:lnTo>
                  <a:lnTo>
                    <a:pt x="3444" y="539"/>
                  </a:lnTo>
                  <a:lnTo>
                    <a:pt x="3442" y="504"/>
                  </a:lnTo>
                  <a:lnTo>
                    <a:pt x="3500" y="502"/>
                  </a:lnTo>
                  <a:lnTo>
                    <a:pt x="3514" y="498"/>
                  </a:lnTo>
                  <a:lnTo>
                    <a:pt x="3545" y="531"/>
                  </a:lnTo>
                  <a:lnTo>
                    <a:pt x="3549" y="527"/>
                  </a:lnTo>
                  <a:lnTo>
                    <a:pt x="3568" y="543"/>
                  </a:lnTo>
                  <a:lnTo>
                    <a:pt x="3584" y="508"/>
                  </a:lnTo>
                  <a:lnTo>
                    <a:pt x="3601" y="508"/>
                  </a:lnTo>
                  <a:lnTo>
                    <a:pt x="3570" y="479"/>
                  </a:lnTo>
                  <a:lnTo>
                    <a:pt x="3578" y="473"/>
                  </a:lnTo>
                  <a:lnTo>
                    <a:pt x="3625" y="477"/>
                  </a:lnTo>
                  <a:lnTo>
                    <a:pt x="3632" y="483"/>
                  </a:lnTo>
                  <a:lnTo>
                    <a:pt x="3605" y="481"/>
                  </a:lnTo>
                  <a:lnTo>
                    <a:pt x="3628" y="506"/>
                  </a:lnTo>
                  <a:lnTo>
                    <a:pt x="3650" y="531"/>
                  </a:lnTo>
                  <a:lnTo>
                    <a:pt x="3634" y="543"/>
                  </a:lnTo>
                  <a:lnTo>
                    <a:pt x="3628" y="570"/>
                  </a:lnTo>
                  <a:lnTo>
                    <a:pt x="3621" y="597"/>
                  </a:lnTo>
                  <a:lnTo>
                    <a:pt x="3619" y="632"/>
                  </a:lnTo>
                  <a:lnTo>
                    <a:pt x="3592" y="638"/>
                  </a:lnTo>
                  <a:lnTo>
                    <a:pt x="3603" y="649"/>
                  </a:lnTo>
                  <a:lnTo>
                    <a:pt x="3607" y="675"/>
                  </a:lnTo>
                  <a:lnTo>
                    <a:pt x="3632" y="704"/>
                  </a:lnTo>
                  <a:lnTo>
                    <a:pt x="3656" y="735"/>
                  </a:lnTo>
                  <a:lnTo>
                    <a:pt x="3700" y="771"/>
                  </a:lnTo>
                  <a:lnTo>
                    <a:pt x="3745" y="810"/>
                  </a:lnTo>
                  <a:lnTo>
                    <a:pt x="3789" y="847"/>
                  </a:lnTo>
                  <a:lnTo>
                    <a:pt x="3834" y="886"/>
                  </a:lnTo>
                  <a:lnTo>
                    <a:pt x="3844" y="863"/>
                  </a:lnTo>
                  <a:lnTo>
                    <a:pt x="3818" y="812"/>
                  </a:lnTo>
                  <a:lnTo>
                    <a:pt x="3830" y="806"/>
                  </a:lnTo>
                  <a:lnTo>
                    <a:pt x="3851" y="808"/>
                  </a:lnTo>
                  <a:lnTo>
                    <a:pt x="3846" y="802"/>
                  </a:lnTo>
                  <a:lnTo>
                    <a:pt x="3818" y="768"/>
                  </a:lnTo>
                  <a:lnTo>
                    <a:pt x="3853" y="752"/>
                  </a:lnTo>
                  <a:lnTo>
                    <a:pt x="3807" y="713"/>
                  </a:lnTo>
                  <a:lnTo>
                    <a:pt x="3807" y="694"/>
                  </a:lnTo>
                  <a:lnTo>
                    <a:pt x="3809" y="688"/>
                  </a:lnTo>
                  <a:lnTo>
                    <a:pt x="3809" y="696"/>
                  </a:lnTo>
                  <a:lnTo>
                    <a:pt x="3830" y="704"/>
                  </a:lnTo>
                  <a:lnTo>
                    <a:pt x="3807" y="678"/>
                  </a:lnTo>
                  <a:lnTo>
                    <a:pt x="3791" y="676"/>
                  </a:lnTo>
                  <a:lnTo>
                    <a:pt x="3760" y="638"/>
                  </a:lnTo>
                  <a:lnTo>
                    <a:pt x="3745" y="642"/>
                  </a:lnTo>
                  <a:lnTo>
                    <a:pt x="3718" y="630"/>
                  </a:lnTo>
                  <a:lnTo>
                    <a:pt x="3704" y="591"/>
                  </a:lnTo>
                  <a:lnTo>
                    <a:pt x="3687" y="568"/>
                  </a:lnTo>
                  <a:lnTo>
                    <a:pt x="3706" y="562"/>
                  </a:lnTo>
                  <a:lnTo>
                    <a:pt x="3727" y="570"/>
                  </a:lnTo>
                  <a:lnTo>
                    <a:pt x="3721" y="560"/>
                  </a:lnTo>
                  <a:lnTo>
                    <a:pt x="3735" y="547"/>
                  </a:lnTo>
                  <a:lnTo>
                    <a:pt x="3760" y="568"/>
                  </a:lnTo>
                  <a:lnTo>
                    <a:pt x="3762" y="552"/>
                  </a:lnTo>
                  <a:lnTo>
                    <a:pt x="3811" y="543"/>
                  </a:lnTo>
                  <a:lnTo>
                    <a:pt x="3859" y="562"/>
                  </a:lnTo>
                  <a:lnTo>
                    <a:pt x="3859" y="552"/>
                  </a:lnTo>
                  <a:lnTo>
                    <a:pt x="3873" y="529"/>
                  </a:lnTo>
                  <a:lnTo>
                    <a:pt x="3875" y="525"/>
                  </a:lnTo>
                  <a:lnTo>
                    <a:pt x="3875" y="516"/>
                  </a:lnTo>
                  <a:lnTo>
                    <a:pt x="3877" y="510"/>
                  </a:lnTo>
                  <a:lnTo>
                    <a:pt x="3906" y="492"/>
                  </a:lnTo>
                  <a:lnTo>
                    <a:pt x="3935" y="475"/>
                  </a:lnTo>
                  <a:lnTo>
                    <a:pt x="3919" y="471"/>
                  </a:lnTo>
                  <a:lnTo>
                    <a:pt x="3927" y="469"/>
                  </a:lnTo>
                  <a:lnTo>
                    <a:pt x="3989" y="483"/>
                  </a:lnTo>
                  <a:lnTo>
                    <a:pt x="3991" y="475"/>
                  </a:lnTo>
                  <a:lnTo>
                    <a:pt x="3964" y="459"/>
                  </a:lnTo>
                  <a:lnTo>
                    <a:pt x="3935" y="446"/>
                  </a:lnTo>
                  <a:lnTo>
                    <a:pt x="3919" y="440"/>
                  </a:lnTo>
                  <a:lnTo>
                    <a:pt x="3873" y="411"/>
                  </a:lnTo>
                  <a:lnTo>
                    <a:pt x="3871" y="417"/>
                  </a:lnTo>
                  <a:lnTo>
                    <a:pt x="3838" y="399"/>
                  </a:lnTo>
                  <a:lnTo>
                    <a:pt x="3857" y="403"/>
                  </a:lnTo>
                  <a:lnTo>
                    <a:pt x="3886" y="397"/>
                  </a:lnTo>
                  <a:lnTo>
                    <a:pt x="3838" y="362"/>
                  </a:lnTo>
                  <a:lnTo>
                    <a:pt x="3789" y="329"/>
                  </a:lnTo>
                  <a:lnTo>
                    <a:pt x="3739" y="295"/>
                  </a:lnTo>
                  <a:lnTo>
                    <a:pt x="3690" y="262"/>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67" name="Google Shape;2467;g7826bb8c5e_0_4294"/>
            <p:cNvSpPr/>
            <p:nvPr/>
          </p:nvSpPr>
          <p:spPr>
            <a:xfrm>
              <a:off x="1814486" y="2575571"/>
              <a:ext cx="150013" cy="92840"/>
            </a:xfrm>
            <a:custGeom>
              <a:avLst/>
              <a:gdLst/>
              <a:ahLst/>
              <a:cxnLst/>
              <a:rect l="l" t="t" r="r" b="b"/>
              <a:pathLst>
                <a:path w="289" h="154" extrusionOk="0">
                  <a:moveTo>
                    <a:pt x="289" y="94"/>
                  </a:moveTo>
                  <a:lnTo>
                    <a:pt x="281" y="82"/>
                  </a:lnTo>
                  <a:lnTo>
                    <a:pt x="266" y="64"/>
                  </a:lnTo>
                  <a:lnTo>
                    <a:pt x="250" y="63"/>
                  </a:lnTo>
                  <a:lnTo>
                    <a:pt x="252" y="66"/>
                  </a:lnTo>
                  <a:lnTo>
                    <a:pt x="242" y="63"/>
                  </a:lnTo>
                  <a:lnTo>
                    <a:pt x="217" y="64"/>
                  </a:lnTo>
                  <a:lnTo>
                    <a:pt x="198" y="78"/>
                  </a:lnTo>
                  <a:lnTo>
                    <a:pt x="196" y="86"/>
                  </a:lnTo>
                  <a:lnTo>
                    <a:pt x="184" y="86"/>
                  </a:lnTo>
                  <a:lnTo>
                    <a:pt x="194" y="72"/>
                  </a:lnTo>
                  <a:lnTo>
                    <a:pt x="215" y="51"/>
                  </a:lnTo>
                  <a:lnTo>
                    <a:pt x="215" y="33"/>
                  </a:lnTo>
                  <a:lnTo>
                    <a:pt x="192" y="12"/>
                  </a:lnTo>
                  <a:lnTo>
                    <a:pt x="192" y="20"/>
                  </a:lnTo>
                  <a:lnTo>
                    <a:pt x="177" y="0"/>
                  </a:lnTo>
                  <a:lnTo>
                    <a:pt x="132" y="30"/>
                  </a:lnTo>
                  <a:lnTo>
                    <a:pt x="89" y="61"/>
                  </a:lnTo>
                  <a:lnTo>
                    <a:pt x="45" y="90"/>
                  </a:lnTo>
                  <a:lnTo>
                    <a:pt x="0" y="119"/>
                  </a:lnTo>
                  <a:lnTo>
                    <a:pt x="21" y="101"/>
                  </a:lnTo>
                  <a:lnTo>
                    <a:pt x="41" y="92"/>
                  </a:lnTo>
                  <a:lnTo>
                    <a:pt x="54" y="90"/>
                  </a:lnTo>
                  <a:lnTo>
                    <a:pt x="68" y="84"/>
                  </a:lnTo>
                  <a:lnTo>
                    <a:pt x="66" y="90"/>
                  </a:lnTo>
                  <a:lnTo>
                    <a:pt x="76" y="88"/>
                  </a:lnTo>
                  <a:lnTo>
                    <a:pt x="49" y="99"/>
                  </a:lnTo>
                  <a:lnTo>
                    <a:pt x="47" y="113"/>
                  </a:lnTo>
                  <a:lnTo>
                    <a:pt x="99" y="113"/>
                  </a:lnTo>
                  <a:lnTo>
                    <a:pt x="84" y="136"/>
                  </a:lnTo>
                  <a:lnTo>
                    <a:pt x="107" y="144"/>
                  </a:lnTo>
                  <a:lnTo>
                    <a:pt x="124" y="146"/>
                  </a:lnTo>
                  <a:lnTo>
                    <a:pt x="116" y="154"/>
                  </a:lnTo>
                  <a:lnTo>
                    <a:pt x="136" y="148"/>
                  </a:lnTo>
                  <a:lnTo>
                    <a:pt x="147" y="144"/>
                  </a:lnTo>
                  <a:lnTo>
                    <a:pt x="146" y="138"/>
                  </a:lnTo>
                  <a:lnTo>
                    <a:pt x="182" y="121"/>
                  </a:lnTo>
                  <a:lnTo>
                    <a:pt x="194" y="115"/>
                  </a:lnTo>
                  <a:lnTo>
                    <a:pt x="198" y="105"/>
                  </a:lnTo>
                  <a:lnTo>
                    <a:pt x="202" y="113"/>
                  </a:lnTo>
                  <a:lnTo>
                    <a:pt x="221" y="111"/>
                  </a:lnTo>
                  <a:lnTo>
                    <a:pt x="231" y="105"/>
                  </a:lnTo>
                  <a:lnTo>
                    <a:pt x="252" y="105"/>
                  </a:lnTo>
                  <a:lnTo>
                    <a:pt x="289" y="9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68" name="Google Shape;2468;g7826bb8c5e_0_4294"/>
            <p:cNvSpPr/>
            <p:nvPr/>
          </p:nvSpPr>
          <p:spPr>
            <a:xfrm>
              <a:off x="6297047" y="2877305"/>
              <a:ext cx="146198" cy="188411"/>
            </a:xfrm>
            <a:custGeom>
              <a:avLst/>
              <a:gdLst/>
              <a:ahLst/>
              <a:cxnLst/>
              <a:rect l="l" t="t" r="r" b="b"/>
              <a:pathLst>
                <a:path w="278" h="310" extrusionOk="0">
                  <a:moveTo>
                    <a:pt x="245" y="213"/>
                  </a:moveTo>
                  <a:lnTo>
                    <a:pt x="210" y="180"/>
                  </a:lnTo>
                  <a:lnTo>
                    <a:pt x="171" y="147"/>
                  </a:lnTo>
                  <a:lnTo>
                    <a:pt x="132" y="116"/>
                  </a:lnTo>
                  <a:lnTo>
                    <a:pt x="94" y="85"/>
                  </a:lnTo>
                  <a:lnTo>
                    <a:pt x="86" y="72"/>
                  </a:lnTo>
                  <a:lnTo>
                    <a:pt x="47" y="37"/>
                  </a:lnTo>
                  <a:lnTo>
                    <a:pt x="8" y="0"/>
                  </a:lnTo>
                  <a:lnTo>
                    <a:pt x="0" y="6"/>
                  </a:lnTo>
                  <a:lnTo>
                    <a:pt x="30" y="27"/>
                  </a:lnTo>
                  <a:lnTo>
                    <a:pt x="28" y="39"/>
                  </a:lnTo>
                  <a:lnTo>
                    <a:pt x="14" y="39"/>
                  </a:lnTo>
                  <a:lnTo>
                    <a:pt x="45" y="72"/>
                  </a:lnTo>
                  <a:lnTo>
                    <a:pt x="76" y="105"/>
                  </a:lnTo>
                  <a:lnTo>
                    <a:pt x="105" y="134"/>
                  </a:lnTo>
                  <a:lnTo>
                    <a:pt x="132" y="170"/>
                  </a:lnTo>
                  <a:lnTo>
                    <a:pt x="156" y="207"/>
                  </a:lnTo>
                  <a:lnTo>
                    <a:pt x="183" y="238"/>
                  </a:lnTo>
                  <a:lnTo>
                    <a:pt x="208" y="269"/>
                  </a:lnTo>
                  <a:lnTo>
                    <a:pt x="231" y="308"/>
                  </a:lnTo>
                  <a:lnTo>
                    <a:pt x="241" y="308"/>
                  </a:lnTo>
                  <a:lnTo>
                    <a:pt x="235" y="283"/>
                  </a:lnTo>
                  <a:lnTo>
                    <a:pt x="264" y="296"/>
                  </a:lnTo>
                  <a:lnTo>
                    <a:pt x="278" y="310"/>
                  </a:lnTo>
                  <a:lnTo>
                    <a:pt x="254" y="281"/>
                  </a:lnTo>
                  <a:lnTo>
                    <a:pt x="196" y="236"/>
                  </a:lnTo>
                  <a:lnTo>
                    <a:pt x="185" y="188"/>
                  </a:lnTo>
                  <a:lnTo>
                    <a:pt x="194" y="188"/>
                  </a:lnTo>
                  <a:lnTo>
                    <a:pt x="231" y="201"/>
                  </a:lnTo>
                  <a:lnTo>
                    <a:pt x="245" y="213"/>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69" name="Google Shape;2469;g7826bb8c5e_0_4294"/>
            <p:cNvSpPr/>
            <p:nvPr/>
          </p:nvSpPr>
          <p:spPr>
            <a:xfrm>
              <a:off x="4845238" y="2428119"/>
              <a:ext cx="148740" cy="65535"/>
            </a:xfrm>
            <a:custGeom>
              <a:avLst/>
              <a:gdLst/>
              <a:ahLst/>
              <a:cxnLst/>
              <a:rect l="l" t="t" r="r" b="b"/>
              <a:pathLst>
                <a:path w="287" h="107" extrusionOk="0">
                  <a:moveTo>
                    <a:pt x="287" y="8"/>
                  </a:moveTo>
                  <a:lnTo>
                    <a:pt x="263" y="22"/>
                  </a:lnTo>
                  <a:lnTo>
                    <a:pt x="201" y="37"/>
                  </a:lnTo>
                  <a:lnTo>
                    <a:pt x="137" y="53"/>
                  </a:lnTo>
                  <a:lnTo>
                    <a:pt x="122" y="54"/>
                  </a:lnTo>
                  <a:lnTo>
                    <a:pt x="130" y="60"/>
                  </a:lnTo>
                  <a:lnTo>
                    <a:pt x="126" y="64"/>
                  </a:lnTo>
                  <a:lnTo>
                    <a:pt x="112" y="68"/>
                  </a:lnTo>
                  <a:lnTo>
                    <a:pt x="114" y="72"/>
                  </a:lnTo>
                  <a:lnTo>
                    <a:pt x="89" y="70"/>
                  </a:lnTo>
                  <a:lnTo>
                    <a:pt x="97" y="80"/>
                  </a:lnTo>
                  <a:lnTo>
                    <a:pt x="87" y="84"/>
                  </a:lnTo>
                  <a:lnTo>
                    <a:pt x="93" y="95"/>
                  </a:lnTo>
                  <a:lnTo>
                    <a:pt x="64" y="89"/>
                  </a:lnTo>
                  <a:lnTo>
                    <a:pt x="93" y="97"/>
                  </a:lnTo>
                  <a:lnTo>
                    <a:pt x="77" y="99"/>
                  </a:lnTo>
                  <a:lnTo>
                    <a:pt x="81" y="107"/>
                  </a:lnTo>
                  <a:lnTo>
                    <a:pt x="15" y="101"/>
                  </a:lnTo>
                  <a:lnTo>
                    <a:pt x="27" y="95"/>
                  </a:lnTo>
                  <a:lnTo>
                    <a:pt x="0" y="93"/>
                  </a:lnTo>
                  <a:lnTo>
                    <a:pt x="27" y="80"/>
                  </a:lnTo>
                  <a:lnTo>
                    <a:pt x="37" y="80"/>
                  </a:lnTo>
                  <a:lnTo>
                    <a:pt x="25" y="74"/>
                  </a:lnTo>
                  <a:lnTo>
                    <a:pt x="33" y="68"/>
                  </a:lnTo>
                  <a:lnTo>
                    <a:pt x="46" y="62"/>
                  </a:lnTo>
                  <a:lnTo>
                    <a:pt x="37" y="60"/>
                  </a:lnTo>
                  <a:lnTo>
                    <a:pt x="41" y="54"/>
                  </a:lnTo>
                  <a:lnTo>
                    <a:pt x="25" y="53"/>
                  </a:lnTo>
                  <a:lnTo>
                    <a:pt x="42" y="47"/>
                  </a:lnTo>
                  <a:lnTo>
                    <a:pt x="60" y="43"/>
                  </a:lnTo>
                  <a:lnTo>
                    <a:pt x="112" y="27"/>
                  </a:lnTo>
                  <a:lnTo>
                    <a:pt x="120" y="22"/>
                  </a:lnTo>
                  <a:lnTo>
                    <a:pt x="219" y="10"/>
                  </a:lnTo>
                  <a:lnTo>
                    <a:pt x="260" y="0"/>
                  </a:lnTo>
                  <a:lnTo>
                    <a:pt x="287" y="8"/>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70" name="Google Shape;2470;g7826bb8c5e_0_4294"/>
            <p:cNvSpPr/>
            <p:nvPr/>
          </p:nvSpPr>
          <p:spPr>
            <a:xfrm>
              <a:off x="4831253" y="2493653"/>
              <a:ext cx="90262" cy="50517"/>
            </a:xfrm>
            <a:custGeom>
              <a:avLst/>
              <a:gdLst/>
              <a:ahLst/>
              <a:cxnLst/>
              <a:rect l="l" t="t" r="r" b="b"/>
              <a:pathLst>
                <a:path w="168" h="83" extrusionOk="0">
                  <a:moveTo>
                    <a:pt x="168" y="79"/>
                  </a:moveTo>
                  <a:lnTo>
                    <a:pt x="106" y="52"/>
                  </a:lnTo>
                  <a:lnTo>
                    <a:pt x="87" y="21"/>
                  </a:lnTo>
                  <a:lnTo>
                    <a:pt x="87" y="17"/>
                  </a:lnTo>
                  <a:lnTo>
                    <a:pt x="91" y="11"/>
                  </a:lnTo>
                  <a:lnTo>
                    <a:pt x="96" y="2"/>
                  </a:lnTo>
                  <a:lnTo>
                    <a:pt x="32" y="0"/>
                  </a:lnTo>
                  <a:lnTo>
                    <a:pt x="23" y="11"/>
                  </a:lnTo>
                  <a:lnTo>
                    <a:pt x="15" y="19"/>
                  </a:lnTo>
                  <a:lnTo>
                    <a:pt x="25" y="25"/>
                  </a:lnTo>
                  <a:lnTo>
                    <a:pt x="13" y="39"/>
                  </a:lnTo>
                  <a:lnTo>
                    <a:pt x="0" y="42"/>
                  </a:lnTo>
                  <a:lnTo>
                    <a:pt x="17" y="58"/>
                  </a:lnTo>
                  <a:lnTo>
                    <a:pt x="36" y="56"/>
                  </a:lnTo>
                  <a:lnTo>
                    <a:pt x="50" y="58"/>
                  </a:lnTo>
                  <a:lnTo>
                    <a:pt x="64" y="60"/>
                  </a:lnTo>
                  <a:lnTo>
                    <a:pt x="73" y="70"/>
                  </a:lnTo>
                  <a:lnTo>
                    <a:pt x="71" y="74"/>
                  </a:lnTo>
                  <a:lnTo>
                    <a:pt x="93" y="79"/>
                  </a:lnTo>
                  <a:lnTo>
                    <a:pt x="114" y="81"/>
                  </a:lnTo>
                  <a:lnTo>
                    <a:pt x="137" y="81"/>
                  </a:lnTo>
                  <a:lnTo>
                    <a:pt x="157" y="83"/>
                  </a:lnTo>
                  <a:lnTo>
                    <a:pt x="168" y="79"/>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71" name="Google Shape;2471;g7826bb8c5e_0_4294"/>
            <p:cNvSpPr/>
            <p:nvPr/>
          </p:nvSpPr>
          <p:spPr>
            <a:xfrm>
              <a:off x="5799974" y="2440406"/>
              <a:ext cx="102975" cy="28670"/>
            </a:xfrm>
            <a:custGeom>
              <a:avLst/>
              <a:gdLst/>
              <a:ahLst/>
              <a:cxnLst/>
              <a:rect l="l" t="t" r="r" b="b"/>
              <a:pathLst>
                <a:path w="197" h="44" extrusionOk="0">
                  <a:moveTo>
                    <a:pt x="197" y="19"/>
                  </a:moveTo>
                  <a:lnTo>
                    <a:pt x="73" y="0"/>
                  </a:lnTo>
                  <a:lnTo>
                    <a:pt x="89" y="5"/>
                  </a:lnTo>
                  <a:lnTo>
                    <a:pt x="71" y="3"/>
                  </a:lnTo>
                  <a:lnTo>
                    <a:pt x="85" y="13"/>
                  </a:lnTo>
                  <a:lnTo>
                    <a:pt x="25" y="1"/>
                  </a:lnTo>
                  <a:lnTo>
                    <a:pt x="2" y="9"/>
                  </a:lnTo>
                  <a:lnTo>
                    <a:pt x="0" y="11"/>
                  </a:lnTo>
                  <a:lnTo>
                    <a:pt x="11" y="19"/>
                  </a:lnTo>
                  <a:lnTo>
                    <a:pt x="19" y="27"/>
                  </a:lnTo>
                  <a:lnTo>
                    <a:pt x="95" y="44"/>
                  </a:lnTo>
                  <a:lnTo>
                    <a:pt x="99" y="36"/>
                  </a:lnTo>
                  <a:lnTo>
                    <a:pt x="159" y="36"/>
                  </a:lnTo>
                  <a:lnTo>
                    <a:pt x="188" y="34"/>
                  </a:lnTo>
                  <a:lnTo>
                    <a:pt x="174" y="31"/>
                  </a:lnTo>
                  <a:lnTo>
                    <a:pt x="195" y="27"/>
                  </a:lnTo>
                  <a:lnTo>
                    <a:pt x="197" y="19"/>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72" name="Google Shape;2472;g7826bb8c5e_0_4294"/>
            <p:cNvSpPr/>
            <p:nvPr/>
          </p:nvSpPr>
          <p:spPr>
            <a:xfrm>
              <a:off x="5227894" y="2372141"/>
              <a:ext cx="78819" cy="23210"/>
            </a:xfrm>
            <a:custGeom>
              <a:avLst/>
              <a:gdLst/>
              <a:ahLst/>
              <a:cxnLst/>
              <a:rect l="l" t="t" r="r" b="b"/>
              <a:pathLst>
                <a:path w="151" h="37" extrusionOk="0">
                  <a:moveTo>
                    <a:pt x="131" y="10"/>
                  </a:moveTo>
                  <a:lnTo>
                    <a:pt x="93" y="4"/>
                  </a:lnTo>
                  <a:lnTo>
                    <a:pt x="75" y="10"/>
                  </a:lnTo>
                  <a:lnTo>
                    <a:pt x="64" y="0"/>
                  </a:lnTo>
                  <a:lnTo>
                    <a:pt x="5" y="8"/>
                  </a:lnTo>
                  <a:lnTo>
                    <a:pt x="0" y="17"/>
                  </a:lnTo>
                  <a:lnTo>
                    <a:pt x="19" y="19"/>
                  </a:lnTo>
                  <a:lnTo>
                    <a:pt x="50" y="31"/>
                  </a:lnTo>
                  <a:lnTo>
                    <a:pt x="151" y="37"/>
                  </a:lnTo>
                  <a:lnTo>
                    <a:pt x="141" y="27"/>
                  </a:lnTo>
                  <a:lnTo>
                    <a:pt x="131" y="1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73" name="Google Shape;2473;g7826bb8c5e_0_4294"/>
            <p:cNvSpPr/>
            <p:nvPr/>
          </p:nvSpPr>
          <p:spPr>
            <a:xfrm>
              <a:off x="5319427" y="2385794"/>
              <a:ext cx="58479" cy="24576"/>
            </a:xfrm>
            <a:custGeom>
              <a:avLst/>
              <a:gdLst/>
              <a:ahLst/>
              <a:cxnLst/>
              <a:rect l="l" t="t" r="r" b="b"/>
              <a:pathLst>
                <a:path w="114" h="41" extrusionOk="0">
                  <a:moveTo>
                    <a:pt x="110" y="24"/>
                  </a:moveTo>
                  <a:lnTo>
                    <a:pt x="52" y="8"/>
                  </a:lnTo>
                  <a:lnTo>
                    <a:pt x="39" y="18"/>
                  </a:lnTo>
                  <a:lnTo>
                    <a:pt x="29" y="2"/>
                  </a:lnTo>
                  <a:lnTo>
                    <a:pt x="14" y="0"/>
                  </a:lnTo>
                  <a:lnTo>
                    <a:pt x="21" y="6"/>
                  </a:lnTo>
                  <a:lnTo>
                    <a:pt x="0" y="8"/>
                  </a:lnTo>
                  <a:lnTo>
                    <a:pt x="4" y="12"/>
                  </a:lnTo>
                  <a:lnTo>
                    <a:pt x="16" y="20"/>
                  </a:lnTo>
                  <a:lnTo>
                    <a:pt x="2" y="26"/>
                  </a:lnTo>
                  <a:lnTo>
                    <a:pt x="10" y="41"/>
                  </a:lnTo>
                  <a:lnTo>
                    <a:pt x="114" y="28"/>
                  </a:lnTo>
                  <a:lnTo>
                    <a:pt x="110" y="2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74" name="Google Shape;2474;g7826bb8c5e_0_4294"/>
            <p:cNvSpPr/>
            <p:nvPr/>
          </p:nvSpPr>
          <p:spPr>
            <a:xfrm>
              <a:off x="5194841" y="2358488"/>
              <a:ext cx="61021" cy="13653"/>
            </a:xfrm>
            <a:custGeom>
              <a:avLst/>
              <a:gdLst/>
              <a:ahLst/>
              <a:cxnLst/>
              <a:rect l="l" t="t" r="r" b="b"/>
              <a:pathLst>
                <a:path w="120" h="23" extrusionOk="0">
                  <a:moveTo>
                    <a:pt x="120" y="11"/>
                  </a:moveTo>
                  <a:lnTo>
                    <a:pt x="65" y="0"/>
                  </a:lnTo>
                  <a:lnTo>
                    <a:pt x="5" y="7"/>
                  </a:lnTo>
                  <a:lnTo>
                    <a:pt x="21" y="9"/>
                  </a:lnTo>
                  <a:lnTo>
                    <a:pt x="17" y="15"/>
                  </a:lnTo>
                  <a:lnTo>
                    <a:pt x="0" y="17"/>
                  </a:lnTo>
                  <a:lnTo>
                    <a:pt x="34" y="19"/>
                  </a:lnTo>
                  <a:lnTo>
                    <a:pt x="25" y="23"/>
                  </a:lnTo>
                  <a:lnTo>
                    <a:pt x="118" y="21"/>
                  </a:lnTo>
                  <a:lnTo>
                    <a:pt x="106" y="15"/>
                  </a:lnTo>
                  <a:lnTo>
                    <a:pt x="120" y="1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75" name="Google Shape;2475;g7826bb8c5e_0_4294"/>
            <p:cNvSpPr/>
            <p:nvPr/>
          </p:nvSpPr>
          <p:spPr>
            <a:xfrm>
              <a:off x="5915662" y="2451329"/>
              <a:ext cx="64836" cy="13653"/>
            </a:xfrm>
            <a:custGeom>
              <a:avLst/>
              <a:gdLst/>
              <a:ahLst/>
              <a:cxnLst/>
              <a:rect l="l" t="t" r="r" b="b"/>
              <a:pathLst>
                <a:path w="126" h="23" extrusionOk="0">
                  <a:moveTo>
                    <a:pt x="126" y="12"/>
                  </a:moveTo>
                  <a:lnTo>
                    <a:pt x="29" y="4"/>
                  </a:lnTo>
                  <a:lnTo>
                    <a:pt x="0" y="0"/>
                  </a:lnTo>
                  <a:lnTo>
                    <a:pt x="11" y="10"/>
                  </a:lnTo>
                  <a:lnTo>
                    <a:pt x="114" y="23"/>
                  </a:lnTo>
                  <a:lnTo>
                    <a:pt x="126" y="12"/>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76" name="Google Shape;2476;g7826bb8c5e_0_4294"/>
            <p:cNvSpPr/>
            <p:nvPr/>
          </p:nvSpPr>
          <p:spPr>
            <a:xfrm>
              <a:off x="4498175" y="2867746"/>
              <a:ext cx="34325" cy="12289"/>
            </a:xfrm>
            <a:custGeom>
              <a:avLst/>
              <a:gdLst/>
              <a:ahLst/>
              <a:cxnLst/>
              <a:rect l="l" t="t" r="r" b="b"/>
              <a:pathLst>
                <a:path w="62" h="24" extrusionOk="0">
                  <a:moveTo>
                    <a:pt x="17" y="0"/>
                  </a:moveTo>
                  <a:lnTo>
                    <a:pt x="15" y="8"/>
                  </a:lnTo>
                  <a:lnTo>
                    <a:pt x="0" y="6"/>
                  </a:lnTo>
                  <a:lnTo>
                    <a:pt x="0" y="8"/>
                  </a:lnTo>
                  <a:lnTo>
                    <a:pt x="4" y="10"/>
                  </a:lnTo>
                  <a:lnTo>
                    <a:pt x="0" y="12"/>
                  </a:lnTo>
                  <a:lnTo>
                    <a:pt x="0" y="18"/>
                  </a:lnTo>
                  <a:lnTo>
                    <a:pt x="13" y="20"/>
                  </a:lnTo>
                  <a:lnTo>
                    <a:pt x="62" y="24"/>
                  </a:lnTo>
                  <a:lnTo>
                    <a:pt x="60" y="8"/>
                  </a:lnTo>
                  <a:lnTo>
                    <a:pt x="35" y="4"/>
                  </a:lnTo>
                  <a:lnTo>
                    <a:pt x="17"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77" name="Google Shape;2477;g7826bb8c5e_0_4294"/>
            <p:cNvSpPr/>
            <p:nvPr/>
          </p:nvSpPr>
          <p:spPr>
            <a:xfrm>
              <a:off x="5885150" y="2481366"/>
              <a:ext cx="52123" cy="12287"/>
            </a:xfrm>
            <a:custGeom>
              <a:avLst/>
              <a:gdLst/>
              <a:ahLst/>
              <a:cxnLst/>
              <a:rect l="l" t="t" r="r" b="b"/>
              <a:pathLst>
                <a:path w="98" h="20" extrusionOk="0">
                  <a:moveTo>
                    <a:pt x="98" y="20"/>
                  </a:moveTo>
                  <a:lnTo>
                    <a:pt x="0" y="14"/>
                  </a:lnTo>
                  <a:lnTo>
                    <a:pt x="32" y="0"/>
                  </a:lnTo>
                  <a:lnTo>
                    <a:pt x="89" y="16"/>
                  </a:lnTo>
                  <a:lnTo>
                    <a:pt x="98" y="2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78" name="Google Shape;2478;g7826bb8c5e_0_4294"/>
            <p:cNvSpPr/>
            <p:nvPr/>
          </p:nvSpPr>
          <p:spPr>
            <a:xfrm>
              <a:off x="4813455" y="2564648"/>
              <a:ext cx="29240" cy="15019"/>
            </a:xfrm>
            <a:custGeom>
              <a:avLst/>
              <a:gdLst/>
              <a:ahLst/>
              <a:cxnLst/>
              <a:rect l="l" t="t" r="r" b="b"/>
              <a:pathLst>
                <a:path w="52" h="25" extrusionOk="0">
                  <a:moveTo>
                    <a:pt x="52" y="14"/>
                  </a:moveTo>
                  <a:lnTo>
                    <a:pt x="13" y="25"/>
                  </a:lnTo>
                  <a:lnTo>
                    <a:pt x="0" y="8"/>
                  </a:lnTo>
                  <a:lnTo>
                    <a:pt x="11" y="0"/>
                  </a:lnTo>
                  <a:lnTo>
                    <a:pt x="52" y="1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79" name="Google Shape;2479;g7826bb8c5e_0_4294"/>
            <p:cNvSpPr/>
            <p:nvPr/>
          </p:nvSpPr>
          <p:spPr>
            <a:xfrm>
              <a:off x="1959413" y="2523691"/>
              <a:ext cx="38138" cy="12289"/>
            </a:xfrm>
            <a:custGeom>
              <a:avLst/>
              <a:gdLst/>
              <a:ahLst/>
              <a:cxnLst/>
              <a:rect l="l" t="t" r="r" b="b"/>
              <a:pathLst>
                <a:path w="74" h="18" extrusionOk="0">
                  <a:moveTo>
                    <a:pt x="68" y="12"/>
                  </a:moveTo>
                  <a:lnTo>
                    <a:pt x="0" y="18"/>
                  </a:lnTo>
                  <a:lnTo>
                    <a:pt x="37" y="0"/>
                  </a:lnTo>
                  <a:lnTo>
                    <a:pt x="74" y="8"/>
                  </a:lnTo>
                  <a:lnTo>
                    <a:pt x="68" y="12"/>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80" name="Google Shape;2480;g7826bb8c5e_0_4294"/>
            <p:cNvSpPr/>
            <p:nvPr/>
          </p:nvSpPr>
          <p:spPr>
            <a:xfrm>
              <a:off x="4710481" y="2362584"/>
              <a:ext cx="47038" cy="12289"/>
            </a:xfrm>
            <a:custGeom>
              <a:avLst/>
              <a:gdLst/>
              <a:ahLst/>
              <a:cxnLst/>
              <a:rect l="l" t="t" r="r" b="b"/>
              <a:pathLst>
                <a:path w="91" h="18" extrusionOk="0">
                  <a:moveTo>
                    <a:pt x="91" y="4"/>
                  </a:moveTo>
                  <a:lnTo>
                    <a:pt x="33" y="12"/>
                  </a:lnTo>
                  <a:lnTo>
                    <a:pt x="15" y="18"/>
                  </a:lnTo>
                  <a:lnTo>
                    <a:pt x="0" y="16"/>
                  </a:lnTo>
                  <a:lnTo>
                    <a:pt x="17" y="12"/>
                  </a:lnTo>
                  <a:lnTo>
                    <a:pt x="48" y="4"/>
                  </a:lnTo>
                  <a:lnTo>
                    <a:pt x="74" y="0"/>
                  </a:lnTo>
                  <a:lnTo>
                    <a:pt x="91" y="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81" name="Google Shape;2481;g7826bb8c5e_0_4294"/>
            <p:cNvSpPr/>
            <p:nvPr/>
          </p:nvSpPr>
          <p:spPr>
            <a:xfrm>
              <a:off x="6519523" y="3079369"/>
              <a:ext cx="15256" cy="21845"/>
            </a:xfrm>
            <a:custGeom>
              <a:avLst/>
              <a:gdLst/>
              <a:ahLst/>
              <a:cxnLst/>
              <a:rect l="l" t="t" r="r" b="b"/>
              <a:pathLst>
                <a:path w="29" h="41" extrusionOk="0">
                  <a:moveTo>
                    <a:pt x="29" y="0"/>
                  </a:moveTo>
                  <a:lnTo>
                    <a:pt x="4" y="12"/>
                  </a:lnTo>
                  <a:lnTo>
                    <a:pt x="0" y="41"/>
                  </a:lnTo>
                  <a:lnTo>
                    <a:pt x="12" y="24"/>
                  </a:lnTo>
                  <a:lnTo>
                    <a:pt x="25" y="6"/>
                  </a:lnTo>
                  <a:lnTo>
                    <a:pt x="29"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82" name="Google Shape;2482;g7826bb8c5e_0_4294"/>
            <p:cNvSpPr/>
            <p:nvPr/>
          </p:nvSpPr>
          <p:spPr>
            <a:xfrm>
              <a:off x="6420362" y="2523691"/>
              <a:ext cx="20340" cy="16383"/>
            </a:xfrm>
            <a:custGeom>
              <a:avLst/>
              <a:gdLst/>
              <a:ahLst/>
              <a:cxnLst/>
              <a:rect l="l" t="t" r="r" b="b"/>
              <a:pathLst>
                <a:path w="37" h="23" extrusionOk="0">
                  <a:moveTo>
                    <a:pt x="8" y="0"/>
                  </a:moveTo>
                  <a:lnTo>
                    <a:pt x="0" y="12"/>
                  </a:lnTo>
                  <a:lnTo>
                    <a:pt x="19" y="23"/>
                  </a:lnTo>
                  <a:lnTo>
                    <a:pt x="37" y="20"/>
                  </a:lnTo>
                  <a:lnTo>
                    <a:pt x="8"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83" name="Google Shape;2483;g7826bb8c5e_0_4294"/>
            <p:cNvSpPr/>
            <p:nvPr/>
          </p:nvSpPr>
          <p:spPr>
            <a:xfrm>
              <a:off x="4936770" y="2546901"/>
              <a:ext cx="29240" cy="10923"/>
            </a:xfrm>
            <a:custGeom>
              <a:avLst/>
              <a:gdLst/>
              <a:ahLst/>
              <a:cxnLst/>
              <a:rect l="l" t="t" r="r" b="b"/>
              <a:pathLst>
                <a:path w="58" h="17" extrusionOk="0">
                  <a:moveTo>
                    <a:pt x="58" y="17"/>
                  </a:moveTo>
                  <a:lnTo>
                    <a:pt x="6" y="0"/>
                  </a:lnTo>
                  <a:lnTo>
                    <a:pt x="0" y="4"/>
                  </a:lnTo>
                  <a:lnTo>
                    <a:pt x="37" y="17"/>
                  </a:lnTo>
                  <a:lnTo>
                    <a:pt x="58" y="17"/>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84" name="Google Shape;2484;g7826bb8c5e_0_4294"/>
            <p:cNvSpPr/>
            <p:nvPr/>
          </p:nvSpPr>
          <p:spPr>
            <a:xfrm>
              <a:off x="4513431" y="2788559"/>
              <a:ext cx="19070" cy="9557"/>
            </a:xfrm>
            <a:custGeom>
              <a:avLst/>
              <a:gdLst/>
              <a:ahLst/>
              <a:cxnLst/>
              <a:rect l="l" t="t" r="r" b="b"/>
              <a:pathLst>
                <a:path w="35" h="16" extrusionOk="0">
                  <a:moveTo>
                    <a:pt x="35" y="4"/>
                  </a:moveTo>
                  <a:lnTo>
                    <a:pt x="4" y="16"/>
                  </a:lnTo>
                  <a:lnTo>
                    <a:pt x="0" y="4"/>
                  </a:lnTo>
                  <a:lnTo>
                    <a:pt x="29" y="0"/>
                  </a:lnTo>
                  <a:lnTo>
                    <a:pt x="35" y="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85" name="Google Shape;2485;g7826bb8c5e_0_4294"/>
            <p:cNvSpPr/>
            <p:nvPr/>
          </p:nvSpPr>
          <p:spPr>
            <a:xfrm>
              <a:off x="6518252" y="2774906"/>
              <a:ext cx="10171" cy="12289"/>
            </a:xfrm>
            <a:custGeom>
              <a:avLst/>
              <a:gdLst/>
              <a:ahLst/>
              <a:cxnLst/>
              <a:rect l="l" t="t" r="r" b="b"/>
              <a:pathLst>
                <a:path w="21" h="23" extrusionOk="0">
                  <a:moveTo>
                    <a:pt x="21" y="8"/>
                  </a:moveTo>
                  <a:lnTo>
                    <a:pt x="10" y="23"/>
                  </a:lnTo>
                  <a:lnTo>
                    <a:pt x="0" y="12"/>
                  </a:lnTo>
                  <a:lnTo>
                    <a:pt x="10" y="0"/>
                  </a:lnTo>
                  <a:lnTo>
                    <a:pt x="21" y="8"/>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86" name="Google Shape;2486;g7826bb8c5e_0_4294"/>
            <p:cNvSpPr/>
            <p:nvPr/>
          </p:nvSpPr>
          <p:spPr>
            <a:xfrm>
              <a:off x="6319931" y="2556457"/>
              <a:ext cx="22883" cy="6827"/>
            </a:xfrm>
            <a:custGeom>
              <a:avLst/>
              <a:gdLst/>
              <a:ahLst/>
              <a:cxnLst/>
              <a:rect l="l" t="t" r="r" b="b"/>
              <a:pathLst>
                <a:path w="45" h="10" extrusionOk="0">
                  <a:moveTo>
                    <a:pt x="45" y="4"/>
                  </a:moveTo>
                  <a:lnTo>
                    <a:pt x="41" y="10"/>
                  </a:lnTo>
                  <a:lnTo>
                    <a:pt x="0" y="2"/>
                  </a:lnTo>
                  <a:lnTo>
                    <a:pt x="39" y="0"/>
                  </a:lnTo>
                  <a:lnTo>
                    <a:pt x="45" y="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87" name="Google Shape;2487;g7826bb8c5e_0_4294"/>
            <p:cNvSpPr/>
            <p:nvPr/>
          </p:nvSpPr>
          <p:spPr>
            <a:xfrm>
              <a:off x="5048643" y="2488191"/>
              <a:ext cx="19069" cy="8192"/>
            </a:xfrm>
            <a:custGeom>
              <a:avLst/>
              <a:gdLst/>
              <a:ahLst/>
              <a:cxnLst/>
              <a:rect l="l" t="t" r="r" b="b"/>
              <a:pathLst>
                <a:path w="39" h="12" extrusionOk="0">
                  <a:moveTo>
                    <a:pt x="39" y="10"/>
                  </a:moveTo>
                  <a:lnTo>
                    <a:pt x="0" y="12"/>
                  </a:lnTo>
                  <a:lnTo>
                    <a:pt x="4" y="0"/>
                  </a:lnTo>
                  <a:lnTo>
                    <a:pt x="24" y="8"/>
                  </a:lnTo>
                  <a:lnTo>
                    <a:pt x="39" y="1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88" name="Google Shape;2488;g7826bb8c5e_0_4294"/>
            <p:cNvSpPr/>
            <p:nvPr/>
          </p:nvSpPr>
          <p:spPr>
            <a:xfrm>
              <a:off x="4838880" y="2363949"/>
              <a:ext cx="33054" cy="5462"/>
            </a:xfrm>
            <a:custGeom>
              <a:avLst/>
              <a:gdLst/>
              <a:ahLst/>
              <a:cxnLst/>
              <a:rect l="l" t="t" r="r" b="b"/>
              <a:pathLst>
                <a:path w="62" h="8" extrusionOk="0">
                  <a:moveTo>
                    <a:pt x="62" y="0"/>
                  </a:moveTo>
                  <a:lnTo>
                    <a:pt x="0" y="2"/>
                  </a:lnTo>
                  <a:lnTo>
                    <a:pt x="35" y="8"/>
                  </a:lnTo>
                  <a:lnTo>
                    <a:pt x="62"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89" name="Google Shape;2489;g7826bb8c5e_0_4294"/>
            <p:cNvSpPr/>
            <p:nvPr/>
          </p:nvSpPr>
          <p:spPr>
            <a:xfrm>
              <a:off x="4873205" y="2359854"/>
              <a:ext cx="31782" cy="2730"/>
            </a:xfrm>
            <a:custGeom>
              <a:avLst/>
              <a:gdLst/>
              <a:ahLst/>
              <a:cxnLst/>
              <a:rect l="l" t="t" r="r" b="b"/>
              <a:pathLst>
                <a:path w="58" h="5" extrusionOk="0">
                  <a:moveTo>
                    <a:pt x="58" y="4"/>
                  </a:moveTo>
                  <a:lnTo>
                    <a:pt x="0" y="5"/>
                  </a:lnTo>
                  <a:lnTo>
                    <a:pt x="49" y="0"/>
                  </a:lnTo>
                  <a:lnTo>
                    <a:pt x="58" y="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90" name="Google Shape;2490;g7826bb8c5e_0_4294"/>
            <p:cNvSpPr/>
            <p:nvPr/>
          </p:nvSpPr>
          <p:spPr>
            <a:xfrm>
              <a:off x="5529190" y="2470444"/>
              <a:ext cx="21611" cy="4096"/>
            </a:xfrm>
            <a:custGeom>
              <a:avLst/>
              <a:gdLst/>
              <a:ahLst/>
              <a:cxnLst/>
              <a:rect l="l" t="t" r="r" b="b"/>
              <a:pathLst>
                <a:path w="43" h="8" extrusionOk="0">
                  <a:moveTo>
                    <a:pt x="41" y="0"/>
                  </a:moveTo>
                  <a:lnTo>
                    <a:pt x="0" y="4"/>
                  </a:lnTo>
                  <a:lnTo>
                    <a:pt x="43" y="8"/>
                  </a:lnTo>
                  <a:lnTo>
                    <a:pt x="41"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91" name="Google Shape;2491;g7826bb8c5e_0_4294"/>
            <p:cNvSpPr/>
            <p:nvPr/>
          </p:nvSpPr>
          <p:spPr>
            <a:xfrm>
              <a:off x="6561475" y="2961953"/>
              <a:ext cx="8898" cy="10923"/>
            </a:xfrm>
            <a:custGeom>
              <a:avLst/>
              <a:gdLst/>
              <a:ahLst/>
              <a:cxnLst/>
              <a:rect l="l" t="t" r="r" b="b"/>
              <a:pathLst>
                <a:path w="12" h="21" extrusionOk="0">
                  <a:moveTo>
                    <a:pt x="12" y="1"/>
                  </a:moveTo>
                  <a:lnTo>
                    <a:pt x="2" y="21"/>
                  </a:lnTo>
                  <a:lnTo>
                    <a:pt x="0" y="0"/>
                  </a:lnTo>
                  <a:lnTo>
                    <a:pt x="12" y="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92" name="Google Shape;2492;g7826bb8c5e_0_4294"/>
            <p:cNvSpPr/>
            <p:nvPr/>
          </p:nvSpPr>
          <p:spPr>
            <a:xfrm>
              <a:off x="6505539" y="3099848"/>
              <a:ext cx="7627" cy="16383"/>
            </a:xfrm>
            <a:custGeom>
              <a:avLst/>
              <a:gdLst/>
              <a:ahLst/>
              <a:cxnLst/>
              <a:rect l="l" t="t" r="r" b="b"/>
              <a:pathLst>
                <a:path w="13" h="23" extrusionOk="0">
                  <a:moveTo>
                    <a:pt x="13" y="0"/>
                  </a:moveTo>
                  <a:lnTo>
                    <a:pt x="0" y="23"/>
                  </a:lnTo>
                  <a:lnTo>
                    <a:pt x="0" y="6"/>
                  </a:lnTo>
                  <a:lnTo>
                    <a:pt x="13"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93" name="Google Shape;2493;g7826bb8c5e_0_4294"/>
            <p:cNvSpPr/>
            <p:nvPr/>
          </p:nvSpPr>
          <p:spPr>
            <a:xfrm>
              <a:off x="5873709" y="2474538"/>
              <a:ext cx="10171" cy="6827"/>
            </a:xfrm>
            <a:custGeom>
              <a:avLst/>
              <a:gdLst/>
              <a:ahLst/>
              <a:cxnLst/>
              <a:rect l="l" t="t" r="r" b="b"/>
              <a:pathLst>
                <a:path w="22" h="9" extrusionOk="0">
                  <a:moveTo>
                    <a:pt x="22" y="0"/>
                  </a:moveTo>
                  <a:lnTo>
                    <a:pt x="0" y="0"/>
                  </a:lnTo>
                  <a:lnTo>
                    <a:pt x="22" y="9"/>
                  </a:lnTo>
                  <a:lnTo>
                    <a:pt x="22"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94" name="Google Shape;2494;g7826bb8c5e_0_4294"/>
            <p:cNvSpPr/>
            <p:nvPr/>
          </p:nvSpPr>
          <p:spPr>
            <a:xfrm>
              <a:off x="4695225" y="2366681"/>
              <a:ext cx="31782" cy="1364"/>
            </a:xfrm>
            <a:custGeom>
              <a:avLst/>
              <a:gdLst/>
              <a:ahLst/>
              <a:cxnLst/>
              <a:rect l="l" t="t" r="r" b="b"/>
              <a:pathLst>
                <a:path w="60" h="4" extrusionOk="0">
                  <a:moveTo>
                    <a:pt x="60" y="0"/>
                  </a:moveTo>
                  <a:lnTo>
                    <a:pt x="0" y="4"/>
                  </a:lnTo>
                  <a:lnTo>
                    <a:pt x="12" y="0"/>
                  </a:lnTo>
                  <a:lnTo>
                    <a:pt x="60"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95" name="Google Shape;2495;g7826bb8c5e_0_4294"/>
            <p:cNvSpPr/>
            <p:nvPr/>
          </p:nvSpPr>
          <p:spPr>
            <a:xfrm>
              <a:off x="5143989" y="2507306"/>
              <a:ext cx="13985" cy="5462"/>
            </a:xfrm>
            <a:custGeom>
              <a:avLst/>
              <a:gdLst/>
              <a:ahLst/>
              <a:cxnLst/>
              <a:rect l="l" t="t" r="r" b="b"/>
              <a:pathLst>
                <a:path w="27" h="8" extrusionOk="0">
                  <a:moveTo>
                    <a:pt x="27" y="0"/>
                  </a:moveTo>
                  <a:lnTo>
                    <a:pt x="2" y="8"/>
                  </a:lnTo>
                  <a:lnTo>
                    <a:pt x="0" y="2"/>
                  </a:lnTo>
                  <a:lnTo>
                    <a:pt x="27"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96" name="Google Shape;2496;g7826bb8c5e_0_4294"/>
            <p:cNvSpPr/>
            <p:nvPr/>
          </p:nvSpPr>
          <p:spPr>
            <a:xfrm>
              <a:off x="4821082" y="2370775"/>
              <a:ext cx="21612" cy="1366"/>
            </a:xfrm>
            <a:custGeom>
              <a:avLst/>
              <a:gdLst/>
              <a:ahLst/>
              <a:cxnLst/>
              <a:rect l="l" t="t" r="r" b="b"/>
              <a:pathLst>
                <a:path w="41" h="4" extrusionOk="0">
                  <a:moveTo>
                    <a:pt x="41" y="0"/>
                  </a:moveTo>
                  <a:lnTo>
                    <a:pt x="0" y="0"/>
                  </a:lnTo>
                  <a:lnTo>
                    <a:pt x="20" y="4"/>
                  </a:lnTo>
                  <a:lnTo>
                    <a:pt x="41"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97" name="Google Shape;2497;g7826bb8c5e_0_4294"/>
            <p:cNvSpPr/>
            <p:nvPr/>
          </p:nvSpPr>
          <p:spPr>
            <a:xfrm>
              <a:off x="6623769" y="2855458"/>
              <a:ext cx="26698" cy="16383"/>
            </a:xfrm>
            <a:custGeom>
              <a:avLst/>
              <a:gdLst/>
              <a:ahLst/>
              <a:cxnLst/>
              <a:rect l="l" t="t" r="r" b="b"/>
              <a:pathLst>
                <a:path w="48" h="25" extrusionOk="0">
                  <a:moveTo>
                    <a:pt x="48" y="25"/>
                  </a:moveTo>
                  <a:lnTo>
                    <a:pt x="0" y="0"/>
                  </a:lnTo>
                  <a:lnTo>
                    <a:pt x="40" y="17"/>
                  </a:lnTo>
                  <a:lnTo>
                    <a:pt x="48" y="25"/>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98" name="Google Shape;2498;g7826bb8c5e_0_4294"/>
            <p:cNvSpPr/>
            <p:nvPr/>
          </p:nvSpPr>
          <p:spPr>
            <a:xfrm>
              <a:off x="5780905" y="2445868"/>
              <a:ext cx="15256" cy="8192"/>
            </a:xfrm>
            <a:custGeom>
              <a:avLst/>
              <a:gdLst/>
              <a:ahLst/>
              <a:cxnLst/>
              <a:rect l="l" t="t" r="r" b="b"/>
              <a:pathLst>
                <a:path w="27" h="14" extrusionOk="0">
                  <a:moveTo>
                    <a:pt x="23" y="6"/>
                  </a:moveTo>
                  <a:lnTo>
                    <a:pt x="0" y="0"/>
                  </a:lnTo>
                  <a:lnTo>
                    <a:pt x="27" y="14"/>
                  </a:lnTo>
                  <a:lnTo>
                    <a:pt x="23" y="6"/>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499" name="Google Shape;2499;g7826bb8c5e_0_4294"/>
            <p:cNvSpPr/>
            <p:nvPr/>
          </p:nvSpPr>
          <p:spPr>
            <a:xfrm>
              <a:off x="4513431" y="2779002"/>
              <a:ext cx="13985" cy="2730"/>
            </a:xfrm>
            <a:custGeom>
              <a:avLst/>
              <a:gdLst/>
              <a:ahLst/>
              <a:cxnLst/>
              <a:rect l="l" t="t" r="r" b="b"/>
              <a:pathLst>
                <a:path w="25" h="4" extrusionOk="0">
                  <a:moveTo>
                    <a:pt x="25" y="4"/>
                  </a:moveTo>
                  <a:lnTo>
                    <a:pt x="0" y="4"/>
                  </a:lnTo>
                  <a:lnTo>
                    <a:pt x="8" y="0"/>
                  </a:lnTo>
                  <a:lnTo>
                    <a:pt x="25" y="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00" name="Google Shape;2500;g7826bb8c5e_0_4294"/>
            <p:cNvSpPr/>
            <p:nvPr/>
          </p:nvSpPr>
          <p:spPr>
            <a:xfrm>
              <a:off x="4396472" y="3112137"/>
              <a:ext cx="2542" cy="1364"/>
            </a:xfrm>
            <a:custGeom>
              <a:avLst/>
              <a:gdLst/>
              <a:ahLst/>
              <a:cxnLst/>
              <a:rect l="l" t="t" r="r" b="b"/>
              <a:pathLst>
                <a:path w="4" h="2" extrusionOk="0">
                  <a:moveTo>
                    <a:pt x="4" y="0"/>
                  </a:moveTo>
                  <a:lnTo>
                    <a:pt x="2" y="0"/>
                  </a:lnTo>
                  <a:lnTo>
                    <a:pt x="0" y="0"/>
                  </a:lnTo>
                  <a:lnTo>
                    <a:pt x="0" y="2"/>
                  </a:lnTo>
                  <a:lnTo>
                    <a:pt x="2" y="2"/>
                  </a:lnTo>
                  <a:lnTo>
                    <a:pt x="4"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01" name="Google Shape;2501;g7826bb8c5e_0_4294"/>
            <p:cNvSpPr/>
            <p:nvPr/>
          </p:nvSpPr>
          <p:spPr>
            <a:xfrm>
              <a:off x="4456222" y="2986528"/>
              <a:ext cx="90261" cy="36863"/>
            </a:xfrm>
            <a:custGeom>
              <a:avLst/>
              <a:gdLst/>
              <a:ahLst/>
              <a:cxnLst/>
              <a:rect l="l" t="t" r="r" b="b"/>
              <a:pathLst>
                <a:path w="173" h="62" extrusionOk="0">
                  <a:moveTo>
                    <a:pt x="64" y="0"/>
                  </a:moveTo>
                  <a:lnTo>
                    <a:pt x="63" y="4"/>
                  </a:lnTo>
                  <a:lnTo>
                    <a:pt x="53" y="10"/>
                  </a:lnTo>
                  <a:lnTo>
                    <a:pt x="45" y="14"/>
                  </a:lnTo>
                  <a:lnTo>
                    <a:pt x="45" y="18"/>
                  </a:lnTo>
                  <a:lnTo>
                    <a:pt x="35" y="27"/>
                  </a:lnTo>
                  <a:lnTo>
                    <a:pt x="20" y="31"/>
                  </a:lnTo>
                  <a:lnTo>
                    <a:pt x="10" y="31"/>
                  </a:lnTo>
                  <a:lnTo>
                    <a:pt x="0" y="29"/>
                  </a:lnTo>
                  <a:lnTo>
                    <a:pt x="20" y="56"/>
                  </a:lnTo>
                  <a:lnTo>
                    <a:pt x="28" y="62"/>
                  </a:lnTo>
                  <a:lnTo>
                    <a:pt x="66" y="62"/>
                  </a:lnTo>
                  <a:lnTo>
                    <a:pt x="115" y="41"/>
                  </a:lnTo>
                  <a:lnTo>
                    <a:pt x="165" y="43"/>
                  </a:lnTo>
                  <a:lnTo>
                    <a:pt x="173" y="18"/>
                  </a:lnTo>
                  <a:lnTo>
                    <a:pt x="128" y="6"/>
                  </a:lnTo>
                  <a:lnTo>
                    <a:pt x="103" y="8"/>
                  </a:lnTo>
                  <a:lnTo>
                    <a:pt x="95" y="2"/>
                  </a:lnTo>
                  <a:lnTo>
                    <a:pt x="64" y="0"/>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02" name="Google Shape;2502;g7826bb8c5e_0_4294"/>
            <p:cNvSpPr/>
            <p:nvPr/>
          </p:nvSpPr>
          <p:spPr>
            <a:xfrm>
              <a:off x="4411727" y="3046601"/>
              <a:ext cx="44496" cy="32768"/>
            </a:xfrm>
            <a:custGeom>
              <a:avLst/>
              <a:gdLst/>
              <a:ahLst/>
              <a:cxnLst/>
              <a:rect l="l" t="t" r="r" b="b"/>
              <a:pathLst>
                <a:path w="87" h="52" extrusionOk="0">
                  <a:moveTo>
                    <a:pt x="14" y="52"/>
                  </a:moveTo>
                  <a:lnTo>
                    <a:pt x="27" y="52"/>
                  </a:lnTo>
                  <a:lnTo>
                    <a:pt x="33" y="47"/>
                  </a:lnTo>
                  <a:lnTo>
                    <a:pt x="37" y="51"/>
                  </a:lnTo>
                  <a:lnTo>
                    <a:pt x="39" y="51"/>
                  </a:lnTo>
                  <a:lnTo>
                    <a:pt x="41" y="49"/>
                  </a:lnTo>
                  <a:lnTo>
                    <a:pt x="47" y="52"/>
                  </a:lnTo>
                  <a:lnTo>
                    <a:pt x="54" y="52"/>
                  </a:lnTo>
                  <a:lnTo>
                    <a:pt x="52" y="47"/>
                  </a:lnTo>
                  <a:lnTo>
                    <a:pt x="52" y="43"/>
                  </a:lnTo>
                  <a:lnTo>
                    <a:pt x="62" y="39"/>
                  </a:lnTo>
                  <a:lnTo>
                    <a:pt x="68" y="39"/>
                  </a:lnTo>
                  <a:lnTo>
                    <a:pt x="64" y="33"/>
                  </a:lnTo>
                  <a:lnTo>
                    <a:pt x="62" y="29"/>
                  </a:lnTo>
                  <a:lnTo>
                    <a:pt x="60" y="23"/>
                  </a:lnTo>
                  <a:lnTo>
                    <a:pt x="70" y="21"/>
                  </a:lnTo>
                  <a:lnTo>
                    <a:pt x="74" y="18"/>
                  </a:lnTo>
                  <a:lnTo>
                    <a:pt x="82" y="18"/>
                  </a:lnTo>
                  <a:lnTo>
                    <a:pt x="82" y="14"/>
                  </a:lnTo>
                  <a:lnTo>
                    <a:pt x="85" y="14"/>
                  </a:lnTo>
                  <a:lnTo>
                    <a:pt x="87" y="10"/>
                  </a:lnTo>
                  <a:lnTo>
                    <a:pt x="78" y="4"/>
                  </a:lnTo>
                  <a:lnTo>
                    <a:pt x="76" y="0"/>
                  </a:lnTo>
                  <a:lnTo>
                    <a:pt x="16" y="16"/>
                  </a:lnTo>
                  <a:lnTo>
                    <a:pt x="4" y="14"/>
                  </a:lnTo>
                  <a:lnTo>
                    <a:pt x="0" y="25"/>
                  </a:lnTo>
                  <a:lnTo>
                    <a:pt x="6" y="49"/>
                  </a:lnTo>
                  <a:lnTo>
                    <a:pt x="14" y="52"/>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03" name="Google Shape;2503;g7826bb8c5e_0_4294"/>
            <p:cNvSpPr/>
            <p:nvPr/>
          </p:nvSpPr>
          <p:spPr>
            <a:xfrm>
              <a:off x="4358333" y="2574207"/>
              <a:ext cx="161454" cy="281253"/>
            </a:xfrm>
            <a:custGeom>
              <a:avLst/>
              <a:gdLst/>
              <a:ahLst/>
              <a:cxnLst/>
              <a:rect l="l" t="t" r="r" b="b"/>
              <a:pathLst>
                <a:path w="309" h="465" extrusionOk="0">
                  <a:moveTo>
                    <a:pt x="245" y="155"/>
                  </a:moveTo>
                  <a:lnTo>
                    <a:pt x="214" y="180"/>
                  </a:lnTo>
                  <a:lnTo>
                    <a:pt x="192" y="192"/>
                  </a:lnTo>
                  <a:lnTo>
                    <a:pt x="179" y="201"/>
                  </a:lnTo>
                  <a:lnTo>
                    <a:pt x="163" y="203"/>
                  </a:lnTo>
                  <a:lnTo>
                    <a:pt x="159" y="217"/>
                  </a:lnTo>
                  <a:lnTo>
                    <a:pt x="153" y="223"/>
                  </a:lnTo>
                  <a:lnTo>
                    <a:pt x="152" y="244"/>
                  </a:lnTo>
                  <a:lnTo>
                    <a:pt x="159" y="281"/>
                  </a:lnTo>
                  <a:lnTo>
                    <a:pt x="190" y="294"/>
                  </a:lnTo>
                  <a:lnTo>
                    <a:pt x="204" y="310"/>
                  </a:lnTo>
                  <a:lnTo>
                    <a:pt x="177" y="325"/>
                  </a:lnTo>
                  <a:lnTo>
                    <a:pt x="167" y="314"/>
                  </a:lnTo>
                  <a:lnTo>
                    <a:pt x="167" y="320"/>
                  </a:lnTo>
                  <a:lnTo>
                    <a:pt x="132" y="321"/>
                  </a:lnTo>
                  <a:lnTo>
                    <a:pt x="194" y="325"/>
                  </a:lnTo>
                  <a:lnTo>
                    <a:pt x="177" y="341"/>
                  </a:lnTo>
                  <a:lnTo>
                    <a:pt x="173" y="335"/>
                  </a:lnTo>
                  <a:lnTo>
                    <a:pt x="155" y="351"/>
                  </a:lnTo>
                  <a:lnTo>
                    <a:pt x="142" y="351"/>
                  </a:lnTo>
                  <a:lnTo>
                    <a:pt x="152" y="358"/>
                  </a:lnTo>
                  <a:lnTo>
                    <a:pt x="148" y="374"/>
                  </a:lnTo>
                  <a:lnTo>
                    <a:pt x="153" y="384"/>
                  </a:lnTo>
                  <a:lnTo>
                    <a:pt x="150" y="382"/>
                  </a:lnTo>
                  <a:lnTo>
                    <a:pt x="146" y="409"/>
                  </a:lnTo>
                  <a:lnTo>
                    <a:pt x="140" y="438"/>
                  </a:lnTo>
                  <a:lnTo>
                    <a:pt x="95" y="446"/>
                  </a:lnTo>
                  <a:lnTo>
                    <a:pt x="90" y="465"/>
                  </a:lnTo>
                  <a:lnTo>
                    <a:pt x="58" y="465"/>
                  </a:lnTo>
                  <a:lnTo>
                    <a:pt x="49" y="436"/>
                  </a:lnTo>
                  <a:lnTo>
                    <a:pt x="43" y="415"/>
                  </a:lnTo>
                  <a:lnTo>
                    <a:pt x="18" y="376"/>
                  </a:lnTo>
                  <a:lnTo>
                    <a:pt x="20" y="366"/>
                  </a:lnTo>
                  <a:lnTo>
                    <a:pt x="10" y="362"/>
                  </a:lnTo>
                  <a:lnTo>
                    <a:pt x="0" y="343"/>
                  </a:lnTo>
                  <a:lnTo>
                    <a:pt x="6" y="339"/>
                  </a:lnTo>
                  <a:lnTo>
                    <a:pt x="22" y="306"/>
                  </a:lnTo>
                  <a:lnTo>
                    <a:pt x="26" y="275"/>
                  </a:lnTo>
                  <a:lnTo>
                    <a:pt x="26" y="267"/>
                  </a:lnTo>
                  <a:lnTo>
                    <a:pt x="37" y="256"/>
                  </a:lnTo>
                  <a:lnTo>
                    <a:pt x="16" y="244"/>
                  </a:lnTo>
                  <a:lnTo>
                    <a:pt x="14" y="211"/>
                  </a:lnTo>
                  <a:lnTo>
                    <a:pt x="14" y="176"/>
                  </a:lnTo>
                  <a:lnTo>
                    <a:pt x="37" y="162"/>
                  </a:lnTo>
                  <a:lnTo>
                    <a:pt x="60" y="161"/>
                  </a:lnTo>
                  <a:lnTo>
                    <a:pt x="47" y="145"/>
                  </a:lnTo>
                  <a:lnTo>
                    <a:pt x="66" y="104"/>
                  </a:lnTo>
                  <a:lnTo>
                    <a:pt x="62" y="95"/>
                  </a:lnTo>
                  <a:lnTo>
                    <a:pt x="86" y="89"/>
                  </a:lnTo>
                  <a:lnTo>
                    <a:pt x="97" y="69"/>
                  </a:lnTo>
                  <a:lnTo>
                    <a:pt x="111" y="36"/>
                  </a:lnTo>
                  <a:lnTo>
                    <a:pt x="144" y="29"/>
                  </a:lnTo>
                  <a:lnTo>
                    <a:pt x="146" y="15"/>
                  </a:lnTo>
                  <a:lnTo>
                    <a:pt x="190" y="17"/>
                  </a:lnTo>
                  <a:lnTo>
                    <a:pt x="186" y="0"/>
                  </a:lnTo>
                  <a:lnTo>
                    <a:pt x="198" y="0"/>
                  </a:lnTo>
                  <a:lnTo>
                    <a:pt x="270" y="29"/>
                  </a:lnTo>
                  <a:lnTo>
                    <a:pt x="295" y="73"/>
                  </a:lnTo>
                  <a:lnTo>
                    <a:pt x="309" y="104"/>
                  </a:lnTo>
                  <a:lnTo>
                    <a:pt x="272" y="104"/>
                  </a:lnTo>
                  <a:lnTo>
                    <a:pt x="262" y="108"/>
                  </a:lnTo>
                  <a:lnTo>
                    <a:pt x="260" y="114"/>
                  </a:lnTo>
                  <a:lnTo>
                    <a:pt x="254" y="112"/>
                  </a:lnTo>
                  <a:lnTo>
                    <a:pt x="241" y="122"/>
                  </a:lnTo>
                  <a:lnTo>
                    <a:pt x="237" y="137"/>
                  </a:lnTo>
                  <a:lnTo>
                    <a:pt x="245" y="155"/>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04" name="Google Shape;2504;g7826bb8c5e_0_4294"/>
            <p:cNvSpPr/>
            <p:nvPr/>
          </p:nvSpPr>
          <p:spPr>
            <a:xfrm>
              <a:off x="4462579" y="2804942"/>
              <a:ext cx="6356" cy="16383"/>
            </a:xfrm>
            <a:custGeom>
              <a:avLst/>
              <a:gdLst/>
              <a:ahLst/>
              <a:cxnLst/>
              <a:rect l="l" t="t" r="r" b="b"/>
              <a:pathLst>
                <a:path w="16" h="29" extrusionOk="0">
                  <a:moveTo>
                    <a:pt x="16" y="0"/>
                  </a:moveTo>
                  <a:lnTo>
                    <a:pt x="16" y="7"/>
                  </a:lnTo>
                  <a:lnTo>
                    <a:pt x="8" y="25"/>
                  </a:lnTo>
                  <a:lnTo>
                    <a:pt x="6" y="29"/>
                  </a:lnTo>
                  <a:lnTo>
                    <a:pt x="0" y="15"/>
                  </a:lnTo>
                  <a:lnTo>
                    <a:pt x="16"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05" name="Google Shape;2505;g7826bb8c5e_0_4294"/>
            <p:cNvSpPr/>
            <p:nvPr/>
          </p:nvSpPr>
          <p:spPr>
            <a:xfrm>
              <a:off x="4294769" y="3027487"/>
              <a:ext cx="67379" cy="39593"/>
            </a:xfrm>
            <a:custGeom>
              <a:avLst/>
              <a:gdLst/>
              <a:ahLst/>
              <a:cxnLst/>
              <a:rect l="l" t="t" r="r" b="b"/>
              <a:pathLst>
                <a:path w="130" h="64" extrusionOk="0">
                  <a:moveTo>
                    <a:pt x="124" y="39"/>
                  </a:moveTo>
                  <a:lnTo>
                    <a:pt x="117" y="48"/>
                  </a:lnTo>
                  <a:lnTo>
                    <a:pt x="95" y="48"/>
                  </a:lnTo>
                  <a:lnTo>
                    <a:pt x="84" y="64"/>
                  </a:lnTo>
                  <a:lnTo>
                    <a:pt x="64" y="48"/>
                  </a:lnTo>
                  <a:lnTo>
                    <a:pt x="47" y="62"/>
                  </a:lnTo>
                  <a:lnTo>
                    <a:pt x="29" y="64"/>
                  </a:lnTo>
                  <a:lnTo>
                    <a:pt x="12" y="45"/>
                  </a:lnTo>
                  <a:lnTo>
                    <a:pt x="0" y="52"/>
                  </a:lnTo>
                  <a:lnTo>
                    <a:pt x="25" y="14"/>
                  </a:lnTo>
                  <a:lnTo>
                    <a:pt x="33" y="10"/>
                  </a:lnTo>
                  <a:lnTo>
                    <a:pt x="43" y="4"/>
                  </a:lnTo>
                  <a:lnTo>
                    <a:pt x="72" y="0"/>
                  </a:lnTo>
                  <a:lnTo>
                    <a:pt x="101" y="6"/>
                  </a:lnTo>
                  <a:lnTo>
                    <a:pt x="101" y="16"/>
                  </a:lnTo>
                  <a:lnTo>
                    <a:pt x="101" y="19"/>
                  </a:lnTo>
                  <a:lnTo>
                    <a:pt x="99" y="23"/>
                  </a:lnTo>
                  <a:lnTo>
                    <a:pt x="107" y="23"/>
                  </a:lnTo>
                  <a:lnTo>
                    <a:pt x="130" y="29"/>
                  </a:lnTo>
                  <a:lnTo>
                    <a:pt x="130" y="31"/>
                  </a:lnTo>
                  <a:lnTo>
                    <a:pt x="124" y="39"/>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506" name="Google Shape;2506;g7826bb8c5e_0_4294"/>
            <p:cNvSpPr/>
            <p:nvPr/>
          </p:nvSpPr>
          <p:spPr>
            <a:xfrm>
              <a:off x="4541399" y="2919628"/>
              <a:ext cx="282226" cy="180220"/>
            </a:xfrm>
            <a:custGeom>
              <a:avLst/>
              <a:gdLst/>
              <a:ahLst/>
              <a:cxnLst/>
              <a:rect l="l" t="t" r="r" b="b"/>
              <a:pathLst>
                <a:path w="543" h="298" extrusionOk="0">
                  <a:moveTo>
                    <a:pt x="285" y="0"/>
                  </a:moveTo>
                  <a:lnTo>
                    <a:pt x="262" y="7"/>
                  </a:lnTo>
                  <a:lnTo>
                    <a:pt x="227" y="25"/>
                  </a:lnTo>
                  <a:lnTo>
                    <a:pt x="229" y="38"/>
                  </a:lnTo>
                  <a:lnTo>
                    <a:pt x="179" y="29"/>
                  </a:lnTo>
                  <a:lnTo>
                    <a:pt x="128" y="21"/>
                  </a:lnTo>
                  <a:lnTo>
                    <a:pt x="78" y="19"/>
                  </a:lnTo>
                  <a:lnTo>
                    <a:pt x="27" y="19"/>
                  </a:lnTo>
                  <a:lnTo>
                    <a:pt x="43" y="58"/>
                  </a:lnTo>
                  <a:lnTo>
                    <a:pt x="39" y="77"/>
                  </a:lnTo>
                  <a:lnTo>
                    <a:pt x="14" y="114"/>
                  </a:lnTo>
                  <a:lnTo>
                    <a:pt x="8" y="126"/>
                  </a:lnTo>
                  <a:lnTo>
                    <a:pt x="0" y="151"/>
                  </a:lnTo>
                  <a:lnTo>
                    <a:pt x="24" y="168"/>
                  </a:lnTo>
                  <a:lnTo>
                    <a:pt x="25" y="166"/>
                  </a:lnTo>
                  <a:lnTo>
                    <a:pt x="82" y="172"/>
                  </a:lnTo>
                  <a:lnTo>
                    <a:pt x="132" y="157"/>
                  </a:lnTo>
                  <a:lnTo>
                    <a:pt x="157" y="135"/>
                  </a:lnTo>
                  <a:lnTo>
                    <a:pt x="167" y="139"/>
                  </a:lnTo>
                  <a:lnTo>
                    <a:pt x="190" y="161"/>
                  </a:lnTo>
                  <a:lnTo>
                    <a:pt x="215" y="184"/>
                  </a:lnTo>
                  <a:lnTo>
                    <a:pt x="239" y="205"/>
                  </a:lnTo>
                  <a:lnTo>
                    <a:pt x="262" y="226"/>
                  </a:lnTo>
                  <a:lnTo>
                    <a:pt x="287" y="211"/>
                  </a:lnTo>
                  <a:lnTo>
                    <a:pt x="295" y="217"/>
                  </a:lnTo>
                  <a:lnTo>
                    <a:pt x="293" y="199"/>
                  </a:lnTo>
                  <a:lnTo>
                    <a:pt x="299" y="211"/>
                  </a:lnTo>
                  <a:lnTo>
                    <a:pt x="320" y="217"/>
                  </a:lnTo>
                  <a:lnTo>
                    <a:pt x="289" y="219"/>
                  </a:lnTo>
                  <a:lnTo>
                    <a:pt x="303" y="226"/>
                  </a:lnTo>
                  <a:lnTo>
                    <a:pt x="328" y="234"/>
                  </a:lnTo>
                  <a:lnTo>
                    <a:pt x="355" y="240"/>
                  </a:lnTo>
                  <a:lnTo>
                    <a:pt x="324" y="259"/>
                  </a:lnTo>
                  <a:lnTo>
                    <a:pt x="345" y="269"/>
                  </a:lnTo>
                  <a:lnTo>
                    <a:pt x="359" y="283"/>
                  </a:lnTo>
                  <a:lnTo>
                    <a:pt x="363" y="298"/>
                  </a:lnTo>
                  <a:lnTo>
                    <a:pt x="407" y="281"/>
                  </a:lnTo>
                  <a:lnTo>
                    <a:pt x="427" y="277"/>
                  </a:lnTo>
                  <a:lnTo>
                    <a:pt x="444" y="267"/>
                  </a:lnTo>
                  <a:lnTo>
                    <a:pt x="421" y="265"/>
                  </a:lnTo>
                  <a:lnTo>
                    <a:pt x="392" y="242"/>
                  </a:lnTo>
                  <a:lnTo>
                    <a:pt x="398" y="225"/>
                  </a:lnTo>
                  <a:lnTo>
                    <a:pt x="396" y="234"/>
                  </a:lnTo>
                  <a:lnTo>
                    <a:pt x="403" y="226"/>
                  </a:lnTo>
                  <a:lnTo>
                    <a:pt x="446" y="211"/>
                  </a:lnTo>
                  <a:lnTo>
                    <a:pt x="493" y="195"/>
                  </a:lnTo>
                  <a:lnTo>
                    <a:pt x="508" y="192"/>
                  </a:lnTo>
                  <a:lnTo>
                    <a:pt x="518" y="170"/>
                  </a:lnTo>
                  <a:lnTo>
                    <a:pt x="543" y="161"/>
                  </a:lnTo>
                  <a:lnTo>
                    <a:pt x="524" y="106"/>
                  </a:lnTo>
                  <a:lnTo>
                    <a:pt x="479" y="93"/>
                  </a:lnTo>
                  <a:lnTo>
                    <a:pt x="434" y="79"/>
                  </a:lnTo>
                  <a:lnTo>
                    <a:pt x="415" y="83"/>
                  </a:lnTo>
                  <a:lnTo>
                    <a:pt x="376" y="50"/>
                  </a:lnTo>
                  <a:lnTo>
                    <a:pt x="338" y="17"/>
                  </a:lnTo>
                  <a:lnTo>
                    <a:pt x="334" y="5"/>
                  </a:lnTo>
                  <a:lnTo>
                    <a:pt x="285" y="0"/>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07" name="Google Shape;2507;g7826bb8c5e_0_4294"/>
            <p:cNvSpPr/>
            <p:nvPr/>
          </p:nvSpPr>
          <p:spPr>
            <a:xfrm>
              <a:off x="4494362" y="3062986"/>
              <a:ext cx="71192" cy="96936"/>
            </a:xfrm>
            <a:custGeom>
              <a:avLst/>
              <a:gdLst/>
              <a:ahLst/>
              <a:cxnLst/>
              <a:rect l="l" t="t" r="r" b="b"/>
              <a:pathLst>
                <a:path w="136" h="159" extrusionOk="0">
                  <a:moveTo>
                    <a:pt x="23" y="31"/>
                  </a:moveTo>
                  <a:lnTo>
                    <a:pt x="23" y="33"/>
                  </a:lnTo>
                  <a:lnTo>
                    <a:pt x="14" y="35"/>
                  </a:lnTo>
                  <a:lnTo>
                    <a:pt x="12" y="45"/>
                  </a:lnTo>
                  <a:lnTo>
                    <a:pt x="21" y="45"/>
                  </a:lnTo>
                  <a:lnTo>
                    <a:pt x="21" y="51"/>
                  </a:lnTo>
                  <a:lnTo>
                    <a:pt x="20" y="56"/>
                  </a:lnTo>
                  <a:lnTo>
                    <a:pt x="14" y="62"/>
                  </a:lnTo>
                  <a:lnTo>
                    <a:pt x="16" y="64"/>
                  </a:lnTo>
                  <a:lnTo>
                    <a:pt x="20" y="70"/>
                  </a:lnTo>
                  <a:lnTo>
                    <a:pt x="33" y="78"/>
                  </a:lnTo>
                  <a:lnTo>
                    <a:pt x="23" y="82"/>
                  </a:lnTo>
                  <a:lnTo>
                    <a:pt x="31" y="87"/>
                  </a:lnTo>
                  <a:lnTo>
                    <a:pt x="31" y="95"/>
                  </a:lnTo>
                  <a:lnTo>
                    <a:pt x="14" y="99"/>
                  </a:lnTo>
                  <a:lnTo>
                    <a:pt x="21" y="105"/>
                  </a:lnTo>
                  <a:lnTo>
                    <a:pt x="18" y="109"/>
                  </a:lnTo>
                  <a:lnTo>
                    <a:pt x="12" y="105"/>
                  </a:lnTo>
                  <a:lnTo>
                    <a:pt x="4" y="117"/>
                  </a:lnTo>
                  <a:lnTo>
                    <a:pt x="0" y="118"/>
                  </a:lnTo>
                  <a:lnTo>
                    <a:pt x="8" y="130"/>
                  </a:lnTo>
                  <a:lnTo>
                    <a:pt x="0" y="132"/>
                  </a:lnTo>
                  <a:lnTo>
                    <a:pt x="0" y="138"/>
                  </a:lnTo>
                  <a:lnTo>
                    <a:pt x="21" y="149"/>
                  </a:lnTo>
                  <a:lnTo>
                    <a:pt x="31" y="159"/>
                  </a:lnTo>
                  <a:lnTo>
                    <a:pt x="37" y="134"/>
                  </a:lnTo>
                  <a:lnTo>
                    <a:pt x="56" y="138"/>
                  </a:lnTo>
                  <a:lnTo>
                    <a:pt x="64" y="157"/>
                  </a:lnTo>
                  <a:lnTo>
                    <a:pt x="72" y="157"/>
                  </a:lnTo>
                  <a:lnTo>
                    <a:pt x="72" y="151"/>
                  </a:lnTo>
                  <a:lnTo>
                    <a:pt x="82" y="148"/>
                  </a:lnTo>
                  <a:lnTo>
                    <a:pt x="89" y="149"/>
                  </a:lnTo>
                  <a:lnTo>
                    <a:pt x="93" y="144"/>
                  </a:lnTo>
                  <a:lnTo>
                    <a:pt x="97" y="146"/>
                  </a:lnTo>
                  <a:lnTo>
                    <a:pt x="105" y="146"/>
                  </a:lnTo>
                  <a:lnTo>
                    <a:pt x="109" y="144"/>
                  </a:lnTo>
                  <a:lnTo>
                    <a:pt x="118" y="142"/>
                  </a:lnTo>
                  <a:lnTo>
                    <a:pt x="126" y="149"/>
                  </a:lnTo>
                  <a:lnTo>
                    <a:pt x="132" y="146"/>
                  </a:lnTo>
                  <a:lnTo>
                    <a:pt x="122" y="134"/>
                  </a:lnTo>
                  <a:lnTo>
                    <a:pt x="136" y="115"/>
                  </a:lnTo>
                  <a:lnTo>
                    <a:pt x="122" y="93"/>
                  </a:lnTo>
                  <a:lnTo>
                    <a:pt x="124" y="70"/>
                  </a:lnTo>
                  <a:lnTo>
                    <a:pt x="122" y="58"/>
                  </a:lnTo>
                  <a:lnTo>
                    <a:pt x="111" y="54"/>
                  </a:lnTo>
                  <a:lnTo>
                    <a:pt x="103" y="53"/>
                  </a:lnTo>
                  <a:lnTo>
                    <a:pt x="89" y="45"/>
                  </a:lnTo>
                  <a:lnTo>
                    <a:pt x="45" y="0"/>
                  </a:lnTo>
                  <a:lnTo>
                    <a:pt x="0" y="8"/>
                  </a:lnTo>
                  <a:lnTo>
                    <a:pt x="10" y="22"/>
                  </a:lnTo>
                  <a:lnTo>
                    <a:pt x="14" y="23"/>
                  </a:lnTo>
                  <a:lnTo>
                    <a:pt x="10" y="25"/>
                  </a:lnTo>
                  <a:lnTo>
                    <a:pt x="14" y="29"/>
                  </a:lnTo>
                  <a:lnTo>
                    <a:pt x="23" y="31"/>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08" name="Google Shape;2508;g7826bb8c5e_0_4294"/>
            <p:cNvSpPr/>
            <p:nvPr/>
          </p:nvSpPr>
          <p:spPr>
            <a:xfrm>
              <a:off x="2230198" y="2515497"/>
              <a:ext cx="1139073" cy="647154"/>
            </a:xfrm>
            <a:custGeom>
              <a:avLst/>
              <a:gdLst/>
              <a:ahLst/>
              <a:cxnLst/>
              <a:rect l="l" t="t" r="r" b="b"/>
              <a:pathLst>
                <a:path w="2183" h="1064" extrusionOk="0">
                  <a:moveTo>
                    <a:pt x="1609" y="186"/>
                  </a:moveTo>
                  <a:lnTo>
                    <a:pt x="1595" y="174"/>
                  </a:lnTo>
                  <a:lnTo>
                    <a:pt x="1630" y="176"/>
                  </a:lnTo>
                  <a:lnTo>
                    <a:pt x="1648" y="184"/>
                  </a:lnTo>
                  <a:lnTo>
                    <a:pt x="1663" y="182"/>
                  </a:lnTo>
                  <a:lnTo>
                    <a:pt x="1649" y="162"/>
                  </a:lnTo>
                  <a:lnTo>
                    <a:pt x="1663" y="166"/>
                  </a:lnTo>
                  <a:lnTo>
                    <a:pt x="1671" y="168"/>
                  </a:lnTo>
                  <a:lnTo>
                    <a:pt x="1680" y="178"/>
                  </a:lnTo>
                  <a:lnTo>
                    <a:pt x="1742" y="157"/>
                  </a:lnTo>
                  <a:lnTo>
                    <a:pt x="1754" y="139"/>
                  </a:lnTo>
                  <a:lnTo>
                    <a:pt x="1750" y="122"/>
                  </a:lnTo>
                  <a:lnTo>
                    <a:pt x="1752" y="112"/>
                  </a:lnTo>
                  <a:lnTo>
                    <a:pt x="1783" y="102"/>
                  </a:lnTo>
                  <a:lnTo>
                    <a:pt x="1766" y="98"/>
                  </a:lnTo>
                  <a:lnTo>
                    <a:pt x="1791" y="87"/>
                  </a:lnTo>
                  <a:lnTo>
                    <a:pt x="1750" y="77"/>
                  </a:lnTo>
                  <a:lnTo>
                    <a:pt x="1779" y="73"/>
                  </a:lnTo>
                  <a:lnTo>
                    <a:pt x="1704" y="71"/>
                  </a:lnTo>
                  <a:lnTo>
                    <a:pt x="1696" y="89"/>
                  </a:lnTo>
                  <a:lnTo>
                    <a:pt x="1700" y="96"/>
                  </a:lnTo>
                  <a:lnTo>
                    <a:pt x="1696" y="102"/>
                  </a:lnTo>
                  <a:lnTo>
                    <a:pt x="1675" y="102"/>
                  </a:lnTo>
                  <a:lnTo>
                    <a:pt x="1616" y="147"/>
                  </a:lnTo>
                  <a:lnTo>
                    <a:pt x="1597" y="151"/>
                  </a:lnTo>
                  <a:lnTo>
                    <a:pt x="1593" y="126"/>
                  </a:lnTo>
                  <a:lnTo>
                    <a:pt x="1601" y="118"/>
                  </a:lnTo>
                  <a:lnTo>
                    <a:pt x="1616" y="96"/>
                  </a:lnTo>
                  <a:lnTo>
                    <a:pt x="1595" y="87"/>
                  </a:lnTo>
                  <a:lnTo>
                    <a:pt x="1551" y="118"/>
                  </a:lnTo>
                  <a:lnTo>
                    <a:pt x="1560" y="91"/>
                  </a:lnTo>
                  <a:lnTo>
                    <a:pt x="1553" y="85"/>
                  </a:lnTo>
                  <a:lnTo>
                    <a:pt x="1578" y="79"/>
                  </a:lnTo>
                  <a:lnTo>
                    <a:pt x="1560" y="73"/>
                  </a:lnTo>
                  <a:lnTo>
                    <a:pt x="1535" y="71"/>
                  </a:lnTo>
                  <a:lnTo>
                    <a:pt x="1531" y="69"/>
                  </a:lnTo>
                  <a:lnTo>
                    <a:pt x="1553" y="58"/>
                  </a:lnTo>
                  <a:lnTo>
                    <a:pt x="1551" y="54"/>
                  </a:lnTo>
                  <a:lnTo>
                    <a:pt x="1564" y="56"/>
                  </a:lnTo>
                  <a:lnTo>
                    <a:pt x="1554" y="34"/>
                  </a:lnTo>
                  <a:lnTo>
                    <a:pt x="1564" y="15"/>
                  </a:lnTo>
                  <a:lnTo>
                    <a:pt x="1551" y="5"/>
                  </a:lnTo>
                  <a:lnTo>
                    <a:pt x="1541" y="5"/>
                  </a:lnTo>
                  <a:lnTo>
                    <a:pt x="1547" y="0"/>
                  </a:lnTo>
                  <a:lnTo>
                    <a:pt x="1527" y="5"/>
                  </a:lnTo>
                  <a:lnTo>
                    <a:pt x="1539" y="5"/>
                  </a:lnTo>
                  <a:lnTo>
                    <a:pt x="1502" y="13"/>
                  </a:lnTo>
                  <a:lnTo>
                    <a:pt x="1506" y="19"/>
                  </a:lnTo>
                  <a:lnTo>
                    <a:pt x="1481" y="21"/>
                  </a:lnTo>
                  <a:lnTo>
                    <a:pt x="1469" y="42"/>
                  </a:lnTo>
                  <a:lnTo>
                    <a:pt x="1475" y="44"/>
                  </a:lnTo>
                  <a:lnTo>
                    <a:pt x="1458" y="48"/>
                  </a:lnTo>
                  <a:lnTo>
                    <a:pt x="1446" y="65"/>
                  </a:lnTo>
                  <a:lnTo>
                    <a:pt x="1502" y="81"/>
                  </a:lnTo>
                  <a:lnTo>
                    <a:pt x="1487" y="85"/>
                  </a:lnTo>
                  <a:lnTo>
                    <a:pt x="1489" y="83"/>
                  </a:lnTo>
                  <a:lnTo>
                    <a:pt x="1475" y="91"/>
                  </a:lnTo>
                  <a:lnTo>
                    <a:pt x="1459" y="102"/>
                  </a:lnTo>
                  <a:lnTo>
                    <a:pt x="1485" y="95"/>
                  </a:lnTo>
                  <a:lnTo>
                    <a:pt x="1473" y="106"/>
                  </a:lnTo>
                  <a:lnTo>
                    <a:pt x="1423" y="124"/>
                  </a:lnTo>
                  <a:lnTo>
                    <a:pt x="1401" y="147"/>
                  </a:lnTo>
                  <a:lnTo>
                    <a:pt x="1388" y="160"/>
                  </a:lnTo>
                  <a:lnTo>
                    <a:pt x="1372" y="160"/>
                  </a:lnTo>
                  <a:lnTo>
                    <a:pt x="1372" y="166"/>
                  </a:lnTo>
                  <a:lnTo>
                    <a:pt x="1370" y="160"/>
                  </a:lnTo>
                  <a:lnTo>
                    <a:pt x="1374" y="160"/>
                  </a:lnTo>
                  <a:lnTo>
                    <a:pt x="1392" y="157"/>
                  </a:lnTo>
                  <a:lnTo>
                    <a:pt x="1384" y="153"/>
                  </a:lnTo>
                  <a:lnTo>
                    <a:pt x="1392" y="147"/>
                  </a:lnTo>
                  <a:lnTo>
                    <a:pt x="1378" y="149"/>
                  </a:lnTo>
                  <a:lnTo>
                    <a:pt x="1413" y="116"/>
                  </a:lnTo>
                  <a:lnTo>
                    <a:pt x="1390" y="122"/>
                  </a:lnTo>
                  <a:lnTo>
                    <a:pt x="1394" y="118"/>
                  </a:lnTo>
                  <a:lnTo>
                    <a:pt x="1366" y="112"/>
                  </a:lnTo>
                  <a:lnTo>
                    <a:pt x="1345" y="118"/>
                  </a:lnTo>
                  <a:lnTo>
                    <a:pt x="1351" y="129"/>
                  </a:lnTo>
                  <a:lnTo>
                    <a:pt x="1368" y="133"/>
                  </a:lnTo>
                  <a:lnTo>
                    <a:pt x="1343" y="135"/>
                  </a:lnTo>
                  <a:lnTo>
                    <a:pt x="1335" y="124"/>
                  </a:lnTo>
                  <a:lnTo>
                    <a:pt x="1328" y="135"/>
                  </a:lnTo>
                  <a:lnTo>
                    <a:pt x="1277" y="133"/>
                  </a:lnTo>
                  <a:lnTo>
                    <a:pt x="1229" y="133"/>
                  </a:lnTo>
                  <a:lnTo>
                    <a:pt x="1213" y="124"/>
                  </a:lnTo>
                  <a:lnTo>
                    <a:pt x="1194" y="122"/>
                  </a:lnTo>
                  <a:lnTo>
                    <a:pt x="1184" y="110"/>
                  </a:lnTo>
                  <a:lnTo>
                    <a:pt x="1176" y="96"/>
                  </a:lnTo>
                  <a:lnTo>
                    <a:pt x="1097" y="116"/>
                  </a:lnTo>
                  <a:lnTo>
                    <a:pt x="1114" y="122"/>
                  </a:lnTo>
                  <a:lnTo>
                    <a:pt x="1153" y="112"/>
                  </a:lnTo>
                  <a:lnTo>
                    <a:pt x="1176" y="108"/>
                  </a:lnTo>
                  <a:lnTo>
                    <a:pt x="1130" y="124"/>
                  </a:lnTo>
                  <a:lnTo>
                    <a:pt x="1107" y="128"/>
                  </a:lnTo>
                  <a:lnTo>
                    <a:pt x="1091" y="164"/>
                  </a:lnTo>
                  <a:lnTo>
                    <a:pt x="1081" y="159"/>
                  </a:lnTo>
                  <a:lnTo>
                    <a:pt x="1076" y="180"/>
                  </a:lnTo>
                  <a:lnTo>
                    <a:pt x="1066" y="155"/>
                  </a:lnTo>
                  <a:lnTo>
                    <a:pt x="1083" y="155"/>
                  </a:lnTo>
                  <a:lnTo>
                    <a:pt x="1078" y="139"/>
                  </a:lnTo>
                  <a:lnTo>
                    <a:pt x="1064" y="147"/>
                  </a:lnTo>
                  <a:lnTo>
                    <a:pt x="1064" y="133"/>
                  </a:lnTo>
                  <a:lnTo>
                    <a:pt x="1047" y="128"/>
                  </a:lnTo>
                  <a:lnTo>
                    <a:pt x="952" y="137"/>
                  </a:lnTo>
                  <a:lnTo>
                    <a:pt x="917" y="129"/>
                  </a:lnTo>
                  <a:lnTo>
                    <a:pt x="955" y="118"/>
                  </a:lnTo>
                  <a:lnTo>
                    <a:pt x="967" y="114"/>
                  </a:lnTo>
                  <a:lnTo>
                    <a:pt x="942" y="95"/>
                  </a:lnTo>
                  <a:lnTo>
                    <a:pt x="924" y="98"/>
                  </a:lnTo>
                  <a:lnTo>
                    <a:pt x="860" y="83"/>
                  </a:lnTo>
                  <a:lnTo>
                    <a:pt x="798" y="67"/>
                  </a:lnTo>
                  <a:lnTo>
                    <a:pt x="764" y="81"/>
                  </a:lnTo>
                  <a:lnTo>
                    <a:pt x="750" y="79"/>
                  </a:lnTo>
                  <a:lnTo>
                    <a:pt x="762" y="71"/>
                  </a:lnTo>
                  <a:lnTo>
                    <a:pt x="767" y="56"/>
                  </a:lnTo>
                  <a:lnTo>
                    <a:pt x="760" y="62"/>
                  </a:lnTo>
                  <a:lnTo>
                    <a:pt x="748" y="71"/>
                  </a:lnTo>
                  <a:lnTo>
                    <a:pt x="733" y="77"/>
                  </a:lnTo>
                  <a:lnTo>
                    <a:pt x="721" y="83"/>
                  </a:lnTo>
                  <a:lnTo>
                    <a:pt x="709" y="60"/>
                  </a:lnTo>
                  <a:lnTo>
                    <a:pt x="700" y="46"/>
                  </a:lnTo>
                  <a:lnTo>
                    <a:pt x="702" y="54"/>
                  </a:lnTo>
                  <a:lnTo>
                    <a:pt x="649" y="71"/>
                  </a:lnTo>
                  <a:lnTo>
                    <a:pt x="651" y="65"/>
                  </a:lnTo>
                  <a:lnTo>
                    <a:pt x="595" y="75"/>
                  </a:lnTo>
                  <a:lnTo>
                    <a:pt x="651" y="56"/>
                  </a:lnTo>
                  <a:lnTo>
                    <a:pt x="612" y="60"/>
                  </a:lnTo>
                  <a:lnTo>
                    <a:pt x="548" y="77"/>
                  </a:lnTo>
                  <a:lnTo>
                    <a:pt x="486" y="93"/>
                  </a:lnTo>
                  <a:lnTo>
                    <a:pt x="479" y="102"/>
                  </a:lnTo>
                  <a:lnTo>
                    <a:pt x="457" y="98"/>
                  </a:lnTo>
                  <a:lnTo>
                    <a:pt x="453" y="104"/>
                  </a:lnTo>
                  <a:lnTo>
                    <a:pt x="403" y="89"/>
                  </a:lnTo>
                  <a:lnTo>
                    <a:pt x="355" y="73"/>
                  </a:lnTo>
                  <a:lnTo>
                    <a:pt x="308" y="110"/>
                  </a:lnTo>
                  <a:lnTo>
                    <a:pt x="263" y="149"/>
                  </a:lnTo>
                  <a:lnTo>
                    <a:pt x="217" y="188"/>
                  </a:lnTo>
                  <a:lnTo>
                    <a:pt x="172" y="224"/>
                  </a:lnTo>
                  <a:lnTo>
                    <a:pt x="130" y="265"/>
                  </a:lnTo>
                  <a:lnTo>
                    <a:pt x="85" y="306"/>
                  </a:lnTo>
                  <a:lnTo>
                    <a:pt x="42" y="345"/>
                  </a:lnTo>
                  <a:lnTo>
                    <a:pt x="0" y="385"/>
                  </a:lnTo>
                  <a:lnTo>
                    <a:pt x="54" y="383"/>
                  </a:lnTo>
                  <a:lnTo>
                    <a:pt x="41" y="393"/>
                  </a:lnTo>
                  <a:lnTo>
                    <a:pt x="48" y="399"/>
                  </a:lnTo>
                  <a:lnTo>
                    <a:pt x="46" y="434"/>
                  </a:lnTo>
                  <a:lnTo>
                    <a:pt x="72" y="426"/>
                  </a:lnTo>
                  <a:lnTo>
                    <a:pt x="93" y="414"/>
                  </a:lnTo>
                  <a:lnTo>
                    <a:pt x="132" y="403"/>
                  </a:lnTo>
                  <a:lnTo>
                    <a:pt x="139" y="440"/>
                  </a:lnTo>
                  <a:lnTo>
                    <a:pt x="134" y="473"/>
                  </a:lnTo>
                  <a:lnTo>
                    <a:pt x="126" y="506"/>
                  </a:lnTo>
                  <a:lnTo>
                    <a:pt x="139" y="523"/>
                  </a:lnTo>
                  <a:lnTo>
                    <a:pt x="155" y="540"/>
                  </a:lnTo>
                  <a:lnTo>
                    <a:pt x="124" y="572"/>
                  </a:lnTo>
                  <a:lnTo>
                    <a:pt x="151" y="550"/>
                  </a:lnTo>
                  <a:lnTo>
                    <a:pt x="151" y="556"/>
                  </a:lnTo>
                  <a:lnTo>
                    <a:pt x="126" y="572"/>
                  </a:lnTo>
                  <a:lnTo>
                    <a:pt x="130" y="573"/>
                  </a:lnTo>
                  <a:lnTo>
                    <a:pt x="114" y="585"/>
                  </a:lnTo>
                  <a:lnTo>
                    <a:pt x="104" y="585"/>
                  </a:lnTo>
                  <a:lnTo>
                    <a:pt x="106" y="597"/>
                  </a:lnTo>
                  <a:lnTo>
                    <a:pt x="101" y="589"/>
                  </a:lnTo>
                  <a:lnTo>
                    <a:pt x="97" y="603"/>
                  </a:lnTo>
                  <a:lnTo>
                    <a:pt x="112" y="603"/>
                  </a:lnTo>
                  <a:lnTo>
                    <a:pt x="103" y="603"/>
                  </a:lnTo>
                  <a:lnTo>
                    <a:pt x="103" y="610"/>
                  </a:lnTo>
                  <a:lnTo>
                    <a:pt x="97" y="606"/>
                  </a:lnTo>
                  <a:lnTo>
                    <a:pt x="99" y="632"/>
                  </a:lnTo>
                  <a:lnTo>
                    <a:pt x="137" y="608"/>
                  </a:lnTo>
                  <a:lnTo>
                    <a:pt x="122" y="630"/>
                  </a:lnTo>
                  <a:lnTo>
                    <a:pt x="132" y="634"/>
                  </a:lnTo>
                  <a:lnTo>
                    <a:pt x="114" y="628"/>
                  </a:lnTo>
                  <a:lnTo>
                    <a:pt x="110" y="653"/>
                  </a:lnTo>
                  <a:lnTo>
                    <a:pt x="118" y="649"/>
                  </a:lnTo>
                  <a:lnTo>
                    <a:pt x="95" y="672"/>
                  </a:lnTo>
                  <a:lnTo>
                    <a:pt x="108" y="665"/>
                  </a:lnTo>
                  <a:lnTo>
                    <a:pt x="106" y="674"/>
                  </a:lnTo>
                  <a:lnTo>
                    <a:pt x="149" y="651"/>
                  </a:lnTo>
                  <a:lnTo>
                    <a:pt x="136" y="670"/>
                  </a:lnTo>
                  <a:lnTo>
                    <a:pt x="134" y="682"/>
                  </a:lnTo>
                  <a:lnTo>
                    <a:pt x="130" y="670"/>
                  </a:lnTo>
                  <a:lnTo>
                    <a:pt x="95" y="690"/>
                  </a:lnTo>
                  <a:lnTo>
                    <a:pt x="97" y="698"/>
                  </a:lnTo>
                  <a:lnTo>
                    <a:pt x="106" y="690"/>
                  </a:lnTo>
                  <a:lnTo>
                    <a:pt x="126" y="694"/>
                  </a:lnTo>
                  <a:lnTo>
                    <a:pt x="93" y="701"/>
                  </a:lnTo>
                  <a:lnTo>
                    <a:pt x="83" y="705"/>
                  </a:lnTo>
                  <a:lnTo>
                    <a:pt x="99" y="707"/>
                  </a:lnTo>
                  <a:lnTo>
                    <a:pt x="79" y="715"/>
                  </a:lnTo>
                  <a:lnTo>
                    <a:pt x="103" y="723"/>
                  </a:lnTo>
                  <a:lnTo>
                    <a:pt x="110" y="719"/>
                  </a:lnTo>
                  <a:lnTo>
                    <a:pt x="118" y="721"/>
                  </a:lnTo>
                  <a:lnTo>
                    <a:pt x="106" y="725"/>
                  </a:lnTo>
                  <a:lnTo>
                    <a:pt x="120" y="725"/>
                  </a:lnTo>
                  <a:lnTo>
                    <a:pt x="110" y="731"/>
                  </a:lnTo>
                  <a:lnTo>
                    <a:pt x="136" y="721"/>
                  </a:lnTo>
                  <a:lnTo>
                    <a:pt x="139" y="717"/>
                  </a:lnTo>
                  <a:lnTo>
                    <a:pt x="126" y="731"/>
                  </a:lnTo>
                  <a:lnTo>
                    <a:pt x="114" y="731"/>
                  </a:lnTo>
                  <a:lnTo>
                    <a:pt x="108" y="738"/>
                  </a:lnTo>
                  <a:lnTo>
                    <a:pt x="132" y="731"/>
                  </a:lnTo>
                  <a:lnTo>
                    <a:pt x="132" y="738"/>
                  </a:lnTo>
                  <a:lnTo>
                    <a:pt x="151" y="725"/>
                  </a:lnTo>
                  <a:lnTo>
                    <a:pt x="141" y="742"/>
                  </a:lnTo>
                  <a:lnTo>
                    <a:pt x="161" y="736"/>
                  </a:lnTo>
                  <a:lnTo>
                    <a:pt x="134" y="752"/>
                  </a:lnTo>
                  <a:lnTo>
                    <a:pt x="149" y="762"/>
                  </a:lnTo>
                  <a:lnTo>
                    <a:pt x="163" y="746"/>
                  </a:lnTo>
                  <a:lnTo>
                    <a:pt x="155" y="767"/>
                  </a:lnTo>
                  <a:lnTo>
                    <a:pt x="159" y="767"/>
                  </a:lnTo>
                  <a:lnTo>
                    <a:pt x="145" y="767"/>
                  </a:lnTo>
                  <a:lnTo>
                    <a:pt x="159" y="773"/>
                  </a:lnTo>
                  <a:lnTo>
                    <a:pt x="172" y="767"/>
                  </a:lnTo>
                  <a:lnTo>
                    <a:pt x="163" y="779"/>
                  </a:lnTo>
                  <a:lnTo>
                    <a:pt x="170" y="781"/>
                  </a:lnTo>
                  <a:lnTo>
                    <a:pt x="159" y="787"/>
                  </a:lnTo>
                  <a:lnTo>
                    <a:pt x="168" y="793"/>
                  </a:lnTo>
                  <a:lnTo>
                    <a:pt x="219" y="793"/>
                  </a:lnTo>
                  <a:lnTo>
                    <a:pt x="271" y="793"/>
                  </a:lnTo>
                  <a:lnTo>
                    <a:pt x="322" y="793"/>
                  </a:lnTo>
                  <a:lnTo>
                    <a:pt x="372" y="793"/>
                  </a:lnTo>
                  <a:lnTo>
                    <a:pt x="422" y="793"/>
                  </a:lnTo>
                  <a:lnTo>
                    <a:pt x="473" y="793"/>
                  </a:lnTo>
                  <a:lnTo>
                    <a:pt x="523" y="793"/>
                  </a:lnTo>
                  <a:lnTo>
                    <a:pt x="574" y="793"/>
                  </a:lnTo>
                  <a:lnTo>
                    <a:pt x="626" y="793"/>
                  </a:lnTo>
                  <a:lnTo>
                    <a:pt x="676" y="793"/>
                  </a:lnTo>
                  <a:lnTo>
                    <a:pt x="727" y="793"/>
                  </a:lnTo>
                  <a:lnTo>
                    <a:pt x="777" y="793"/>
                  </a:lnTo>
                  <a:lnTo>
                    <a:pt x="828" y="793"/>
                  </a:lnTo>
                  <a:lnTo>
                    <a:pt x="878" y="793"/>
                  </a:lnTo>
                  <a:lnTo>
                    <a:pt x="928" y="793"/>
                  </a:lnTo>
                  <a:lnTo>
                    <a:pt x="981" y="791"/>
                  </a:lnTo>
                  <a:lnTo>
                    <a:pt x="992" y="777"/>
                  </a:lnTo>
                  <a:lnTo>
                    <a:pt x="988" y="800"/>
                  </a:lnTo>
                  <a:lnTo>
                    <a:pt x="1023" y="806"/>
                  </a:lnTo>
                  <a:lnTo>
                    <a:pt x="1066" y="824"/>
                  </a:lnTo>
                  <a:lnTo>
                    <a:pt x="1093" y="820"/>
                  </a:lnTo>
                  <a:lnTo>
                    <a:pt x="1116" y="829"/>
                  </a:lnTo>
                  <a:lnTo>
                    <a:pt x="1157" y="820"/>
                  </a:lnTo>
                  <a:lnTo>
                    <a:pt x="1182" y="835"/>
                  </a:lnTo>
                  <a:lnTo>
                    <a:pt x="1207" y="853"/>
                  </a:lnTo>
                  <a:lnTo>
                    <a:pt x="1233" y="868"/>
                  </a:lnTo>
                  <a:lnTo>
                    <a:pt x="1260" y="884"/>
                  </a:lnTo>
                  <a:lnTo>
                    <a:pt x="1262" y="901"/>
                  </a:lnTo>
                  <a:lnTo>
                    <a:pt x="1271" y="899"/>
                  </a:lnTo>
                  <a:lnTo>
                    <a:pt x="1270" y="909"/>
                  </a:lnTo>
                  <a:lnTo>
                    <a:pt x="1293" y="926"/>
                  </a:lnTo>
                  <a:lnTo>
                    <a:pt x="1285" y="959"/>
                  </a:lnTo>
                  <a:lnTo>
                    <a:pt x="1279" y="994"/>
                  </a:lnTo>
                  <a:lnTo>
                    <a:pt x="1264" y="1016"/>
                  </a:lnTo>
                  <a:lnTo>
                    <a:pt x="1227" y="1050"/>
                  </a:lnTo>
                  <a:lnTo>
                    <a:pt x="1237" y="1064"/>
                  </a:lnTo>
                  <a:lnTo>
                    <a:pt x="1268" y="1054"/>
                  </a:lnTo>
                  <a:lnTo>
                    <a:pt x="1301" y="1043"/>
                  </a:lnTo>
                  <a:lnTo>
                    <a:pt x="1333" y="1033"/>
                  </a:lnTo>
                  <a:lnTo>
                    <a:pt x="1364" y="1021"/>
                  </a:lnTo>
                  <a:lnTo>
                    <a:pt x="1368" y="998"/>
                  </a:lnTo>
                  <a:lnTo>
                    <a:pt x="1405" y="994"/>
                  </a:lnTo>
                  <a:lnTo>
                    <a:pt x="1442" y="992"/>
                  </a:lnTo>
                  <a:lnTo>
                    <a:pt x="1473" y="969"/>
                  </a:lnTo>
                  <a:lnTo>
                    <a:pt x="1502" y="946"/>
                  </a:lnTo>
                  <a:lnTo>
                    <a:pt x="1562" y="944"/>
                  </a:lnTo>
                  <a:lnTo>
                    <a:pt x="1620" y="940"/>
                  </a:lnTo>
                  <a:lnTo>
                    <a:pt x="1642" y="926"/>
                  </a:lnTo>
                  <a:lnTo>
                    <a:pt x="1669" y="903"/>
                  </a:lnTo>
                  <a:lnTo>
                    <a:pt x="1694" y="876"/>
                  </a:lnTo>
                  <a:lnTo>
                    <a:pt x="1721" y="849"/>
                  </a:lnTo>
                  <a:lnTo>
                    <a:pt x="1723" y="857"/>
                  </a:lnTo>
                  <a:lnTo>
                    <a:pt x="1739" y="855"/>
                  </a:lnTo>
                  <a:lnTo>
                    <a:pt x="1758" y="864"/>
                  </a:lnTo>
                  <a:lnTo>
                    <a:pt x="1744" y="909"/>
                  </a:lnTo>
                  <a:lnTo>
                    <a:pt x="1752" y="934"/>
                  </a:lnTo>
                  <a:lnTo>
                    <a:pt x="1760" y="938"/>
                  </a:lnTo>
                  <a:lnTo>
                    <a:pt x="1787" y="926"/>
                  </a:lnTo>
                  <a:lnTo>
                    <a:pt x="1785" y="928"/>
                  </a:lnTo>
                  <a:lnTo>
                    <a:pt x="1830" y="917"/>
                  </a:lnTo>
                  <a:lnTo>
                    <a:pt x="1837" y="899"/>
                  </a:lnTo>
                  <a:lnTo>
                    <a:pt x="1839" y="909"/>
                  </a:lnTo>
                  <a:lnTo>
                    <a:pt x="1847" y="909"/>
                  </a:lnTo>
                  <a:lnTo>
                    <a:pt x="1824" y="924"/>
                  </a:lnTo>
                  <a:lnTo>
                    <a:pt x="1868" y="926"/>
                  </a:lnTo>
                  <a:lnTo>
                    <a:pt x="1841" y="936"/>
                  </a:lnTo>
                  <a:lnTo>
                    <a:pt x="1839" y="928"/>
                  </a:lnTo>
                  <a:lnTo>
                    <a:pt x="1793" y="952"/>
                  </a:lnTo>
                  <a:lnTo>
                    <a:pt x="1801" y="948"/>
                  </a:lnTo>
                  <a:lnTo>
                    <a:pt x="1774" y="961"/>
                  </a:lnTo>
                  <a:lnTo>
                    <a:pt x="1783" y="955"/>
                  </a:lnTo>
                  <a:lnTo>
                    <a:pt x="1770" y="975"/>
                  </a:lnTo>
                  <a:lnTo>
                    <a:pt x="1777" y="994"/>
                  </a:lnTo>
                  <a:lnTo>
                    <a:pt x="1797" y="988"/>
                  </a:lnTo>
                  <a:lnTo>
                    <a:pt x="1839" y="953"/>
                  </a:lnTo>
                  <a:lnTo>
                    <a:pt x="1845" y="959"/>
                  </a:lnTo>
                  <a:lnTo>
                    <a:pt x="1855" y="953"/>
                  </a:lnTo>
                  <a:lnTo>
                    <a:pt x="1859" y="955"/>
                  </a:lnTo>
                  <a:lnTo>
                    <a:pt x="1898" y="944"/>
                  </a:lnTo>
                  <a:lnTo>
                    <a:pt x="1936" y="930"/>
                  </a:lnTo>
                  <a:lnTo>
                    <a:pt x="1927" y="926"/>
                  </a:lnTo>
                  <a:lnTo>
                    <a:pt x="1934" y="922"/>
                  </a:lnTo>
                  <a:lnTo>
                    <a:pt x="1919" y="907"/>
                  </a:lnTo>
                  <a:lnTo>
                    <a:pt x="1907" y="915"/>
                  </a:lnTo>
                  <a:lnTo>
                    <a:pt x="1882" y="911"/>
                  </a:lnTo>
                  <a:lnTo>
                    <a:pt x="1861" y="901"/>
                  </a:lnTo>
                  <a:lnTo>
                    <a:pt x="1845" y="893"/>
                  </a:lnTo>
                  <a:lnTo>
                    <a:pt x="1847" y="866"/>
                  </a:lnTo>
                  <a:lnTo>
                    <a:pt x="1836" y="864"/>
                  </a:lnTo>
                  <a:lnTo>
                    <a:pt x="1857" y="839"/>
                  </a:lnTo>
                  <a:lnTo>
                    <a:pt x="1832" y="841"/>
                  </a:lnTo>
                  <a:lnTo>
                    <a:pt x="1830" y="833"/>
                  </a:lnTo>
                  <a:lnTo>
                    <a:pt x="1801" y="829"/>
                  </a:lnTo>
                  <a:lnTo>
                    <a:pt x="1808" y="827"/>
                  </a:lnTo>
                  <a:lnTo>
                    <a:pt x="1839" y="827"/>
                  </a:lnTo>
                  <a:lnTo>
                    <a:pt x="1878" y="814"/>
                  </a:lnTo>
                  <a:lnTo>
                    <a:pt x="1880" y="800"/>
                  </a:lnTo>
                  <a:lnTo>
                    <a:pt x="1888" y="800"/>
                  </a:lnTo>
                  <a:lnTo>
                    <a:pt x="1886" y="793"/>
                  </a:lnTo>
                  <a:lnTo>
                    <a:pt x="1851" y="781"/>
                  </a:lnTo>
                  <a:lnTo>
                    <a:pt x="1808" y="793"/>
                  </a:lnTo>
                  <a:lnTo>
                    <a:pt x="1766" y="806"/>
                  </a:lnTo>
                  <a:lnTo>
                    <a:pt x="1735" y="826"/>
                  </a:lnTo>
                  <a:lnTo>
                    <a:pt x="1702" y="847"/>
                  </a:lnTo>
                  <a:lnTo>
                    <a:pt x="1655" y="872"/>
                  </a:lnTo>
                  <a:lnTo>
                    <a:pt x="1684" y="849"/>
                  </a:lnTo>
                  <a:lnTo>
                    <a:pt x="1715" y="824"/>
                  </a:lnTo>
                  <a:lnTo>
                    <a:pt x="1682" y="812"/>
                  </a:lnTo>
                  <a:lnTo>
                    <a:pt x="1713" y="824"/>
                  </a:lnTo>
                  <a:lnTo>
                    <a:pt x="1756" y="794"/>
                  </a:lnTo>
                  <a:lnTo>
                    <a:pt x="1801" y="779"/>
                  </a:lnTo>
                  <a:lnTo>
                    <a:pt x="1834" y="750"/>
                  </a:lnTo>
                  <a:lnTo>
                    <a:pt x="1898" y="748"/>
                  </a:lnTo>
                  <a:lnTo>
                    <a:pt x="1962" y="746"/>
                  </a:lnTo>
                  <a:lnTo>
                    <a:pt x="2018" y="746"/>
                  </a:lnTo>
                  <a:lnTo>
                    <a:pt x="2072" y="715"/>
                  </a:lnTo>
                  <a:lnTo>
                    <a:pt x="2122" y="703"/>
                  </a:lnTo>
                  <a:lnTo>
                    <a:pt x="2179" y="674"/>
                  </a:lnTo>
                  <a:lnTo>
                    <a:pt x="2165" y="667"/>
                  </a:lnTo>
                  <a:lnTo>
                    <a:pt x="2179" y="663"/>
                  </a:lnTo>
                  <a:lnTo>
                    <a:pt x="2157" y="661"/>
                  </a:lnTo>
                  <a:lnTo>
                    <a:pt x="2175" y="657"/>
                  </a:lnTo>
                  <a:lnTo>
                    <a:pt x="2175" y="653"/>
                  </a:lnTo>
                  <a:lnTo>
                    <a:pt x="2181" y="641"/>
                  </a:lnTo>
                  <a:lnTo>
                    <a:pt x="2183" y="630"/>
                  </a:lnTo>
                  <a:lnTo>
                    <a:pt x="2165" y="620"/>
                  </a:lnTo>
                  <a:lnTo>
                    <a:pt x="2167" y="620"/>
                  </a:lnTo>
                  <a:lnTo>
                    <a:pt x="2148" y="624"/>
                  </a:lnTo>
                  <a:lnTo>
                    <a:pt x="2152" y="603"/>
                  </a:lnTo>
                  <a:lnTo>
                    <a:pt x="2124" y="606"/>
                  </a:lnTo>
                  <a:lnTo>
                    <a:pt x="2140" y="606"/>
                  </a:lnTo>
                  <a:lnTo>
                    <a:pt x="2093" y="620"/>
                  </a:lnTo>
                  <a:lnTo>
                    <a:pt x="2057" y="632"/>
                  </a:lnTo>
                  <a:lnTo>
                    <a:pt x="2068" y="628"/>
                  </a:lnTo>
                  <a:lnTo>
                    <a:pt x="2055" y="618"/>
                  </a:lnTo>
                  <a:lnTo>
                    <a:pt x="2072" y="620"/>
                  </a:lnTo>
                  <a:lnTo>
                    <a:pt x="2126" y="601"/>
                  </a:lnTo>
                  <a:lnTo>
                    <a:pt x="2089" y="606"/>
                  </a:lnTo>
                  <a:lnTo>
                    <a:pt x="2157" y="587"/>
                  </a:lnTo>
                  <a:lnTo>
                    <a:pt x="2117" y="572"/>
                  </a:lnTo>
                  <a:lnTo>
                    <a:pt x="2107" y="573"/>
                  </a:lnTo>
                  <a:lnTo>
                    <a:pt x="2115" y="566"/>
                  </a:lnTo>
                  <a:lnTo>
                    <a:pt x="2091" y="577"/>
                  </a:lnTo>
                  <a:lnTo>
                    <a:pt x="2101" y="568"/>
                  </a:lnTo>
                  <a:lnTo>
                    <a:pt x="2099" y="566"/>
                  </a:lnTo>
                  <a:lnTo>
                    <a:pt x="2086" y="570"/>
                  </a:lnTo>
                  <a:lnTo>
                    <a:pt x="2089" y="562"/>
                  </a:lnTo>
                  <a:lnTo>
                    <a:pt x="2072" y="572"/>
                  </a:lnTo>
                  <a:lnTo>
                    <a:pt x="2080" y="564"/>
                  </a:lnTo>
                  <a:lnTo>
                    <a:pt x="2084" y="558"/>
                  </a:lnTo>
                  <a:lnTo>
                    <a:pt x="2088" y="544"/>
                  </a:lnTo>
                  <a:lnTo>
                    <a:pt x="2080" y="552"/>
                  </a:lnTo>
                  <a:lnTo>
                    <a:pt x="2080" y="546"/>
                  </a:lnTo>
                  <a:lnTo>
                    <a:pt x="2066" y="533"/>
                  </a:lnTo>
                  <a:lnTo>
                    <a:pt x="2051" y="527"/>
                  </a:lnTo>
                  <a:lnTo>
                    <a:pt x="2064" y="527"/>
                  </a:lnTo>
                  <a:lnTo>
                    <a:pt x="2055" y="519"/>
                  </a:lnTo>
                  <a:lnTo>
                    <a:pt x="2064" y="517"/>
                  </a:lnTo>
                  <a:lnTo>
                    <a:pt x="2053" y="515"/>
                  </a:lnTo>
                  <a:lnTo>
                    <a:pt x="2060" y="515"/>
                  </a:lnTo>
                  <a:lnTo>
                    <a:pt x="2049" y="508"/>
                  </a:lnTo>
                  <a:lnTo>
                    <a:pt x="2055" y="508"/>
                  </a:lnTo>
                  <a:lnTo>
                    <a:pt x="2062" y="511"/>
                  </a:lnTo>
                  <a:lnTo>
                    <a:pt x="2084" y="498"/>
                  </a:lnTo>
                  <a:lnTo>
                    <a:pt x="2072" y="488"/>
                  </a:lnTo>
                  <a:lnTo>
                    <a:pt x="2064" y="482"/>
                  </a:lnTo>
                  <a:lnTo>
                    <a:pt x="2076" y="475"/>
                  </a:lnTo>
                  <a:lnTo>
                    <a:pt x="2064" y="467"/>
                  </a:lnTo>
                  <a:lnTo>
                    <a:pt x="2062" y="461"/>
                  </a:lnTo>
                  <a:lnTo>
                    <a:pt x="2047" y="463"/>
                  </a:lnTo>
                  <a:lnTo>
                    <a:pt x="2066" y="455"/>
                  </a:lnTo>
                  <a:lnTo>
                    <a:pt x="2066" y="449"/>
                  </a:lnTo>
                  <a:lnTo>
                    <a:pt x="2041" y="455"/>
                  </a:lnTo>
                  <a:lnTo>
                    <a:pt x="2066" y="438"/>
                  </a:lnTo>
                  <a:lnTo>
                    <a:pt x="2058" y="430"/>
                  </a:lnTo>
                  <a:lnTo>
                    <a:pt x="2047" y="428"/>
                  </a:lnTo>
                  <a:lnTo>
                    <a:pt x="2058" y="420"/>
                  </a:lnTo>
                  <a:lnTo>
                    <a:pt x="2053" y="416"/>
                  </a:lnTo>
                  <a:lnTo>
                    <a:pt x="2045" y="399"/>
                  </a:lnTo>
                  <a:lnTo>
                    <a:pt x="2045" y="393"/>
                  </a:lnTo>
                  <a:lnTo>
                    <a:pt x="2033" y="395"/>
                  </a:lnTo>
                  <a:lnTo>
                    <a:pt x="2043" y="385"/>
                  </a:lnTo>
                  <a:lnTo>
                    <a:pt x="2026" y="395"/>
                  </a:lnTo>
                  <a:lnTo>
                    <a:pt x="2026" y="403"/>
                  </a:lnTo>
                  <a:lnTo>
                    <a:pt x="2010" y="405"/>
                  </a:lnTo>
                  <a:lnTo>
                    <a:pt x="2016" y="414"/>
                  </a:lnTo>
                  <a:lnTo>
                    <a:pt x="2008" y="418"/>
                  </a:lnTo>
                  <a:lnTo>
                    <a:pt x="1996" y="428"/>
                  </a:lnTo>
                  <a:lnTo>
                    <a:pt x="1983" y="442"/>
                  </a:lnTo>
                  <a:lnTo>
                    <a:pt x="1977" y="451"/>
                  </a:lnTo>
                  <a:lnTo>
                    <a:pt x="1971" y="438"/>
                  </a:lnTo>
                  <a:lnTo>
                    <a:pt x="1944" y="453"/>
                  </a:lnTo>
                  <a:lnTo>
                    <a:pt x="1921" y="469"/>
                  </a:lnTo>
                  <a:lnTo>
                    <a:pt x="1927" y="455"/>
                  </a:lnTo>
                  <a:lnTo>
                    <a:pt x="1915" y="461"/>
                  </a:lnTo>
                  <a:lnTo>
                    <a:pt x="1921" y="447"/>
                  </a:lnTo>
                  <a:lnTo>
                    <a:pt x="1905" y="465"/>
                  </a:lnTo>
                  <a:lnTo>
                    <a:pt x="1874" y="475"/>
                  </a:lnTo>
                  <a:lnTo>
                    <a:pt x="1913" y="455"/>
                  </a:lnTo>
                  <a:lnTo>
                    <a:pt x="1909" y="434"/>
                  </a:lnTo>
                  <a:lnTo>
                    <a:pt x="1874" y="442"/>
                  </a:lnTo>
                  <a:lnTo>
                    <a:pt x="1867" y="440"/>
                  </a:lnTo>
                  <a:lnTo>
                    <a:pt x="1880" y="432"/>
                  </a:lnTo>
                  <a:lnTo>
                    <a:pt x="1890" y="436"/>
                  </a:lnTo>
                  <a:lnTo>
                    <a:pt x="1900" y="418"/>
                  </a:lnTo>
                  <a:lnTo>
                    <a:pt x="1894" y="413"/>
                  </a:lnTo>
                  <a:lnTo>
                    <a:pt x="1901" y="397"/>
                  </a:lnTo>
                  <a:lnTo>
                    <a:pt x="1870" y="393"/>
                  </a:lnTo>
                  <a:lnTo>
                    <a:pt x="1909" y="389"/>
                  </a:lnTo>
                  <a:lnTo>
                    <a:pt x="1915" y="372"/>
                  </a:lnTo>
                  <a:lnTo>
                    <a:pt x="1921" y="362"/>
                  </a:lnTo>
                  <a:lnTo>
                    <a:pt x="1909" y="364"/>
                  </a:lnTo>
                  <a:lnTo>
                    <a:pt x="1872" y="349"/>
                  </a:lnTo>
                  <a:lnTo>
                    <a:pt x="1882" y="339"/>
                  </a:lnTo>
                  <a:lnTo>
                    <a:pt x="1870" y="341"/>
                  </a:lnTo>
                  <a:lnTo>
                    <a:pt x="1863" y="329"/>
                  </a:lnTo>
                  <a:lnTo>
                    <a:pt x="1865" y="323"/>
                  </a:lnTo>
                  <a:lnTo>
                    <a:pt x="1837" y="312"/>
                  </a:lnTo>
                  <a:lnTo>
                    <a:pt x="1808" y="321"/>
                  </a:lnTo>
                  <a:lnTo>
                    <a:pt x="1779" y="321"/>
                  </a:lnTo>
                  <a:lnTo>
                    <a:pt x="1789" y="318"/>
                  </a:lnTo>
                  <a:lnTo>
                    <a:pt x="1737" y="312"/>
                  </a:lnTo>
                  <a:lnTo>
                    <a:pt x="1715" y="337"/>
                  </a:lnTo>
                  <a:lnTo>
                    <a:pt x="1717" y="347"/>
                  </a:lnTo>
                  <a:lnTo>
                    <a:pt x="1698" y="370"/>
                  </a:lnTo>
                  <a:lnTo>
                    <a:pt x="1706" y="370"/>
                  </a:lnTo>
                  <a:lnTo>
                    <a:pt x="1700" y="395"/>
                  </a:lnTo>
                  <a:lnTo>
                    <a:pt x="1688" y="409"/>
                  </a:lnTo>
                  <a:lnTo>
                    <a:pt x="1680" y="409"/>
                  </a:lnTo>
                  <a:lnTo>
                    <a:pt x="1638" y="444"/>
                  </a:lnTo>
                  <a:lnTo>
                    <a:pt x="1669" y="478"/>
                  </a:lnTo>
                  <a:lnTo>
                    <a:pt x="1651" y="509"/>
                  </a:lnTo>
                  <a:lnTo>
                    <a:pt x="1636" y="539"/>
                  </a:lnTo>
                  <a:lnTo>
                    <a:pt x="1595" y="558"/>
                  </a:lnTo>
                  <a:lnTo>
                    <a:pt x="1554" y="577"/>
                  </a:lnTo>
                  <a:lnTo>
                    <a:pt x="1533" y="587"/>
                  </a:lnTo>
                  <a:lnTo>
                    <a:pt x="1537" y="612"/>
                  </a:lnTo>
                  <a:lnTo>
                    <a:pt x="1525" y="663"/>
                  </a:lnTo>
                  <a:lnTo>
                    <a:pt x="1510" y="682"/>
                  </a:lnTo>
                  <a:lnTo>
                    <a:pt x="1500" y="699"/>
                  </a:lnTo>
                  <a:lnTo>
                    <a:pt x="1494" y="707"/>
                  </a:lnTo>
                  <a:lnTo>
                    <a:pt x="1489" y="694"/>
                  </a:lnTo>
                  <a:lnTo>
                    <a:pt x="1467" y="717"/>
                  </a:lnTo>
                  <a:lnTo>
                    <a:pt x="1473" y="727"/>
                  </a:lnTo>
                  <a:lnTo>
                    <a:pt x="1452" y="705"/>
                  </a:lnTo>
                  <a:lnTo>
                    <a:pt x="1428" y="717"/>
                  </a:lnTo>
                  <a:lnTo>
                    <a:pt x="1452" y="699"/>
                  </a:lnTo>
                  <a:lnTo>
                    <a:pt x="1430" y="672"/>
                  </a:lnTo>
                  <a:lnTo>
                    <a:pt x="1436" y="663"/>
                  </a:lnTo>
                  <a:lnTo>
                    <a:pt x="1432" y="637"/>
                  </a:lnTo>
                  <a:lnTo>
                    <a:pt x="1446" y="603"/>
                  </a:lnTo>
                  <a:lnTo>
                    <a:pt x="1459" y="568"/>
                  </a:lnTo>
                  <a:lnTo>
                    <a:pt x="1425" y="566"/>
                  </a:lnTo>
                  <a:lnTo>
                    <a:pt x="1388" y="564"/>
                  </a:lnTo>
                  <a:lnTo>
                    <a:pt x="1378" y="570"/>
                  </a:lnTo>
                  <a:lnTo>
                    <a:pt x="1392" y="560"/>
                  </a:lnTo>
                  <a:lnTo>
                    <a:pt x="1364" y="546"/>
                  </a:lnTo>
                  <a:lnTo>
                    <a:pt x="1339" y="535"/>
                  </a:lnTo>
                  <a:lnTo>
                    <a:pt x="1308" y="504"/>
                  </a:lnTo>
                  <a:lnTo>
                    <a:pt x="1270" y="492"/>
                  </a:lnTo>
                  <a:lnTo>
                    <a:pt x="1223" y="504"/>
                  </a:lnTo>
                  <a:lnTo>
                    <a:pt x="1225" y="500"/>
                  </a:lnTo>
                  <a:lnTo>
                    <a:pt x="1215" y="504"/>
                  </a:lnTo>
                  <a:lnTo>
                    <a:pt x="1240" y="461"/>
                  </a:lnTo>
                  <a:lnTo>
                    <a:pt x="1237" y="442"/>
                  </a:lnTo>
                  <a:lnTo>
                    <a:pt x="1211" y="445"/>
                  </a:lnTo>
                  <a:lnTo>
                    <a:pt x="1200" y="459"/>
                  </a:lnTo>
                  <a:lnTo>
                    <a:pt x="1209" y="442"/>
                  </a:lnTo>
                  <a:lnTo>
                    <a:pt x="1207" y="428"/>
                  </a:lnTo>
                  <a:lnTo>
                    <a:pt x="1248" y="378"/>
                  </a:lnTo>
                  <a:lnTo>
                    <a:pt x="1304" y="337"/>
                  </a:lnTo>
                  <a:lnTo>
                    <a:pt x="1308" y="329"/>
                  </a:lnTo>
                  <a:lnTo>
                    <a:pt x="1337" y="318"/>
                  </a:lnTo>
                  <a:lnTo>
                    <a:pt x="1330" y="316"/>
                  </a:lnTo>
                  <a:lnTo>
                    <a:pt x="1341" y="318"/>
                  </a:lnTo>
                  <a:lnTo>
                    <a:pt x="1353" y="308"/>
                  </a:lnTo>
                  <a:lnTo>
                    <a:pt x="1368" y="304"/>
                  </a:lnTo>
                  <a:lnTo>
                    <a:pt x="1370" y="298"/>
                  </a:lnTo>
                  <a:lnTo>
                    <a:pt x="1413" y="290"/>
                  </a:lnTo>
                  <a:lnTo>
                    <a:pt x="1417" y="279"/>
                  </a:lnTo>
                  <a:lnTo>
                    <a:pt x="1386" y="271"/>
                  </a:lnTo>
                  <a:lnTo>
                    <a:pt x="1392" y="269"/>
                  </a:lnTo>
                  <a:lnTo>
                    <a:pt x="1361" y="263"/>
                  </a:lnTo>
                  <a:lnTo>
                    <a:pt x="1361" y="255"/>
                  </a:lnTo>
                  <a:lnTo>
                    <a:pt x="1399" y="263"/>
                  </a:lnTo>
                  <a:lnTo>
                    <a:pt x="1440" y="271"/>
                  </a:lnTo>
                  <a:lnTo>
                    <a:pt x="1452" y="259"/>
                  </a:lnTo>
                  <a:lnTo>
                    <a:pt x="1459" y="254"/>
                  </a:lnTo>
                  <a:lnTo>
                    <a:pt x="1475" y="259"/>
                  </a:lnTo>
                  <a:lnTo>
                    <a:pt x="1475" y="254"/>
                  </a:lnTo>
                  <a:lnTo>
                    <a:pt x="1490" y="257"/>
                  </a:lnTo>
                  <a:lnTo>
                    <a:pt x="1549" y="226"/>
                  </a:lnTo>
                  <a:lnTo>
                    <a:pt x="1556" y="217"/>
                  </a:lnTo>
                  <a:lnTo>
                    <a:pt x="1504" y="209"/>
                  </a:lnTo>
                  <a:lnTo>
                    <a:pt x="1471" y="193"/>
                  </a:lnTo>
                  <a:lnTo>
                    <a:pt x="1531" y="203"/>
                  </a:lnTo>
                  <a:lnTo>
                    <a:pt x="1551" y="215"/>
                  </a:lnTo>
                  <a:lnTo>
                    <a:pt x="1609" y="186"/>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09" name="Google Shape;2509;g7826bb8c5e_0_4294"/>
            <p:cNvSpPr/>
            <p:nvPr/>
          </p:nvSpPr>
          <p:spPr>
            <a:xfrm>
              <a:off x="3079418" y="2488191"/>
              <a:ext cx="311465" cy="236198"/>
            </a:xfrm>
            <a:custGeom>
              <a:avLst/>
              <a:gdLst/>
              <a:ahLst/>
              <a:cxnLst/>
              <a:rect l="l" t="t" r="r" b="b"/>
              <a:pathLst>
                <a:path w="597" h="388" extrusionOk="0">
                  <a:moveTo>
                    <a:pt x="418" y="103"/>
                  </a:moveTo>
                  <a:lnTo>
                    <a:pt x="411" y="105"/>
                  </a:lnTo>
                  <a:lnTo>
                    <a:pt x="451" y="90"/>
                  </a:lnTo>
                  <a:lnTo>
                    <a:pt x="436" y="88"/>
                  </a:lnTo>
                  <a:lnTo>
                    <a:pt x="403" y="95"/>
                  </a:lnTo>
                  <a:lnTo>
                    <a:pt x="422" y="84"/>
                  </a:lnTo>
                  <a:lnTo>
                    <a:pt x="444" y="80"/>
                  </a:lnTo>
                  <a:lnTo>
                    <a:pt x="413" y="70"/>
                  </a:lnTo>
                  <a:lnTo>
                    <a:pt x="387" y="84"/>
                  </a:lnTo>
                  <a:lnTo>
                    <a:pt x="389" y="78"/>
                  </a:lnTo>
                  <a:lnTo>
                    <a:pt x="378" y="84"/>
                  </a:lnTo>
                  <a:lnTo>
                    <a:pt x="387" y="70"/>
                  </a:lnTo>
                  <a:lnTo>
                    <a:pt x="376" y="78"/>
                  </a:lnTo>
                  <a:lnTo>
                    <a:pt x="387" y="64"/>
                  </a:lnTo>
                  <a:lnTo>
                    <a:pt x="382" y="66"/>
                  </a:lnTo>
                  <a:lnTo>
                    <a:pt x="347" y="82"/>
                  </a:lnTo>
                  <a:lnTo>
                    <a:pt x="362" y="70"/>
                  </a:lnTo>
                  <a:lnTo>
                    <a:pt x="353" y="70"/>
                  </a:lnTo>
                  <a:lnTo>
                    <a:pt x="387" y="58"/>
                  </a:lnTo>
                  <a:lnTo>
                    <a:pt x="356" y="57"/>
                  </a:lnTo>
                  <a:lnTo>
                    <a:pt x="343" y="64"/>
                  </a:lnTo>
                  <a:lnTo>
                    <a:pt x="356" y="53"/>
                  </a:lnTo>
                  <a:lnTo>
                    <a:pt x="333" y="60"/>
                  </a:lnTo>
                  <a:lnTo>
                    <a:pt x="376" y="49"/>
                  </a:lnTo>
                  <a:lnTo>
                    <a:pt x="358" y="39"/>
                  </a:lnTo>
                  <a:lnTo>
                    <a:pt x="300" y="39"/>
                  </a:lnTo>
                  <a:lnTo>
                    <a:pt x="320" y="51"/>
                  </a:lnTo>
                  <a:lnTo>
                    <a:pt x="283" y="49"/>
                  </a:lnTo>
                  <a:lnTo>
                    <a:pt x="294" y="62"/>
                  </a:lnTo>
                  <a:lnTo>
                    <a:pt x="277" y="57"/>
                  </a:lnTo>
                  <a:lnTo>
                    <a:pt x="279" y="58"/>
                  </a:lnTo>
                  <a:lnTo>
                    <a:pt x="275" y="55"/>
                  </a:lnTo>
                  <a:lnTo>
                    <a:pt x="275" y="45"/>
                  </a:lnTo>
                  <a:lnTo>
                    <a:pt x="267" y="47"/>
                  </a:lnTo>
                  <a:lnTo>
                    <a:pt x="254" y="47"/>
                  </a:lnTo>
                  <a:lnTo>
                    <a:pt x="256" y="51"/>
                  </a:lnTo>
                  <a:lnTo>
                    <a:pt x="244" y="51"/>
                  </a:lnTo>
                  <a:lnTo>
                    <a:pt x="232" y="55"/>
                  </a:lnTo>
                  <a:lnTo>
                    <a:pt x="240" y="43"/>
                  </a:lnTo>
                  <a:lnTo>
                    <a:pt x="230" y="47"/>
                  </a:lnTo>
                  <a:lnTo>
                    <a:pt x="263" y="31"/>
                  </a:lnTo>
                  <a:lnTo>
                    <a:pt x="256" y="4"/>
                  </a:lnTo>
                  <a:lnTo>
                    <a:pt x="196" y="10"/>
                  </a:lnTo>
                  <a:lnTo>
                    <a:pt x="197" y="14"/>
                  </a:lnTo>
                  <a:lnTo>
                    <a:pt x="176" y="16"/>
                  </a:lnTo>
                  <a:lnTo>
                    <a:pt x="161" y="20"/>
                  </a:lnTo>
                  <a:lnTo>
                    <a:pt x="186" y="26"/>
                  </a:lnTo>
                  <a:lnTo>
                    <a:pt x="157" y="26"/>
                  </a:lnTo>
                  <a:lnTo>
                    <a:pt x="176" y="33"/>
                  </a:lnTo>
                  <a:lnTo>
                    <a:pt x="139" y="29"/>
                  </a:lnTo>
                  <a:lnTo>
                    <a:pt x="137" y="45"/>
                  </a:lnTo>
                  <a:lnTo>
                    <a:pt x="145" y="45"/>
                  </a:lnTo>
                  <a:lnTo>
                    <a:pt x="151" y="57"/>
                  </a:lnTo>
                  <a:lnTo>
                    <a:pt x="124" y="53"/>
                  </a:lnTo>
                  <a:lnTo>
                    <a:pt x="116" y="60"/>
                  </a:lnTo>
                  <a:lnTo>
                    <a:pt x="130" y="72"/>
                  </a:lnTo>
                  <a:lnTo>
                    <a:pt x="108" y="86"/>
                  </a:lnTo>
                  <a:lnTo>
                    <a:pt x="73" y="86"/>
                  </a:lnTo>
                  <a:lnTo>
                    <a:pt x="120" y="74"/>
                  </a:lnTo>
                  <a:lnTo>
                    <a:pt x="101" y="57"/>
                  </a:lnTo>
                  <a:lnTo>
                    <a:pt x="139" y="18"/>
                  </a:lnTo>
                  <a:lnTo>
                    <a:pt x="178" y="0"/>
                  </a:lnTo>
                  <a:lnTo>
                    <a:pt x="97" y="8"/>
                  </a:lnTo>
                  <a:lnTo>
                    <a:pt x="52" y="31"/>
                  </a:lnTo>
                  <a:lnTo>
                    <a:pt x="0" y="74"/>
                  </a:lnTo>
                  <a:lnTo>
                    <a:pt x="54" y="88"/>
                  </a:lnTo>
                  <a:lnTo>
                    <a:pt x="6" y="88"/>
                  </a:lnTo>
                  <a:lnTo>
                    <a:pt x="11" y="105"/>
                  </a:lnTo>
                  <a:lnTo>
                    <a:pt x="40" y="109"/>
                  </a:lnTo>
                  <a:lnTo>
                    <a:pt x="44" y="107"/>
                  </a:lnTo>
                  <a:lnTo>
                    <a:pt x="56" y="105"/>
                  </a:lnTo>
                  <a:lnTo>
                    <a:pt x="68" y="117"/>
                  </a:lnTo>
                  <a:lnTo>
                    <a:pt x="159" y="121"/>
                  </a:lnTo>
                  <a:lnTo>
                    <a:pt x="135" y="109"/>
                  </a:lnTo>
                  <a:lnTo>
                    <a:pt x="178" y="126"/>
                  </a:lnTo>
                  <a:lnTo>
                    <a:pt x="163" y="115"/>
                  </a:lnTo>
                  <a:lnTo>
                    <a:pt x="232" y="121"/>
                  </a:lnTo>
                  <a:lnTo>
                    <a:pt x="227" y="107"/>
                  </a:lnTo>
                  <a:lnTo>
                    <a:pt x="244" y="99"/>
                  </a:lnTo>
                  <a:lnTo>
                    <a:pt x="244" y="107"/>
                  </a:lnTo>
                  <a:lnTo>
                    <a:pt x="261" y="113"/>
                  </a:lnTo>
                  <a:lnTo>
                    <a:pt x="256" y="124"/>
                  </a:lnTo>
                  <a:lnTo>
                    <a:pt x="273" y="126"/>
                  </a:lnTo>
                  <a:lnTo>
                    <a:pt x="269" y="130"/>
                  </a:lnTo>
                  <a:lnTo>
                    <a:pt x="279" y="130"/>
                  </a:lnTo>
                  <a:lnTo>
                    <a:pt x="285" y="148"/>
                  </a:lnTo>
                  <a:lnTo>
                    <a:pt x="261" y="155"/>
                  </a:lnTo>
                  <a:lnTo>
                    <a:pt x="260" y="161"/>
                  </a:lnTo>
                  <a:lnTo>
                    <a:pt x="291" y="150"/>
                  </a:lnTo>
                  <a:lnTo>
                    <a:pt x="304" y="153"/>
                  </a:lnTo>
                  <a:lnTo>
                    <a:pt x="316" y="167"/>
                  </a:lnTo>
                  <a:lnTo>
                    <a:pt x="323" y="159"/>
                  </a:lnTo>
                  <a:lnTo>
                    <a:pt x="320" y="175"/>
                  </a:lnTo>
                  <a:lnTo>
                    <a:pt x="333" y="175"/>
                  </a:lnTo>
                  <a:lnTo>
                    <a:pt x="327" y="212"/>
                  </a:lnTo>
                  <a:lnTo>
                    <a:pt x="306" y="223"/>
                  </a:lnTo>
                  <a:lnTo>
                    <a:pt x="343" y="227"/>
                  </a:lnTo>
                  <a:lnTo>
                    <a:pt x="360" y="216"/>
                  </a:lnTo>
                  <a:lnTo>
                    <a:pt x="387" y="235"/>
                  </a:lnTo>
                  <a:lnTo>
                    <a:pt x="376" y="243"/>
                  </a:lnTo>
                  <a:lnTo>
                    <a:pt x="349" y="243"/>
                  </a:lnTo>
                  <a:lnTo>
                    <a:pt x="335" y="247"/>
                  </a:lnTo>
                  <a:lnTo>
                    <a:pt x="343" y="231"/>
                  </a:lnTo>
                  <a:lnTo>
                    <a:pt x="291" y="231"/>
                  </a:lnTo>
                  <a:lnTo>
                    <a:pt x="256" y="245"/>
                  </a:lnTo>
                  <a:lnTo>
                    <a:pt x="261" y="264"/>
                  </a:lnTo>
                  <a:lnTo>
                    <a:pt x="203" y="276"/>
                  </a:lnTo>
                  <a:lnTo>
                    <a:pt x="207" y="283"/>
                  </a:lnTo>
                  <a:lnTo>
                    <a:pt x="203" y="287"/>
                  </a:lnTo>
                  <a:lnTo>
                    <a:pt x="203" y="274"/>
                  </a:lnTo>
                  <a:lnTo>
                    <a:pt x="161" y="272"/>
                  </a:lnTo>
                  <a:lnTo>
                    <a:pt x="130" y="295"/>
                  </a:lnTo>
                  <a:lnTo>
                    <a:pt x="161" y="307"/>
                  </a:lnTo>
                  <a:lnTo>
                    <a:pt x="192" y="301"/>
                  </a:lnTo>
                  <a:lnTo>
                    <a:pt x="196" y="297"/>
                  </a:lnTo>
                  <a:lnTo>
                    <a:pt x="219" y="297"/>
                  </a:lnTo>
                  <a:lnTo>
                    <a:pt x="225" y="285"/>
                  </a:lnTo>
                  <a:lnTo>
                    <a:pt x="232" y="293"/>
                  </a:lnTo>
                  <a:lnTo>
                    <a:pt x="230" y="305"/>
                  </a:lnTo>
                  <a:lnTo>
                    <a:pt x="248" y="295"/>
                  </a:lnTo>
                  <a:lnTo>
                    <a:pt x="258" y="295"/>
                  </a:lnTo>
                  <a:lnTo>
                    <a:pt x="252" y="309"/>
                  </a:lnTo>
                  <a:lnTo>
                    <a:pt x="267" y="320"/>
                  </a:lnTo>
                  <a:lnTo>
                    <a:pt x="269" y="326"/>
                  </a:lnTo>
                  <a:lnTo>
                    <a:pt x="287" y="330"/>
                  </a:lnTo>
                  <a:lnTo>
                    <a:pt x="269" y="336"/>
                  </a:lnTo>
                  <a:lnTo>
                    <a:pt x="285" y="347"/>
                  </a:lnTo>
                  <a:lnTo>
                    <a:pt x="314" y="361"/>
                  </a:lnTo>
                  <a:lnTo>
                    <a:pt x="354" y="375"/>
                  </a:lnTo>
                  <a:lnTo>
                    <a:pt x="395" y="388"/>
                  </a:lnTo>
                  <a:lnTo>
                    <a:pt x="395" y="373"/>
                  </a:lnTo>
                  <a:lnTo>
                    <a:pt x="372" y="347"/>
                  </a:lnTo>
                  <a:lnTo>
                    <a:pt x="349" y="324"/>
                  </a:lnTo>
                  <a:lnTo>
                    <a:pt x="376" y="338"/>
                  </a:lnTo>
                  <a:lnTo>
                    <a:pt x="382" y="328"/>
                  </a:lnTo>
                  <a:lnTo>
                    <a:pt x="399" y="347"/>
                  </a:lnTo>
                  <a:lnTo>
                    <a:pt x="403" y="343"/>
                  </a:lnTo>
                  <a:lnTo>
                    <a:pt x="411" y="351"/>
                  </a:lnTo>
                  <a:lnTo>
                    <a:pt x="430" y="357"/>
                  </a:lnTo>
                  <a:lnTo>
                    <a:pt x="436" y="363"/>
                  </a:lnTo>
                  <a:lnTo>
                    <a:pt x="436" y="351"/>
                  </a:lnTo>
                  <a:lnTo>
                    <a:pt x="446" y="351"/>
                  </a:lnTo>
                  <a:lnTo>
                    <a:pt x="449" y="326"/>
                  </a:lnTo>
                  <a:lnTo>
                    <a:pt x="457" y="336"/>
                  </a:lnTo>
                  <a:lnTo>
                    <a:pt x="461" y="324"/>
                  </a:lnTo>
                  <a:lnTo>
                    <a:pt x="463" y="314"/>
                  </a:lnTo>
                  <a:lnTo>
                    <a:pt x="455" y="312"/>
                  </a:lnTo>
                  <a:lnTo>
                    <a:pt x="453" y="307"/>
                  </a:lnTo>
                  <a:lnTo>
                    <a:pt x="457" y="299"/>
                  </a:lnTo>
                  <a:lnTo>
                    <a:pt x="453" y="293"/>
                  </a:lnTo>
                  <a:lnTo>
                    <a:pt x="446" y="291"/>
                  </a:lnTo>
                  <a:lnTo>
                    <a:pt x="440" y="289"/>
                  </a:lnTo>
                  <a:lnTo>
                    <a:pt x="432" y="280"/>
                  </a:lnTo>
                  <a:lnTo>
                    <a:pt x="428" y="283"/>
                  </a:lnTo>
                  <a:lnTo>
                    <a:pt x="434" y="276"/>
                  </a:lnTo>
                  <a:lnTo>
                    <a:pt x="426" y="278"/>
                  </a:lnTo>
                  <a:lnTo>
                    <a:pt x="426" y="270"/>
                  </a:lnTo>
                  <a:lnTo>
                    <a:pt x="426" y="260"/>
                  </a:lnTo>
                  <a:lnTo>
                    <a:pt x="411" y="262"/>
                  </a:lnTo>
                  <a:lnTo>
                    <a:pt x="415" y="256"/>
                  </a:lnTo>
                  <a:lnTo>
                    <a:pt x="413" y="248"/>
                  </a:lnTo>
                  <a:lnTo>
                    <a:pt x="409" y="239"/>
                  </a:lnTo>
                  <a:lnTo>
                    <a:pt x="428" y="252"/>
                  </a:lnTo>
                  <a:lnTo>
                    <a:pt x="436" y="245"/>
                  </a:lnTo>
                  <a:lnTo>
                    <a:pt x="434" y="235"/>
                  </a:lnTo>
                  <a:lnTo>
                    <a:pt x="446" y="235"/>
                  </a:lnTo>
                  <a:lnTo>
                    <a:pt x="444" y="231"/>
                  </a:lnTo>
                  <a:lnTo>
                    <a:pt x="457" y="235"/>
                  </a:lnTo>
                  <a:lnTo>
                    <a:pt x="479" y="243"/>
                  </a:lnTo>
                  <a:lnTo>
                    <a:pt x="486" y="239"/>
                  </a:lnTo>
                  <a:lnTo>
                    <a:pt x="469" y="250"/>
                  </a:lnTo>
                  <a:lnTo>
                    <a:pt x="515" y="237"/>
                  </a:lnTo>
                  <a:lnTo>
                    <a:pt x="494" y="248"/>
                  </a:lnTo>
                  <a:lnTo>
                    <a:pt x="475" y="260"/>
                  </a:lnTo>
                  <a:lnTo>
                    <a:pt x="482" y="260"/>
                  </a:lnTo>
                  <a:lnTo>
                    <a:pt x="479" y="268"/>
                  </a:lnTo>
                  <a:lnTo>
                    <a:pt x="492" y="268"/>
                  </a:lnTo>
                  <a:lnTo>
                    <a:pt x="488" y="278"/>
                  </a:lnTo>
                  <a:lnTo>
                    <a:pt x="494" y="272"/>
                  </a:lnTo>
                  <a:lnTo>
                    <a:pt x="502" y="278"/>
                  </a:lnTo>
                  <a:lnTo>
                    <a:pt x="515" y="280"/>
                  </a:lnTo>
                  <a:lnTo>
                    <a:pt x="517" y="266"/>
                  </a:lnTo>
                  <a:lnTo>
                    <a:pt x="519" y="264"/>
                  </a:lnTo>
                  <a:lnTo>
                    <a:pt x="529" y="250"/>
                  </a:lnTo>
                  <a:lnTo>
                    <a:pt x="539" y="260"/>
                  </a:lnTo>
                  <a:lnTo>
                    <a:pt x="544" y="252"/>
                  </a:lnTo>
                  <a:lnTo>
                    <a:pt x="556" y="250"/>
                  </a:lnTo>
                  <a:lnTo>
                    <a:pt x="548" y="248"/>
                  </a:lnTo>
                  <a:lnTo>
                    <a:pt x="568" y="245"/>
                  </a:lnTo>
                  <a:lnTo>
                    <a:pt x="554" y="241"/>
                  </a:lnTo>
                  <a:lnTo>
                    <a:pt x="570" y="235"/>
                  </a:lnTo>
                  <a:lnTo>
                    <a:pt x="587" y="235"/>
                  </a:lnTo>
                  <a:lnTo>
                    <a:pt x="587" y="233"/>
                  </a:lnTo>
                  <a:lnTo>
                    <a:pt x="581" y="227"/>
                  </a:lnTo>
                  <a:lnTo>
                    <a:pt x="597" y="227"/>
                  </a:lnTo>
                  <a:lnTo>
                    <a:pt x="577" y="217"/>
                  </a:lnTo>
                  <a:lnTo>
                    <a:pt x="572" y="223"/>
                  </a:lnTo>
                  <a:lnTo>
                    <a:pt x="562" y="223"/>
                  </a:lnTo>
                  <a:lnTo>
                    <a:pt x="564" y="217"/>
                  </a:lnTo>
                  <a:lnTo>
                    <a:pt x="544" y="225"/>
                  </a:lnTo>
                  <a:lnTo>
                    <a:pt x="543" y="221"/>
                  </a:lnTo>
                  <a:lnTo>
                    <a:pt x="556" y="206"/>
                  </a:lnTo>
                  <a:lnTo>
                    <a:pt x="548" y="214"/>
                  </a:lnTo>
                  <a:lnTo>
                    <a:pt x="521" y="212"/>
                  </a:lnTo>
                  <a:lnTo>
                    <a:pt x="541" y="208"/>
                  </a:lnTo>
                  <a:lnTo>
                    <a:pt x="519" y="210"/>
                  </a:lnTo>
                  <a:lnTo>
                    <a:pt x="535" y="206"/>
                  </a:lnTo>
                  <a:lnTo>
                    <a:pt x="521" y="204"/>
                  </a:lnTo>
                  <a:lnTo>
                    <a:pt x="543" y="200"/>
                  </a:lnTo>
                  <a:lnTo>
                    <a:pt x="543" y="198"/>
                  </a:lnTo>
                  <a:lnTo>
                    <a:pt x="527" y="192"/>
                  </a:lnTo>
                  <a:lnTo>
                    <a:pt x="523" y="192"/>
                  </a:lnTo>
                  <a:lnTo>
                    <a:pt x="529" y="183"/>
                  </a:lnTo>
                  <a:lnTo>
                    <a:pt x="513" y="192"/>
                  </a:lnTo>
                  <a:lnTo>
                    <a:pt x="508" y="185"/>
                  </a:lnTo>
                  <a:lnTo>
                    <a:pt x="500" y="190"/>
                  </a:lnTo>
                  <a:lnTo>
                    <a:pt x="506" y="183"/>
                  </a:lnTo>
                  <a:lnTo>
                    <a:pt x="488" y="188"/>
                  </a:lnTo>
                  <a:lnTo>
                    <a:pt x="498" y="179"/>
                  </a:lnTo>
                  <a:lnTo>
                    <a:pt x="486" y="179"/>
                  </a:lnTo>
                  <a:lnTo>
                    <a:pt x="475" y="175"/>
                  </a:lnTo>
                  <a:lnTo>
                    <a:pt x="463" y="173"/>
                  </a:lnTo>
                  <a:lnTo>
                    <a:pt x="484" y="169"/>
                  </a:lnTo>
                  <a:lnTo>
                    <a:pt x="446" y="163"/>
                  </a:lnTo>
                  <a:lnTo>
                    <a:pt x="465" y="161"/>
                  </a:lnTo>
                  <a:lnTo>
                    <a:pt x="446" y="157"/>
                  </a:lnTo>
                  <a:lnTo>
                    <a:pt x="475" y="157"/>
                  </a:lnTo>
                  <a:lnTo>
                    <a:pt x="463" y="153"/>
                  </a:lnTo>
                  <a:lnTo>
                    <a:pt x="480" y="150"/>
                  </a:lnTo>
                  <a:lnTo>
                    <a:pt x="453" y="148"/>
                  </a:lnTo>
                  <a:lnTo>
                    <a:pt x="465" y="144"/>
                  </a:lnTo>
                  <a:lnTo>
                    <a:pt x="451" y="144"/>
                  </a:lnTo>
                  <a:lnTo>
                    <a:pt x="473" y="142"/>
                  </a:lnTo>
                  <a:lnTo>
                    <a:pt x="455" y="140"/>
                  </a:lnTo>
                  <a:lnTo>
                    <a:pt x="508" y="144"/>
                  </a:lnTo>
                  <a:lnTo>
                    <a:pt x="467" y="132"/>
                  </a:lnTo>
                  <a:lnTo>
                    <a:pt x="438" y="132"/>
                  </a:lnTo>
                  <a:lnTo>
                    <a:pt x="508" y="126"/>
                  </a:lnTo>
                  <a:lnTo>
                    <a:pt x="494" y="109"/>
                  </a:lnTo>
                  <a:lnTo>
                    <a:pt x="455" y="124"/>
                  </a:lnTo>
                  <a:lnTo>
                    <a:pt x="436" y="128"/>
                  </a:lnTo>
                  <a:lnTo>
                    <a:pt x="479" y="113"/>
                  </a:lnTo>
                  <a:lnTo>
                    <a:pt x="438" y="119"/>
                  </a:lnTo>
                  <a:lnTo>
                    <a:pt x="496" y="101"/>
                  </a:lnTo>
                  <a:lnTo>
                    <a:pt x="463" y="97"/>
                  </a:lnTo>
                  <a:lnTo>
                    <a:pt x="451" y="99"/>
                  </a:lnTo>
                  <a:lnTo>
                    <a:pt x="465" y="91"/>
                  </a:lnTo>
                  <a:lnTo>
                    <a:pt x="428" y="103"/>
                  </a:lnTo>
                  <a:lnTo>
                    <a:pt x="407" y="117"/>
                  </a:lnTo>
                  <a:lnTo>
                    <a:pt x="418" y="103"/>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10" name="Google Shape;2510;g7826bb8c5e_0_4294"/>
            <p:cNvSpPr/>
            <p:nvPr/>
          </p:nvSpPr>
          <p:spPr>
            <a:xfrm>
              <a:off x="3178578" y="2333913"/>
              <a:ext cx="380115" cy="101033"/>
            </a:xfrm>
            <a:custGeom>
              <a:avLst/>
              <a:gdLst/>
              <a:ahLst/>
              <a:cxnLst/>
              <a:rect l="l" t="t" r="r" b="b"/>
              <a:pathLst>
                <a:path w="729" h="167" extrusionOk="0">
                  <a:moveTo>
                    <a:pt x="182" y="122"/>
                  </a:moveTo>
                  <a:lnTo>
                    <a:pt x="134" y="138"/>
                  </a:lnTo>
                  <a:lnTo>
                    <a:pt x="109" y="126"/>
                  </a:lnTo>
                  <a:lnTo>
                    <a:pt x="132" y="116"/>
                  </a:lnTo>
                  <a:lnTo>
                    <a:pt x="87" y="111"/>
                  </a:lnTo>
                  <a:lnTo>
                    <a:pt x="200" y="99"/>
                  </a:lnTo>
                  <a:lnTo>
                    <a:pt x="151" y="66"/>
                  </a:lnTo>
                  <a:lnTo>
                    <a:pt x="217" y="64"/>
                  </a:lnTo>
                  <a:lnTo>
                    <a:pt x="246" y="74"/>
                  </a:lnTo>
                  <a:lnTo>
                    <a:pt x="229" y="60"/>
                  </a:lnTo>
                  <a:lnTo>
                    <a:pt x="334" y="48"/>
                  </a:lnTo>
                  <a:lnTo>
                    <a:pt x="388" y="35"/>
                  </a:lnTo>
                  <a:lnTo>
                    <a:pt x="277" y="45"/>
                  </a:lnTo>
                  <a:lnTo>
                    <a:pt x="167" y="52"/>
                  </a:lnTo>
                  <a:lnTo>
                    <a:pt x="260" y="41"/>
                  </a:lnTo>
                  <a:lnTo>
                    <a:pt x="149" y="54"/>
                  </a:lnTo>
                  <a:lnTo>
                    <a:pt x="116" y="47"/>
                  </a:lnTo>
                  <a:lnTo>
                    <a:pt x="219" y="39"/>
                  </a:lnTo>
                  <a:lnTo>
                    <a:pt x="111" y="41"/>
                  </a:lnTo>
                  <a:lnTo>
                    <a:pt x="178" y="33"/>
                  </a:lnTo>
                  <a:lnTo>
                    <a:pt x="91" y="31"/>
                  </a:lnTo>
                  <a:lnTo>
                    <a:pt x="208" y="17"/>
                  </a:lnTo>
                  <a:lnTo>
                    <a:pt x="349" y="25"/>
                  </a:lnTo>
                  <a:lnTo>
                    <a:pt x="332" y="4"/>
                  </a:lnTo>
                  <a:lnTo>
                    <a:pt x="444" y="8"/>
                  </a:lnTo>
                  <a:lnTo>
                    <a:pt x="419" y="0"/>
                  </a:lnTo>
                  <a:lnTo>
                    <a:pt x="574" y="8"/>
                  </a:lnTo>
                  <a:lnTo>
                    <a:pt x="729" y="16"/>
                  </a:lnTo>
                  <a:lnTo>
                    <a:pt x="626" y="29"/>
                  </a:lnTo>
                  <a:lnTo>
                    <a:pt x="522" y="43"/>
                  </a:lnTo>
                  <a:lnTo>
                    <a:pt x="644" y="33"/>
                  </a:lnTo>
                  <a:lnTo>
                    <a:pt x="533" y="54"/>
                  </a:lnTo>
                  <a:lnTo>
                    <a:pt x="419" y="76"/>
                  </a:lnTo>
                  <a:lnTo>
                    <a:pt x="314" y="85"/>
                  </a:lnTo>
                  <a:lnTo>
                    <a:pt x="374" y="95"/>
                  </a:lnTo>
                  <a:lnTo>
                    <a:pt x="293" y="101"/>
                  </a:lnTo>
                  <a:lnTo>
                    <a:pt x="359" y="107"/>
                  </a:lnTo>
                  <a:lnTo>
                    <a:pt x="266" y="126"/>
                  </a:lnTo>
                  <a:lnTo>
                    <a:pt x="260" y="140"/>
                  </a:lnTo>
                  <a:lnTo>
                    <a:pt x="184" y="143"/>
                  </a:lnTo>
                  <a:lnTo>
                    <a:pt x="242" y="161"/>
                  </a:lnTo>
                  <a:lnTo>
                    <a:pt x="167" y="167"/>
                  </a:lnTo>
                  <a:lnTo>
                    <a:pt x="84" y="165"/>
                  </a:lnTo>
                  <a:lnTo>
                    <a:pt x="0" y="163"/>
                  </a:lnTo>
                  <a:lnTo>
                    <a:pt x="58" y="145"/>
                  </a:lnTo>
                  <a:lnTo>
                    <a:pt x="47" y="132"/>
                  </a:lnTo>
                  <a:lnTo>
                    <a:pt x="134" y="142"/>
                  </a:lnTo>
                  <a:lnTo>
                    <a:pt x="182" y="122"/>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11" name="Google Shape;2511;g7826bb8c5e_0_4294"/>
            <p:cNvSpPr/>
            <p:nvPr/>
          </p:nvSpPr>
          <p:spPr>
            <a:xfrm>
              <a:off x="2719643" y="2490923"/>
              <a:ext cx="209762" cy="92840"/>
            </a:xfrm>
            <a:custGeom>
              <a:avLst/>
              <a:gdLst/>
              <a:ahLst/>
              <a:cxnLst/>
              <a:rect l="l" t="t" r="r" b="b"/>
              <a:pathLst>
                <a:path w="403" h="153" extrusionOk="0">
                  <a:moveTo>
                    <a:pt x="264" y="138"/>
                  </a:moveTo>
                  <a:lnTo>
                    <a:pt x="250" y="128"/>
                  </a:lnTo>
                  <a:lnTo>
                    <a:pt x="240" y="124"/>
                  </a:lnTo>
                  <a:lnTo>
                    <a:pt x="198" y="139"/>
                  </a:lnTo>
                  <a:lnTo>
                    <a:pt x="130" y="145"/>
                  </a:lnTo>
                  <a:lnTo>
                    <a:pt x="60" y="153"/>
                  </a:lnTo>
                  <a:lnTo>
                    <a:pt x="62" y="136"/>
                  </a:lnTo>
                  <a:lnTo>
                    <a:pt x="0" y="116"/>
                  </a:lnTo>
                  <a:lnTo>
                    <a:pt x="14" y="101"/>
                  </a:lnTo>
                  <a:lnTo>
                    <a:pt x="85" y="97"/>
                  </a:lnTo>
                  <a:lnTo>
                    <a:pt x="157" y="93"/>
                  </a:lnTo>
                  <a:lnTo>
                    <a:pt x="91" y="85"/>
                  </a:lnTo>
                  <a:lnTo>
                    <a:pt x="19" y="81"/>
                  </a:lnTo>
                  <a:lnTo>
                    <a:pt x="14" y="74"/>
                  </a:lnTo>
                  <a:lnTo>
                    <a:pt x="103" y="56"/>
                  </a:lnTo>
                  <a:lnTo>
                    <a:pt x="35" y="58"/>
                  </a:lnTo>
                  <a:lnTo>
                    <a:pt x="54" y="52"/>
                  </a:lnTo>
                  <a:lnTo>
                    <a:pt x="21" y="52"/>
                  </a:lnTo>
                  <a:lnTo>
                    <a:pt x="68" y="33"/>
                  </a:lnTo>
                  <a:lnTo>
                    <a:pt x="66" y="27"/>
                  </a:lnTo>
                  <a:lnTo>
                    <a:pt x="128" y="13"/>
                  </a:lnTo>
                  <a:lnTo>
                    <a:pt x="188" y="0"/>
                  </a:lnTo>
                  <a:lnTo>
                    <a:pt x="194" y="8"/>
                  </a:lnTo>
                  <a:lnTo>
                    <a:pt x="165" y="23"/>
                  </a:lnTo>
                  <a:lnTo>
                    <a:pt x="190" y="19"/>
                  </a:lnTo>
                  <a:lnTo>
                    <a:pt x="211" y="12"/>
                  </a:lnTo>
                  <a:lnTo>
                    <a:pt x="237" y="25"/>
                  </a:lnTo>
                  <a:lnTo>
                    <a:pt x="221" y="33"/>
                  </a:lnTo>
                  <a:lnTo>
                    <a:pt x="233" y="31"/>
                  </a:lnTo>
                  <a:lnTo>
                    <a:pt x="264" y="29"/>
                  </a:lnTo>
                  <a:lnTo>
                    <a:pt x="268" y="19"/>
                  </a:lnTo>
                  <a:lnTo>
                    <a:pt x="271" y="12"/>
                  </a:lnTo>
                  <a:lnTo>
                    <a:pt x="299" y="25"/>
                  </a:lnTo>
                  <a:lnTo>
                    <a:pt x="283" y="54"/>
                  </a:lnTo>
                  <a:lnTo>
                    <a:pt x="308" y="44"/>
                  </a:lnTo>
                  <a:lnTo>
                    <a:pt x="332" y="6"/>
                  </a:lnTo>
                  <a:lnTo>
                    <a:pt x="370" y="6"/>
                  </a:lnTo>
                  <a:lnTo>
                    <a:pt x="378" y="25"/>
                  </a:lnTo>
                  <a:lnTo>
                    <a:pt x="353" y="66"/>
                  </a:lnTo>
                  <a:lnTo>
                    <a:pt x="357" y="85"/>
                  </a:lnTo>
                  <a:lnTo>
                    <a:pt x="365" y="87"/>
                  </a:lnTo>
                  <a:lnTo>
                    <a:pt x="403" y="99"/>
                  </a:lnTo>
                  <a:lnTo>
                    <a:pt x="397" y="107"/>
                  </a:lnTo>
                  <a:lnTo>
                    <a:pt x="380" y="114"/>
                  </a:lnTo>
                  <a:lnTo>
                    <a:pt x="386" y="107"/>
                  </a:lnTo>
                  <a:lnTo>
                    <a:pt x="368" y="112"/>
                  </a:lnTo>
                  <a:lnTo>
                    <a:pt x="359" y="112"/>
                  </a:lnTo>
                  <a:lnTo>
                    <a:pt x="341" y="120"/>
                  </a:lnTo>
                  <a:lnTo>
                    <a:pt x="332" y="118"/>
                  </a:lnTo>
                  <a:lnTo>
                    <a:pt x="320" y="134"/>
                  </a:lnTo>
                  <a:lnTo>
                    <a:pt x="359" y="120"/>
                  </a:lnTo>
                  <a:lnTo>
                    <a:pt x="355" y="128"/>
                  </a:lnTo>
                  <a:lnTo>
                    <a:pt x="341" y="138"/>
                  </a:lnTo>
                  <a:lnTo>
                    <a:pt x="264" y="138"/>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12" name="Google Shape;2512;g7826bb8c5e_0_4294"/>
            <p:cNvSpPr/>
            <p:nvPr/>
          </p:nvSpPr>
          <p:spPr>
            <a:xfrm>
              <a:off x="2657350" y="2471808"/>
              <a:ext cx="151284" cy="61440"/>
            </a:xfrm>
            <a:custGeom>
              <a:avLst/>
              <a:gdLst/>
              <a:ahLst/>
              <a:cxnLst/>
              <a:rect l="l" t="t" r="r" b="b"/>
              <a:pathLst>
                <a:path w="293" h="103" extrusionOk="0">
                  <a:moveTo>
                    <a:pt x="132" y="70"/>
                  </a:moveTo>
                  <a:lnTo>
                    <a:pt x="89" y="91"/>
                  </a:lnTo>
                  <a:lnTo>
                    <a:pt x="23" y="103"/>
                  </a:lnTo>
                  <a:lnTo>
                    <a:pt x="13" y="79"/>
                  </a:lnTo>
                  <a:lnTo>
                    <a:pt x="0" y="70"/>
                  </a:lnTo>
                  <a:lnTo>
                    <a:pt x="42" y="50"/>
                  </a:lnTo>
                  <a:lnTo>
                    <a:pt x="58" y="41"/>
                  </a:lnTo>
                  <a:lnTo>
                    <a:pt x="108" y="17"/>
                  </a:lnTo>
                  <a:lnTo>
                    <a:pt x="106" y="2"/>
                  </a:lnTo>
                  <a:lnTo>
                    <a:pt x="198" y="0"/>
                  </a:lnTo>
                  <a:lnTo>
                    <a:pt x="219" y="6"/>
                  </a:lnTo>
                  <a:lnTo>
                    <a:pt x="227" y="10"/>
                  </a:lnTo>
                  <a:lnTo>
                    <a:pt x="271" y="6"/>
                  </a:lnTo>
                  <a:lnTo>
                    <a:pt x="293" y="27"/>
                  </a:lnTo>
                  <a:lnTo>
                    <a:pt x="229" y="44"/>
                  </a:lnTo>
                  <a:lnTo>
                    <a:pt x="163" y="60"/>
                  </a:lnTo>
                  <a:lnTo>
                    <a:pt x="132" y="7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13" name="Google Shape;2513;g7826bb8c5e_0_4294"/>
            <p:cNvSpPr/>
            <p:nvPr/>
          </p:nvSpPr>
          <p:spPr>
            <a:xfrm>
              <a:off x="3284095" y="2942838"/>
              <a:ext cx="101703" cy="107859"/>
            </a:xfrm>
            <a:custGeom>
              <a:avLst/>
              <a:gdLst/>
              <a:ahLst/>
              <a:cxnLst/>
              <a:rect l="l" t="t" r="r" b="b"/>
              <a:pathLst>
                <a:path w="196" h="181" extrusionOk="0">
                  <a:moveTo>
                    <a:pt x="102" y="144"/>
                  </a:moveTo>
                  <a:lnTo>
                    <a:pt x="102" y="136"/>
                  </a:lnTo>
                  <a:lnTo>
                    <a:pt x="48" y="144"/>
                  </a:lnTo>
                  <a:lnTo>
                    <a:pt x="0" y="140"/>
                  </a:lnTo>
                  <a:lnTo>
                    <a:pt x="11" y="127"/>
                  </a:lnTo>
                  <a:lnTo>
                    <a:pt x="35" y="111"/>
                  </a:lnTo>
                  <a:lnTo>
                    <a:pt x="11" y="111"/>
                  </a:lnTo>
                  <a:lnTo>
                    <a:pt x="21" y="105"/>
                  </a:lnTo>
                  <a:lnTo>
                    <a:pt x="48" y="92"/>
                  </a:lnTo>
                  <a:lnTo>
                    <a:pt x="52" y="94"/>
                  </a:lnTo>
                  <a:lnTo>
                    <a:pt x="58" y="84"/>
                  </a:lnTo>
                  <a:lnTo>
                    <a:pt x="50" y="78"/>
                  </a:lnTo>
                  <a:lnTo>
                    <a:pt x="64" y="72"/>
                  </a:lnTo>
                  <a:lnTo>
                    <a:pt x="95" y="32"/>
                  </a:lnTo>
                  <a:lnTo>
                    <a:pt x="128" y="4"/>
                  </a:lnTo>
                  <a:lnTo>
                    <a:pt x="143" y="0"/>
                  </a:lnTo>
                  <a:lnTo>
                    <a:pt x="157" y="0"/>
                  </a:lnTo>
                  <a:lnTo>
                    <a:pt x="135" y="10"/>
                  </a:lnTo>
                  <a:lnTo>
                    <a:pt x="141" y="16"/>
                  </a:lnTo>
                  <a:lnTo>
                    <a:pt x="128" y="28"/>
                  </a:lnTo>
                  <a:lnTo>
                    <a:pt x="93" y="72"/>
                  </a:lnTo>
                  <a:lnTo>
                    <a:pt x="122" y="51"/>
                  </a:lnTo>
                  <a:lnTo>
                    <a:pt x="116" y="59"/>
                  </a:lnTo>
                  <a:lnTo>
                    <a:pt x="137" y="57"/>
                  </a:lnTo>
                  <a:lnTo>
                    <a:pt x="118" y="68"/>
                  </a:lnTo>
                  <a:lnTo>
                    <a:pt x="118" y="74"/>
                  </a:lnTo>
                  <a:lnTo>
                    <a:pt x="137" y="78"/>
                  </a:lnTo>
                  <a:lnTo>
                    <a:pt x="134" y="86"/>
                  </a:lnTo>
                  <a:lnTo>
                    <a:pt x="163" y="76"/>
                  </a:lnTo>
                  <a:lnTo>
                    <a:pt x="161" y="82"/>
                  </a:lnTo>
                  <a:lnTo>
                    <a:pt x="186" y="80"/>
                  </a:lnTo>
                  <a:lnTo>
                    <a:pt x="166" y="99"/>
                  </a:lnTo>
                  <a:lnTo>
                    <a:pt x="172" y="107"/>
                  </a:lnTo>
                  <a:lnTo>
                    <a:pt x="163" y="115"/>
                  </a:lnTo>
                  <a:lnTo>
                    <a:pt x="196" y="107"/>
                  </a:lnTo>
                  <a:lnTo>
                    <a:pt x="163" y="127"/>
                  </a:lnTo>
                  <a:lnTo>
                    <a:pt x="168" y="134"/>
                  </a:lnTo>
                  <a:lnTo>
                    <a:pt x="165" y="134"/>
                  </a:lnTo>
                  <a:lnTo>
                    <a:pt x="165" y="144"/>
                  </a:lnTo>
                  <a:lnTo>
                    <a:pt x="194" y="123"/>
                  </a:lnTo>
                  <a:lnTo>
                    <a:pt x="180" y="144"/>
                  </a:lnTo>
                  <a:lnTo>
                    <a:pt x="194" y="136"/>
                  </a:lnTo>
                  <a:lnTo>
                    <a:pt x="196" y="148"/>
                  </a:lnTo>
                  <a:lnTo>
                    <a:pt x="170" y="181"/>
                  </a:lnTo>
                  <a:lnTo>
                    <a:pt x="159" y="175"/>
                  </a:lnTo>
                  <a:lnTo>
                    <a:pt x="161" y="163"/>
                  </a:lnTo>
                  <a:lnTo>
                    <a:pt x="143" y="171"/>
                  </a:lnTo>
                  <a:lnTo>
                    <a:pt x="159" y="144"/>
                  </a:lnTo>
                  <a:lnTo>
                    <a:pt x="153" y="136"/>
                  </a:lnTo>
                  <a:lnTo>
                    <a:pt x="135" y="154"/>
                  </a:lnTo>
                  <a:lnTo>
                    <a:pt x="143" y="146"/>
                  </a:lnTo>
                  <a:lnTo>
                    <a:pt x="97" y="173"/>
                  </a:lnTo>
                  <a:lnTo>
                    <a:pt x="95" y="165"/>
                  </a:lnTo>
                  <a:lnTo>
                    <a:pt x="134" y="142"/>
                  </a:lnTo>
                  <a:lnTo>
                    <a:pt x="124" y="146"/>
                  </a:lnTo>
                  <a:lnTo>
                    <a:pt x="130" y="138"/>
                  </a:lnTo>
                  <a:lnTo>
                    <a:pt x="116" y="142"/>
                  </a:lnTo>
                  <a:lnTo>
                    <a:pt x="102" y="150"/>
                  </a:lnTo>
                  <a:lnTo>
                    <a:pt x="91" y="148"/>
                  </a:lnTo>
                  <a:lnTo>
                    <a:pt x="102" y="14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14" name="Google Shape;2514;g7826bb8c5e_0_4294"/>
            <p:cNvSpPr/>
            <p:nvPr/>
          </p:nvSpPr>
          <p:spPr>
            <a:xfrm>
              <a:off x="3085774" y="2430849"/>
              <a:ext cx="180523" cy="35498"/>
            </a:xfrm>
            <a:custGeom>
              <a:avLst/>
              <a:gdLst/>
              <a:ahLst/>
              <a:cxnLst/>
              <a:rect l="l" t="t" r="r" b="b"/>
              <a:pathLst>
                <a:path w="345" h="60" extrusionOk="0">
                  <a:moveTo>
                    <a:pt x="139" y="31"/>
                  </a:moveTo>
                  <a:lnTo>
                    <a:pt x="102" y="16"/>
                  </a:lnTo>
                  <a:lnTo>
                    <a:pt x="153" y="18"/>
                  </a:lnTo>
                  <a:lnTo>
                    <a:pt x="62" y="12"/>
                  </a:lnTo>
                  <a:lnTo>
                    <a:pt x="79" y="0"/>
                  </a:lnTo>
                  <a:lnTo>
                    <a:pt x="0" y="2"/>
                  </a:lnTo>
                  <a:lnTo>
                    <a:pt x="71" y="14"/>
                  </a:lnTo>
                  <a:lnTo>
                    <a:pt x="58" y="37"/>
                  </a:lnTo>
                  <a:lnTo>
                    <a:pt x="46" y="60"/>
                  </a:lnTo>
                  <a:lnTo>
                    <a:pt x="120" y="58"/>
                  </a:lnTo>
                  <a:lnTo>
                    <a:pt x="192" y="56"/>
                  </a:lnTo>
                  <a:lnTo>
                    <a:pt x="263" y="56"/>
                  </a:lnTo>
                  <a:lnTo>
                    <a:pt x="337" y="54"/>
                  </a:lnTo>
                  <a:lnTo>
                    <a:pt x="345" y="41"/>
                  </a:lnTo>
                  <a:lnTo>
                    <a:pt x="291" y="29"/>
                  </a:lnTo>
                  <a:lnTo>
                    <a:pt x="215" y="29"/>
                  </a:lnTo>
                  <a:lnTo>
                    <a:pt x="139" y="3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15" name="Google Shape;2515;g7826bb8c5e_0_4294"/>
            <p:cNvSpPr/>
            <p:nvPr/>
          </p:nvSpPr>
          <p:spPr>
            <a:xfrm>
              <a:off x="3148068" y="2359854"/>
              <a:ext cx="115688" cy="46421"/>
            </a:xfrm>
            <a:custGeom>
              <a:avLst/>
              <a:gdLst/>
              <a:ahLst/>
              <a:cxnLst/>
              <a:rect l="l" t="t" r="r" b="b"/>
              <a:pathLst>
                <a:path w="219" h="77" extrusionOk="0">
                  <a:moveTo>
                    <a:pt x="45" y="21"/>
                  </a:moveTo>
                  <a:lnTo>
                    <a:pt x="29" y="13"/>
                  </a:lnTo>
                  <a:lnTo>
                    <a:pt x="103" y="0"/>
                  </a:lnTo>
                  <a:lnTo>
                    <a:pt x="194" y="15"/>
                  </a:lnTo>
                  <a:lnTo>
                    <a:pt x="172" y="38"/>
                  </a:lnTo>
                  <a:lnTo>
                    <a:pt x="219" y="44"/>
                  </a:lnTo>
                  <a:lnTo>
                    <a:pt x="140" y="60"/>
                  </a:lnTo>
                  <a:lnTo>
                    <a:pt x="105" y="75"/>
                  </a:lnTo>
                  <a:lnTo>
                    <a:pt x="91" y="64"/>
                  </a:lnTo>
                  <a:lnTo>
                    <a:pt x="89" y="77"/>
                  </a:lnTo>
                  <a:lnTo>
                    <a:pt x="12" y="54"/>
                  </a:lnTo>
                  <a:lnTo>
                    <a:pt x="103" y="46"/>
                  </a:lnTo>
                  <a:lnTo>
                    <a:pt x="0" y="35"/>
                  </a:lnTo>
                  <a:lnTo>
                    <a:pt x="45" y="2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16" name="Google Shape;2516;g7826bb8c5e_0_4294"/>
            <p:cNvSpPr/>
            <p:nvPr/>
          </p:nvSpPr>
          <p:spPr>
            <a:xfrm>
              <a:off x="2816262" y="2430849"/>
              <a:ext cx="153826" cy="40959"/>
            </a:xfrm>
            <a:custGeom>
              <a:avLst/>
              <a:gdLst/>
              <a:ahLst/>
              <a:cxnLst/>
              <a:rect l="l" t="t" r="r" b="b"/>
              <a:pathLst>
                <a:path w="295" h="70" extrusionOk="0">
                  <a:moveTo>
                    <a:pt x="80" y="70"/>
                  </a:moveTo>
                  <a:lnTo>
                    <a:pt x="51" y="60"/>
                  </a:lnTo>
                  <a:lnTo>
                    <a:pt x="146" y="45"/>
                  </a:lnTo>
                  <a:lnTo>
                    <a:pt x="72" y="43"/>
                  </a:lnTo>
                  <a:lnTo>
                    <a:pt x="0" y="43"/>
                  </a:lnTo>
                  <a:lnTo>
                    <a:pt x="70" y="33"/>
                  </a:lnTo>
                  <a:lnTo>
                    <a:pt x="39" y="29"/>
                  </a:lnTo>
                  <a:lnTo>
                    <a:pt x="83" y="25"/>
                  </a:lnTo>
                  <a:lnTo>
                    <a:pt x="64" y="18"/>
                  </a:lnTo>
                  <a:lnTo>
                    <a:pt x="147" y="21"/>
                  </a:lnTo>
                  <a:lnTo>
                    <a:pt x="206" y="37"/>
                  </a:lnTo>
                  <a:lnTo>
                    <a:pt x="208" y="12"/>
                  </a:lnTo>
                  <a:lnTo>
                    <a:pt x="258" y="0"/>
                  </a:lnTo>
                  <a:lnTo>
                    <a:pt x="239" y="29"/>
                  </a:lnTo>
                  <a:lnTo>
                    <a:pt x="295" y="27"/>
                  </a:lnTo>
                  <a:lnTo>
                    <a:pt x="250" y="50"/>
                  </a:lnTo>
                  <a:lnTo>
                    <a:pt x="215" y="49"/>
                  </a:lnTo>
                  <a:lnTo>
                    <a:pt x="147" y="58"/>
                  </a:lnTo>
                  <a:lnTo>
                    <a:pt x="80" y="7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17" name="Google Shape;2517;g7826bb8c5e_0_4294"/>
            <p:cNvSpPr/>
            <p:nvPr/>
          </p:nvSpPr>
          <p:spPr>
            <a:xfrm>
              <a:off x="3020938" y="2637011"/>
              <a:ext cx="96617" cy="55976"/>
            </a:xfrm>
            <a:custGeom>
              <a:avLst/>
              <a:gdLst/>
              <a:ahLst/>
              <a:cxnLst/>
              <a:rect l="l" t="t" r="r" b="b"/>
              <a:pathLst>
                <a:path w="184" h="91" extrusionOk="0">
                  <a:moveTo>
                    <a:pt x="130" y="68"/>
                  </a:moveTo>
                  <a:lnTo>
                    <a:pt x="112" y="62"/>
                  </a:lnTo>
                  <a:lnTo>
                    <a:pt x="114" y="58"/>
                  </a:lnTo>
                  <a:lnTo>
                    <a:pt x="100" y="64"/>
                  </a:lnTo>
                  <a:lnTo>
                    <a:pt x="38" y="91"/>
                  </a:lnTo>
                  <a:lnTo>
                    <a:pt x="37" y="72"/>
                  </a:lnTo>
                  <a:lnTo>
                    <a:pt x="0" y="74"/>
                  </a:lnTo>
                  <a:lnTo>
                    <a:pt x="38" y="55"/>
                  </a:lnTo>
                  <a:lnTo>
                    <a:pt x="62" y="27"/>
                  </a:lnTo>
                  <a:lnTo>
                    <a:pt x="87" y="0"/>
                  </a:lnTo>
                  <a:lnTo>
                    <a:pt x="100" y="8"/>
                  </a:lnTo>
                  <a:lnTo>
                    <a:pt x="99" y="20"/>
                  </a:lnTo>
                  <a:lnTo>
                    <a:pt x="112" y="14"/>
                  </a:lnTo>
                  <a:lnTo>
                    <a:pt x="159" y="45"/>
                  </a:lnTo>
                  <a:lnTo>
                    <a:pt x="143" y="62"/>
                  </a:lnTo>
                  <a:lnTo>
                    <a:pt x="180" y="62"/>
                  </a:lnTo>
                  <a:lnTo>
                    <a:pt x="184" y="70"/>
                  </a:lnTo>
                  <a:lnTo>
                    <a:pt x="153" y="80"/>
                  </a:lnTo>
                  <a:lnTo>
                    <a:pt x="130" y="68"/>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18" name="Google Shape;2518;g7826bb8c5e_0_4294"/>
            <p:cNvSpPr/>
            <p:nvPr/>
          </p:nvSpPr>
          <p:spPr>
            <a:xfrm>
              <a:off x="2949746" y="2485461"/>
              <a:ext cx="86448" cy="39595"/>
            </a:xfrm>
            <a:custGeom>
              <a:avLst/>
              <a:gdLst/>
              <a:ahLst/>
              <a:cxnLst/>
              <a:rect l="l" t="t" r="r" b="b"/>
              <a:pathLst>
                <a:path w="165" h="68" extrusionOk="0">
                  <a:moveTo>
                    <a:pt x="165" y="0"/>
                  </a:moveTo>
                  <a:lnTo>
                    <a:pt x="70" y="0"/>
                  </a:lnTo>
                  <a:lnTo>
                    <a:pt x="80" y="16"/>
                  </a:lnTo>
                  <a:lnTo>
                    <a:pt x="58" y="27"/>
                  </a:lnTo>
                  <a:lnTo>
                    <a:pt x="0" y="29"/>
                  </a:lnTo>
                  <a:lnTo>
                    <a:pt x="35" y="49"/>
                  </a:lnTo>
                  <a:lnTo>
                    <a:pt x="70" y="68"/>
                  </a:lnTo>
                  <a:lnTo>
                    <a:pt x="76" y="56"/>
                  </a:lnTo>
                  <a:lnTo>
                    <a:pt x="120" y="56"/>
                  </a:lnTo>
                  <a:lnTo>
                    <a:pt x="142" y="27"/>
                  </a:lnTo>
                  <a:lnTo>
                    <a:pt x="165"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19" name="Google Shape;2519;g7826bb8c5e_0_4294"/>
            <p:cNvSpPr/>
            <p:nvPr/>
          </p:nvSpPr>
          <p:spPr>
            <a:xfrm>
              <a:off x="3029838" y="2477270"/>
              <a:ext cx="88990" cy="38229"/>
            </a:xfrm>
            <a:custGeom>
              <a:avLst/>
              <a:gdLst/>
              <a:ahLst/>
              <a:cxnLst/>
              <a:rect l="l" t="t" r="r" b="b"/>
              <a:pathLst>
                <a:path w="171" h="64" extrusionOk="0">
                  <a:moveTo>
                    <a:pt x="105" y="36"/>
                  </a:moveTo>
                  <a:lnTo>
                    <a:pt x="49" y="40"/>
                  </a:lnTo>
                  <a:lnTo>
                    <a:pt x="56" y="46"/>
                  </a:lnTo>
                  <a:lnTo>
                    <a:pt x="29" y="62"/>
                  </a:lnTo>
                  <a:lnTo>
                    <a:pt x="0" y="64"/>
                  </a:lnTo>
                  <a:lnTo>
                    <a:pt x="6" y="60"/>
                  </a:lnTo>
                  <a:lnTo>
                    <a:pt x="37" y="15"/>
                  </a:lnTo>
                  <a:lnTo>
                    <a:pt x="56" y="13"/>
                  </a:lnTo>
                  <a:lnTo>
                    <a:pt x="53" y="5"/>
                  </a:lnTo>
                  <a:lnTo>
                    <a:pt x="74" y="0"/>
                  </a:lnTo>
                  <a:lnTo>
                    <a:pt x="171" y="5"/>
                  </a:lnTo>
                  <a:lnTo>
                    <a:pt x="146" y="17"/>
                  </a:lnTo>
                  <a:lnTo>
                    <a:pt x="105" y="36"/>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20" name="Google Shape;2520;g7826bb8c5e_0_4294"/>
            <p:cNvSpPr/>
            <p:nvPr/>
          </p:nvSpPr>
          <p:spPr>
            <a:xfrm>
              <a:off x="2255623" y="2957857"/>
              <a:ext cx="48309" cy="53246"/>
            </a:xfrm>
            <a:custGeom>
              <a:avLst/>
              <a:gdLst/>
              <a:ahLst/>
              <a:cxnLst/>
              <a:rect l="l" t="t" r="r" b="b"/>
              <a:pathLst>
                <a:path w="91" h="87" extrusionOk="0">
                  <a:moveTo>
                    <a:pt x="64" y="60"/>
                  </a:moveTo>
                  <a:lnTo>
                    <a:pt x="58" y="64"/>
                  </a:lnTo>
                  <a:lnTo>
                    <a:pt x="35" y="64"/>
                  </a:lnTo>
                  <a:lnTo>
                    <a:pt x="43" y="56"/>
                  </a:lnTo>
                  <a:lnTo>
                    <a:pt x="33" y="54"/>
                  </a:lnTo>
                  <a:lnTo>
                    <a:pt x="18" y="50"/>
                  </a:lnTo>
                  <a:lnTo>
                    <a:pt x="39" y="40"/>
                  </a:lnTo>
                  <a:lnTo>
                    <a:pt x="20" y="33"/>
                  </a:lnTo>
                  <a:lnTo>
                    <a:pt x="18" y="25"/>
                  </a:lnTo>
                  <a:lnTo>
                    <a:pt x="6" y="23"/>
                  </a:lnTo>
                  <a:lnTo>
                    <a:pt x="4" y="17"/>
                  </a:lnTo>
                  <a:lnTo>
                    <a:pt x="20" y="9"/>
                  </a:lnTo>
                  <a:lnTo>
                    <a:pt x="12" y="9"/>
                  </a:lnTo>
                  <a:lnTo>
                    <a:pt x="0" y="0"/>
                  </a:lnTo>
                  <a:lnTo>
                    <a:pt x="33" y="7"/>
                  </a:lnTo>
                  <a:lnTo>
                    <a:pt x="64" y="13"/>
                  </a:lnTo>
                  <a:lnTo>
                    <a:pt x="72" y="31"/>
                  </a:lnTo>
                  <a:lnTo>
                    <a:pt x="88" y="52"/>
                  </a:lnTo>
                  <a:lnTo>
                    <a:pt x="89" y="81"/>
                  </a:lnTo>
                  <a:lnTo>
                    <a:pt x="91" y="87"/>
                  </a:lnTo>
                  <a:lnTo>
                    <a:pt x="47" y="73"/>
                  </a:lnTo>
                  <a:lnTo>
                    <a:pt x="64" y="6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21" name="Google Shape;2521;g7826bb8c5e_0_4294"/>
            <p:cNvSpPr/>
            <p:nvPr/>
          </p:nvSpPr>
          <p:spPr>
            <a:xfrm>
              <a:off x="2774308" y="2419926"/>
              <a:ext cx="111873" cy="25942"/>
            </a:xfrm>
            <a:custGeom>
              <a:avLst/>
              <a:gdLst/>
              <a:ahLst/>
              <a:cxnLst/>
              <a:rect l="l" t="t" r="r" b="b"/>
              <a:pathLst>
                <a:path w="213" h="44" extrusionOk="0">
                  <a:moveTo>
                    <a:pt x="128" y="23"/>
                  </a:moveTo>
                  <a:lnTo>
                    <a:pt x="132" y="19"/>
                  </a:lnTo>
                  <a:lnTo>
                    <a:pt x="104" y="27"/>
                  </a:lnTo>
                  <a:lnTo>
                    <a:pt x="81" y="35"/>
                  </a:lnTo>
                  <a:lnTo>
                    <a:pt x="77" y="31"/>
                  </a:lnTo>
                  <a:lnTo>
                    <a:pt x="62" y="42"/>
                  </a:lnTo>
                  <a:lnTo>
                    <a:pt x="40" y="44"/>
                  </a:lnTo>
                  <a:lnTo>
                    <a:pt x="40" y="36"/>
                  </a:lnTo>
                  <a:lnTo>
                    <a:pt x="23" y="40"/>
                  </a:lnTo>
                  <a:lnTo>
                    <a:pt x="0" y="40"/>
                  </a:lnTo>
                  <a:lnTo>
                    <a:pt x="13" y="31"/>
                  </a:lnTo>
                  <a:lnTo>
                    <a:pt x="91" y="15"/>
                  </a:lnTo>
                  <a:lnTo>
                    <a:pt x="143" y="2"/>
                  </a:lnTo>
                  <a:lnTo>
                    <a:pt x="180" y="0"/>
                  </a:lnTo>
                  <a:lnTo>
                    <a:pt x="213" y="3"/>
                  </a:lnTo>
                  <a:lnTo>
                    <a:pt x="184" y="11"/>
                  </a:lnTo>
                  <a:lnTo>
                    <a:pt x="190" y="15"/>
                  </a:lnTo>
                  <a:lnTo>
                    <a:pt x="180" y="17"/>
                  </a:lnTo>
                  <a:lnTo>
                    <a:pt x="145" y="25"/>
                  </a:lnTo>
                  <a:lnTo>
                    <a:pt x="126" y="33"/>
                  </a:lnTo>
                  <a:lnTo>
                    <a:pt x="128" y="23"/>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22" name="Google Shape;2522;g7826bb8c5e_0_4294"/>
            <p:cNvSpPr/>
            <p:nvPr/>
          </p:nvSpPr>
          <p:spPr>
            <a:xfrm>
              <a:off x="2999327" y="2433579"/>
              <a:ext cx="68650" cy="27306"/>
            </a:xfrm>
            <a:custGeom>
              <a:avLst/>
              <a:gdLst/>
              <a:ahLst/>
              <a:cxnLst/>
              <a:rect l="l" t="t" r="r" b="b"/>
              <a:pathLst>
                <a:path w="132" h="44" extrusionOk="0">
                  <a:moveTo>
                    <a:pt x="62" y="13"/>
                  </a:moveTo>
                  <a:lnTo>
                    <a:pt x="41" y="8"/>
                  </a:lnTo>
                  <a:lnTo>
                    <a:pt x="48" y="10"/>
                  </a:lnTo>
                  <a:lnTo>
                    <a:pt x="33" y="13"/>
                  </a:lnTo>
                  <a:lnTo>
                    <a:pt x="33" y="19"/>
                  </a:lnTo>
                  <a:lnTo>
                    <a:pt x="33" y="23"/>
                  </a:lnTo>
                  <a:lnTo>
                    <a:pt x="0" y="27"/>
                  </a:lnTo>
                  <a:lnTo>
                    <a:pt x="85" y="25"/>
                  </a:lnTo>
                  <a:lnTo>
                    <a:pt x="33" y="35"/>
                  </a:lnTo>
                  <a:lnTo>
                    <a:pt x="31" y="41"/>
                  </a:lnTo>
                  <a:lnTo>
                    <a:pt x="81" y="44"/>
                  </a:lnTo>
                  <a:lnTo>
                    <a:pt x="87" y="39"/>
                  </a:lnTo>
                  <a:lnTo>
                    <a:pt x="93" y="35"/>
                  </a:lnTo>
                  <a:lnTo>
                    <a:pt x="110" y="35"/>
                  </a:lnTo>
                  <a:lnTo>
                    <a:pt x="118" y="27"/>
                  </a:lnTo>
                  <a:lnTo>
                    <a:pt x="109" y="25"/>
                  </a:lnTo>
                  <a:lnTo>
                    <a:pt x="132" y="8"/>
                  </a:lnTo>
                  <a:lnTo>
                    <a:pt x="126" y="0"/>
                  </a:lnTo>
                  <a:lnTo>
                    <a:pt x="103" y="4"/>
                  </a:lnTo>
                  <a:lnTo>
                    <a:pt x="68" y="2"/>
                  </a:lnTo>
                  <a:lnTo>
                    <a:pt x="81" y="13"/>
                  </a:lnTo>
                  <a:lnTo>
                    <a:pt x="70" y="15"/>
                  </a:lnTo>
                  <a:lnTo>
                    <a:pt x="62" y="13"/>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23" name="Google Shape;2523;g7826bb8c5e_0_4294"/>
            <p:cNvSpPr/>
            <p:nvPr/>
          </p:nvSpPr>
          <p:spPr>
            <a:xfrm>
              <a:off x="3029838" y="2388526"/>
              <a:ext cx="58479" cy="24576"/>
            </a:xfrm>
            <a:custGeom>
              <a:avLst/>
              <a:gdLst/>
              <a:ahLst/>
              <a:cxnLst/>
              <a:rect l="l" t="t" r="r" b="b"/>
              <a:pathLst>
                <a:path w="115" h="41" extrusionOk="0">
                  <a:moveTo>
                    <a:pt x="72" y="8"/>
                  </a:moveTo>
                  <a:lnTo>
                    <a:pt x="74" y="6"/>
                  </a:lnTo>
                  <a:lnTo>
                    <a:pt x="103" y="8"/>
                  </a:lnTo>
                  <a:lnTo>
                    <a:pt x="113" y="12"/>
                  </a:lnTo>
                  <a:lnTo>
                    <a:pt x="109" y="23"/>
                  </a:lnTo>
                  <a:lnTo>
                    <a:pt x="115" y="33"/>
                  </a:lnTo>
                  <a:lnTo>
                    <a:pt x="86" y="41"/>
                  </a:lnTo>
                  <a:lnTo>
                    <a:pt x="55" y="27"/>
                  </a:lnTo>
                  <a:lnTo>
                    <a:pt x="0" y="25"/>
                  </a:lnTo>
                  <a:lnTo>
                    <a:pt x="12" y="18"/>
                  </a:lnTo>
                  <a:lnTo>
                    <a:pt x="39" y="16"/>
                  </a:lnTo>
                  <a:lnTo>
                    <a:pt x="37" y="8"/>
                  </a:lnTo>
                  <a:lnTo>
                    <a:pt x="18" y="10"/>
                  </a:lnTo>
                  <a:lnTo>
                    <a:pt x="12" y="2"/>
                  </a:lnTo>
                  <a:lnTo>
                    <a:pt x="72" y="0"/>
                  </a:lnTo>
                  <a:lnTo>
                    <a:pt x="72" y="8"/>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24" name="Google Shape;2524;g7826bb8c5e_0_4294"/>
            <p:cNvSpPr/>
            <p:nvPr/>
          </p:nvSpPr>
          <p:spPr>
            <a:xfrm>
              <a:off x="2930677" y="2556457"/>
              <a:ext cx="53394" cy="27306"/>
            </a:xfrm>
            <a:custGeom>
              <a:avLst/>
              <a:gdLst/>
              <a:ahLst/>
              <a:cxnLst/>
              <a:rect l="l" t="t" r="r" b="b"/>
              <a:pathLst>
                <a:path w="103" h="47" extrusionOk="0">
                  <a:moveTo>
                    <a:pt x="87" y="24"/>
                  </a:moveTo>
                  <a:lnTo>
                    <a:pt x="91" y="20"/>
                  </a:lnTo>
                  <a:lnTo>
                    <a:pt x="62" y="0"/>
                  </a:lnTo>
                  <a:lnTo>
                    <a:pt x="49" y="12"/>
                  </a:lnTo>
                  <a:lnTo>
                    <a:pt x="45" y="10"/>
                  </a:lnTo>
                  <a:lnTo>
                    <a:pt x="37" y="20"/>
                  </a:lnTo>
                  <a:lnTo>
                    <a:pt x="0" y="28"/>
                  </a:lnTo>
                  <a:lnTo>
                    <a:pt x="60" y="47"/>
                  </a:lnTo>
                  <a:lnTo>
                    <a:pt x="103" y="33"/>
                  </a:lnTo>
                  <a:lnTo>
                    <a:pt x="91" y="33"/>
                  </a:lnTo>
                  <a:lnTo>
                    <a:pt x="87" y="2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25" name="Google Shape;2525;g7826bb8c5e_0_4294"/>
            <p:cNvSpPr/>
            <p:nvPr/>
          </p:nvSpPr>
          <p:spPr>
            <a:xfrm>
              <a:off x="3224345" y="2486827"/>
              <a:ext cx="50852" cy="17749"/>
            </a:xfrm>
            <a:custGeom>
              <a:avLst/>
              <a:gdLst/>
              <a:ahLst/>
              <a:cxnLst/>
              <a:rect l="l" t="t" r="r" b="b"/>
              <a:pathLst>
                <a:path w="101" h="27" extrusionOk="0">
                  <a:moveTo>
                    <a:pt x="70" y="0"/>
                  </a:moveTo>
                  <a:lnTo>
                    <a:pt x="6" y="2"/>
                  </a:lnTo>
                  <a:lnTo>
                    <a:pt x="0" y="12"/>
                  </a:lnTo>
                  <a:lnTo>
                    <a:pt x="8" y="18"/>
                  </a:lnTo>
                  <a:lnTo>
                    <a:pt x="20" y="27"/>
                  </a:lnTo>
                  <a:lnTo>
                    <a:pt x="101" y="23"/>
                  </a:lnTo>
                  <a:lnTo>
                    <a:pt x="70"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26" name="Google Shape;2526;g7826bb8c5e_0_4294"/>
            <p:cNvSpPr/>
            <p:nvPr/>
          </p:nvSpPr>
          <p:spPr>
            <a:xfrm>
              <a:off x="3198918" y="2587860"/>
              <a:ext cx="34325" cy="21845"/>
            </a:xfrm>
            <a:custGeom>
              <a:avLst/>
              <a:gdLst/>
              <a:ahLst/>
              <a:cxnLst/>
              <a:rect l="l" t="t" r="r" b="b"/>
              <a:pathLst>
                <a:path w="64" h="37" extrusionOk="0">
                  <a:moveTo>
                    <a:pt x="56" y="23"/>
                  </a:moveTo>
                  <a:lnTo>
                    <a:pt x="6" y="37"/>
                  </a:lnTo>
                  <a:lnTo>
                    <a:pt x="0" y="19"/>
                  </a:lnTo>
                  <a:lnTo>
                    <a:pt x="41" y="0"/>
                  </a:lnTo>
                  <a:lnTo>
                    <a:pt x="64" y="10"/>
                  </a:lnTo>
                  <a:lnTo>
                    <a:pt x="56" y="23"/>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27" name="Google Shape;2527;g7826bb8c5e_0_4294"/>
            <p:cNvSpPr/>
            <p:nvPr/>
          </p:nvSpPr>
          <p:spPr>
            <a:xfrm>
              <a:off x="3099758" y="2395351"/>
              <a:ext cx="38138" cy="17749"/>
            </a:xfrm>
            <a:custGeom>
              <a:avLst/>
              <a:gdLst/>
              <a:ahLst/>
              <a:cxnLst/>
              <a:rect l="l" t="t" r="r" b="b"/>
              <a:pathLst>
                <a:path w="72" h="27" extrusionOk="0">
                  <a:moveTo>
                    <a:pt x="0" y="13"/>
                  </a:moveTo>
                  <a:lnTo>
                    <a:pt x="10" y="0"/>
                  </a:lnTo>
                  <a:lnTo>
                    <a:pt x="72" y="11"/>
                  </a:lnTo>
                  <a:lnTo>
                    <a:pt x="64" y="17"/>
                  </a:lnTo>
                  <a:lnTo>
                    <a:pt x="8" y="27"/>
                  </a:lnTo>
                  <a:lnTo>
                    <a:pt x="2" y="19"/>
                  </a:lnTo>
                  <a:lnTo>
                    <a:pt x="0" y="13"/>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28" name="Google Shape;2528;g7826bb8c5e_0_4294"/>
            <p:cNvSpPr/>
            <p:nvPr/>
          </p:nvSpPr>
          <p:spPr>
            <a:xfrm>
              <a:off x="3059078" y="2449964"/>
              <a:ext cx="38138" cy="15019"/>
            </a:xfrm>
            <a:custGeom>
              <a:avLst/>
              <a:gdLst/>
              <a:ahLst/>
              <a:cxnLst/>
              <a:rect l="l" t="t" r="r" b="b"/>
              <a:pathLst>
                <a:path w="74" h="25" extrusionOk="0">
                  <a:moveTo>
                    <a:pt x="20" y="23"/>
                  </a:moveTo>
                  <a:lnTo>
                    <a:pt x="0" y="19"/>
                  </a:lnTo>
                  <a:lnTo>
                    <a:pt x="57" y="0"/>
                  </a:lnTo>
                  <a:lnTo>
                    <a:pt x="74" y="16"/>
                  </a:lnTo>
                  <a:lnTo>
                    <a:pt x="66" y="25"/>
                  </a:lnTo>
                  <a:lnTo>
                    <a:pt x="20" y="23"/>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29" name="Google Shape;2529;g7826bb8c5e_0_4294"/>
            <p:cNvSpPr/>
            <p:nvPr/>
          </p:nvSpPr>
          <p:spPr>
            <a:xfrm>
              <a:off x="2910337" y="2482731"/>
              <a:ext cx="31782" cy="19115"/>
            </a:xfrm>
            <a:custGeom>
              <a:avLst/>
              <a:gdLst/>
              <a:ahLst/>
              <a:cxnLst/>
              <a:rect l="l" t="t" r="r" b="b"/>
              <a:pathLst>
                <a:path w="61" h="27" extrusionOk="0">
                  <a:moveTo>
                    <a:pt x="18" y="27"/>
                  </a:moveTo>
                  <a:lnTo>
                    <a:pt x="0" y="8"/>
                  </a:lnTo>
                  <a:lnTo>
                    <a:pt x="53" y="0"/>
                  </a:lnTo>
                  <a:lnTo>
                    <a:pt x="61" y="8"/>
                  </a:lnTo>
                  <a:lnTo>
                    <a:pt x="18" y="27"/>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30" name="Google Shape;2530;g7826bb8c5e_0_4294"/>
            <p:cNvSpPr/>
            <p:nvPr/>
          </p:nvSpPr>
          <p:spPr>
            <a:xfrm>
              <a:off x="3384527" y="2327086"/>
              <a:ext cx="687768" cy="430071"/>
            </a:xfrm>
            <a:custGeom>
              <a:avLst/>
              <a:gdLst/>
              <a:ahLst/>
              <a:cxnLst/>
              <a:rect l="l" t="t" r="r" b="b"/>
              <a:pathLst>
                <a:path w="1316" h="708" extrusionOk="0">
                  <a:moveTo>
                    <a:pt x="279" y="514"/>
                  </a:moveTo>
                  <a:lnTo>
                    <a:pt x="244" y="522"/>
                  </a:lnTo>
                  <a:lnTo>
                    <a:pt x="230" y="532"/>
                  </a:lnTo>
                  <a:lnTo>
                    <a:pt x="228" y="539"/>
                  </a:lnTo>
                  <a:lnTo>
                    <a:pt x="252" y="537"/>
                  </a:lnTo>
                  <a:lnTo>
                    <a:pt x="240" y="543"/>
                  </a:lnTo>
                  <a:lnTo>
                    <a:pt x="225" y="561"/>
                  </a:lnTo>
                  <a:lnTo>
                    <a:pt x="244" y="553"/>
                  </a:lnTo>
                  <a:lnTo>
                    <a:pt x="259" y="549"/>
                  </a:lnTo>
                  <a:lnTo>
                    <a:pt x="265" y="530"/>
                  </a:lnTo>
                  <a:lnTo>
                    <a:pt x="269" y="539"/>
                  </a:lnTo>
                  <a:lnTo>
                    <a:pt x="281" y="543"/>
                  </a:lnTo>
                  <a:lnTo>
                    <a:pt x="285" y="557"/>
                  </a:lnTo>
                  <a:lnTo>
                    <a:pt x="267" y="549"/>
                  </a:lnTo>
                  <a:lnTo>
                    <a:pt x="269" y="557"/>
                  </a:lnTo>
                  <a:lnTo>
                    <a:pt x="240" y="565"/>
                  </a:lnTo>
                  <a:lnTo>
                    <a:pt x="265" y="563"/>
                  </a:lnTo>
                  <a:lnTo>
                    <a:pt x="273" y="563"/>
                  </a:lnTo>
                  <a:lnTo>
                    <a:pt x="232" y="570"/>
                  </a:lnTo>
                  <a:lnTo>
                    <a:pt x="244" y="574"/>
                  </a:lnTo>
                  <a:lnTo>
                    <a:pt x="232" y="584"/>
                  </a:lnTo>
                  <a:lnTo>
                    <a:pt x="246" y="584"/>
                  </a:lnTo>
                  <a:lnTo>
                    <a:pt x="240" y="588"/>
                  </a:lnTo>
                  <a:lnTo>
                    <a:pt x="238" y="590"/>
                  </a:lnTo>
                  <a:lnTo>
                    <a:pt x="252" y="592"/>
                  </a:lnTo>
                  <a:lnTo>
                    <a:pt x="236" y="594"/>
                  </a:lnTo>
                  <a:lnTo>
                    <a:pt x="254" y="599"/>
                  </a:lnTo>
                  <a:lnTo>
                    <a:pt x="252" y="607"/>
                  </a:lnTo>
                  <a:lnTo>
                    <a:pt x="261" y="607"/>
                  </a:lnTo>
                  <a:lnTo>
                    <a:pt x="254" y="613"/>
                  </a:lnTo>
                  <a:lnTo>
                    <a:pt x="250" y="619"/>
                  </a:lnTo>
                  <a:lnTo>
                    <a:pt x="261" y="631"/>
                  </a:lnTo>
                  <a:lnTo>
                    <a:pt x="259" y="636"/>
                  </a:lnTo>
                  <a:lnTo>
                    <a:pt x="271" y="636"/>
                  </a:lnTo>
                  <a:lnTo>
                    <a:pt x="267" y="644"/>
                  </a:lnTo>
                  <a:lnTo>
                    <a:pt x="273" y="642"/>
                  </a:lnTo>
                  <a:lnTo>
                    <a:pt x="273" y="648"/>
                  </a:lnTo>
                  <a:lnTo>
                    <a:pt x="277" y="652"/>
                  </a:lnTo>
                  <a:lnTo>
                    <a:pt x="267" y="654"/>
                  </a:lnTo>
                  <a:lnTo>
                    <a:pt x="281" y="656"/>
                  </a:lnTo>
                  <a:lnTo>
                    <a:pt x="275" y="660"/>
                  </a:lnTo>
                  <a:lnTo>
                    <a:pt x="277" y="660"/>
                  </a:lnTo>
                  <a:lnTo>
                    <a:pt x="275" y="665"/>
                  </a:lnTo>
                  <a:lnTo>
                    <a:pt x="288" y="663"/>
                  </a:lnTo>
                  <a:lnTo>
                    <a:pt x="288" y="671"/>
                  </a:lnTo>
                  <a:lnTo>
                    <a:pt x="285" y="673"/>
                  </a:lnTo>
                  <a:lnTo>
                    <a:pt x="288" y="675"/>
                  </a:lnTo>
                  <a:lnTo>
                    <a:pt x="287" y="677"/>
                  </a:lnTo>
                  <a:lnTo>
                    <a:pt x="298" y="679"/>
                  </a:lnTo>
                  <a:lnTo>
                    <a:pt x="316" y="675"/>
                  </a:lnTo>
                  <a:lnTo>
                    <a:pt x="347" y="665"/>
                  </a:lnTo>
                  <a:lnTo>
                    <a:pt x="345" y="673"/>
                  </a:lnTo>
                  <a:lnTo>
                    <a:pt x="358" y="667"/>
                  </a:lnTo>
                  <a:lnTo>
                    <a:pt x="339" y="679"/>
                  </a:lnTo>
                  <a:lnTo>
                    <a:pt x="354" y="679"/>
                  </a:lnTo>
                  <a:lnTo>
                    <a:pt x="343" y="689"/>
                  </a:lnTo>
                  <a:lnTo>
                    <a:pt x="358" y="685"/>
                  </a:lnTo>
                  <a:lnTo>
                    <a:pt x="356" y="689"/>
                  </a:lnTo>
                  <a:lnTo>
                    <a:pt x="368" y="689"/>
                  </a:lnTo>
                  <a:lnTo>
                    <a:pt x="356" y="700"/>
                  </a:lnTo>
                  <a:lnTo>
                    <a:pt x="372" y="693"/>
                  </a:lnTo>
                  <a:lnTo>
                    <a:pt x="356" y="702"/>
                  </a:lnTo>
                  <a:lnTo>
                    <a:pt x="362" y="708"/>
                  </a:lnTo>
                  <a:lnTo>
                    <a:pt x="385" y="698"/>
                  </a:lnTo>
                  <a:lnTo>
                    <a:pt x="403" y="706"/>
                  </a:lnTo>
                  <a:lnTo>
                    <a:pt x="407" y="700"/>
                  </a:lnTo>
                  <a:lnTo>
                    <a:pt x="401" y="696"/>
                  </a:lnTo>
                  <a:lnTo>
                    <a:pt x="385" y="689"/>
                  </a:lnTo>
                  <a:lnTo>
                    <a:pt x="413" y="691"/>
                  </a:lnTo>
                  <a:lnTo>
                    <a:pt x="418" y="687"/>
                  </a:lnTo>
                  <a:lnTo>
                    <a:pt x="413" y="681"/>
                  </a:lnTo>
                  <a:lnTo>
                    <a:pt x="416" y="681"/>
                  </a:lnTo>
                  <a:lnTo>
                    <a:pt x="413" y="677"/>
                  </a:lnTo>
                  <a:lnTo>
                    <a:pt x="428" y="677"/>
                  </a:lnTo>
                  <a:lnTo>
                    <a:pt x="413" y="671"/>
                  </a:lnTo>
                  <a:lnTo>
                    <a:pt x="426" y="671"/>
                  </a:lnTo>
                  <a:lnTo>
                    <a:pt x="428" y="667"/>
                  </a:lnTo>
                  <a:lnTo>
                    <a:pt x="426" y="663"/>
                  </a:lnTo>
                  <a:lnTo>
                    <a:pt x="436" y="662"/>
                  </a:lnTo>
                  <a:lnTo>
                    <a:pt x="430" y="656"/>
                  </a:lnTo>
                  <a:lnTo>
                    <a:pt x="442" y="656"/>
                  </a:lnTo>
                  <a:lnTo>
                    <a:pt x="440" y="650"/>
                  </a:lnTo>
                  <a:lnTo>
                    <a:pt x="449" y="640"/>
                  </a:lnTo>
                  <a:lnTo>
                    <a:pt x="451" y="636"/>
                  </a:lnTo>
                  <a:lnTo>
                    <a:pt x="444" y="627"/>
                  </a:lnTo>
                  <a:lnTo>
                    <a:pt x="449" y="627"/>
                  </a:lnTo>
                  <a:lnTo>
                    <a:pt x="440" y="615"/>
                  </a:lnTo>
                  <a:lnTo>
                    <a:pt x="461" y="607"/>
                  </a:lnTo>
                  <a:lnTo>
                    <a:pt x="478" y="607"/>
                  </a:lnTo>
                  <a:lnTo>
                    <a:pt x="473" y="601"/>
                  </a:lnTo>
                  <a:lnTo>
                    <a:pt x="473" y="598"/>
                  </a:lnTo>
                  <a:lnTo>
                    <a:pt x="484" y="598"/>
                  </a:lnTo>
                  <a:lnTo>
                    <a:pt x="486" y="592"/>
                  </a:lnTo>
                  <a:lnTo>
                    <a:pt x="492" y="594"/>
                  </a:lnTo>
                  <a:lnTo>
                    <a:pt x="490" y="590"/>
                  </a:lnTo>
                  <a:lnTo>
                    <a:pt x="496" y="588"/>
                  </a:lnTo>
                  <a:lnTo>
                    <a:pt x="506" y="584"/>
                  </a:lnTo>
                  <a:lnTo>
                    <a:pt x="494" y="578"/>
                  </a:lnTo>
                  <a:lnTo>
                    <a:pt x="515" y="578"/>
                  </a:lnTo>
                  <a:lnTo>
                    <a:pt x="511" y="567"/>
                  </a:lnTo>
                  <a:lnTo>
                    <a:pt x="496" y="561"/>
                  </a:lnTo>
                  <a:lnTo>
                    <a:pt x="521" y="555"/>
                  </a:lnTo>
                  <a:lnTo>
                    <a:pt x="521" y="534"/>
                  </a:lnTo>
                  <a:lnTo>
                    <a:pt x="546" y="532"/>
                  </a:lnTo>
                  <a:lnTo>
                    <a:pt x="544" y="522"/>
                  </a:lnTo>
                  <a:lnTo>
                    <a:pt x="562" y="520"/>
                  </a:lnTo>
                  <a:lnTo>
                    <a:pt x="572" y="516"/>
                  </a:lnTo>
                  <a:lnTo>
                    <a:pt x="599" y="510"/>
                  </a:lnTo>
                  <a:lnTo>
                    <a:pt x="597" y="508"/>
                  </a:lnTo>
                  <a:lnTo>
                    <a:pt x="612" y="495"/>
                  </a:lnTo>
                  <a:lnTo>
                    <a:pt x="624" y="495"/>
                  </a:lnTo>
                  <a:lnTo>
                    <a:pt x="612" y="506"/>
                  </a:lnTo>
                  <a:lnTo>
                    <a:pt x="626" y="508"/>
                  </a:lnTo>
                  <a:lnTo>
                    <a:pt x="665" y="499"/>
                  </a:lnTo>
                  <a:lnTo>
                    <a:pt x="665" y="493"/>
                  </a:lnTo>
                  <a:lnTo>
                    <a:pt x="678" y="493"/>
                  </a:lnTo>
                  <a:lnTo>
                    <a:pt x="699" y="487"/>
                  </a:lnTo>
                  <a:lnTo>
                    <a:pt x="705" y="483"/>
                  </a:lnTo>
                  <a:lnTo>
                    <a:pt x="729" y="462"/>
                  </a:lnTo>
                  <a:lnTo>
                    <a:pt x="765" y="444"/>
                  </a:lnTo>
                  <a:lnTo>
                    <a:pt x="767" y="433"/>
                  </a:lnTo>
                  <a:lnTo>
                    <a:pt x="771" y="423"/>
                  </a:lnTo>
                  <a:lnTo>
                    <a:pt x="798" y="439"/>
                  </a:lnTo>
                  <a:lnTo>
                    <a:pt x="812" y="435"/>
                  </a:lnTo>
                  <a:lnTo>
                    <a:pt x="825" y="431"/>
                  </a:lnTo>
                  <a:lnTo>
                    <a:pt x="833" y="431"/>
                  </a:lnTo>
                  <a:lnTo>
                    <a:pt x="887" y="419"/>
                  </a:lnTo>
                  <a:lnTo>
                    <a:pt x="942" y="408"/>
                  </a:lnTo>
                  <a:lnTo>
                    <a:pt x="959" y="400"/>
                  </a:lnTo>
                  <a:lnTo>
                    <a:pt x="979" y="390"/>
                  </a:lnTo>
                  <a:lnTo>
                    <a:pt x="990" y="384"/>
                  </a:lnTo>
                  <a:lnTo>
                    <a:pt x="1006" y="377"/>
                  </a:lnTo>
                  <a:lnTo>
                    <a:pt x="1021" y="371"/>
                  </a:lnTo>
                  <a:lnTo>
                    <a:pt x="948" y="363"/>
                  </a:lnTo>
                  <a:lnTo>
                    <a:pt x="887" y="375"/>
                  </a:lnTo>
                  <a:lnTo>
                    <a:pt x="886" y="369"/>
                  </a:lnTo>
                  <a:lnTo>
                    <a:pt x="928" y="359"/>
                  </a:lnTo>
                  <a:lnTo>
                    <a:pt x="866" y="359"/>
                  </a:lnTo>
                  <a:lnTo>
                    <a:pt x="897" y="347"/>
                  </a:lnTo>
                  <a:lnTo>
                    <a:pt x="897" y="344"/>
                  </a:lnTo>
                  <a:lnTo>
                    <a:pt x="901" y="342"/>
                  </a:lnTo>
                  <a:lnTo>
                    <a:pt x="955" y="338"/>
                  </a:lnTo>
                  <a:lnTo>
                    <a:pt x="953" y="328"/>
                  </a:lnTo>
                  <a:lnTo>
                    <a:pt x="951" y="328"/>
                  </a:lnTo>
                  <a:lnTo>
                    <a:pt x="901" y="326"/>
                  </a:lnTo>
                  <a:lnTo>
                    <a:pt x="918" y="322"/>
                  </a:lnTo>
                  <a:lnTo>
                    <a:pt x="897" y="311"/>
                  </a:lnTo>
                  <a:lnTo>
                    <a:pt x="946" y="326"/>
                  </a:lnTo>
                  <a:lnTo>
                    <a:pt x="986" y="342"/>
                  </a:lnTo>
                  <a:lnTo>
                    <a:pt x="1004" y="361"/>
                  </a:lnTo>
                  <a:lnTo>
                    <a:pt x="1023" y="355"/>
                  </a:lnTo>
                  <a:lnTo>
                    <a:pt x="1027" y="349"/>
                  </a:lnTo>
                  <a:lnTo>
                    <a:pt x="1031" y="361"/>
                  </a:lnTo>
                  <a:lnTo>
                    <a:pt x="1043" y="355"/>
                  </a:lnTo>
                  <a:lnTo>
                    <a:pt x="1043" y="344"/>
                  </a:lnTo>
                  <a:lnTo>
                    <a:pt x="1044" y="328"/>
                  </a:lnTo>
                  <a:lnTo>
                    <a:pt x="1029" y="332"/>
                  </a:lnTo>
                  <a:lnTo>
                    <a:pt x="1037" y="322"/>
                  </a:lnTo>
                  <a:lnTo>
                    <a:pt x="1027" y="324"/>
                  </a:lnTo>
                  <a:lnTo>
                    <a:pt x="1021" y="320"/>
                  </a:lnTo>
                  <a:lnTo>
                    <a:pt x="1029" y="314"/>
                  </a:lnTo>
                  <a:lnTo>
                    <a:pt x="973" y="301"/>
                  </a:lnTo>
                  <a:lnTo>
                    <a:pt x="965" y="305"/>
                  </a:lnTo>
                  <a:lnTo>
                    <a:pt x="967" y="299"/>
                  </a:lnTo>
                  <a:lnTo>
                    <a:pt x="988" y="291"/>
                  </a:lnTo>
                  <a:lnTo>
                    <a:pt x="953" y="291"/>
                  </a:lnTo>
                  <a:lnTo>
                    <a:pt x="940" y="291"/>
                  </a:lnTo>
                  <a:lnTo>
                    <a:pt x="932" y="287"/>
                  </a:lnTo>
                  <a:lnTo>
                    <a:pt x="982" y="280"/>
                  </a:lnTo>
                  <a:lnTo>
                    <a:pt x="930" y="280"/>
                  </a:lnTo>
                  <a:lnTo>
                    <a:pt x="928" y="282"/>
                  </a:lnTo>
                  <a:lnTo>
                    <a:pt x="928" y="278"/>
                  </a:lnTo>
                  <a:lnTo>
                    <a:pt x="944" y="272"/>
                  </a:lnTo>
                  <a:lnTo>
                    <a:pt x="938" y="268"/>
                  </a:lnTo>
                  <a:lnTo>
                    <a:pt x="975" y="270"/>
                  </a:lnTo>
                  <a:lnTo>
                    <a:pt x="986" y="262"/>
                  </a:lnTo>
                  <a:lnTo>
                    <a:pt x="981" y="256"/>
                  </a:lnTo>
                  <a:lnTo>
                    <a:pt x="1000" y="262"/>
                  </a:lnTo>
                  <a:lnTo>
                    <a:pt x="1023" y="260"/>
                  </a:lnTo>
                  <a:lnTo>
                    <a:pt x="1041" y="264"/>
                  </a:lnTo>
                  <a:lnTo>
                    <a:pt x="1012" y="264"/>
                  </a:lnTo>
                  <a:lnTo>
                    <a:pt x="1056" y="272"/>
                  </a:lnTo>
                  <a:lnTo>
                    <a:pt x="1093" y="262"/>
                  </a:lnTo>
                  <a:lnTo>
                    <a:pt x="1095" y="254"/>
                  </a:lnTo>
                  <a:lnTo>
                    <a:pt x="1064" y="254"/>
                  </a:lnTo>
                  <a:lnTo>
                    <a:pt x="1062" y="258"/>
                  </a:lnTo>
                  <a:lnTo>
                    <a:pt x="1052" y="247"/>
                  </a:lnTo>
                  <a:lnTo>
                    <a:pt x="1064" y="235"/>
                  </a:lnTo>
                  <a:lnTo>
                    <a:pt x="1126" y="241"/>
                  </a:lnTo>
                  <a:lnTo>
                    <a:pt x="1122" y="229"/>
                  </a:lnTo>
                  <a:lnTo>
                    <a:pt x="1097" y="229"/>
                  </a:lnTo>
                  <a:lnTo>
                    <a:pt x="1091" y="218"/>
                  </a:lnTo>
                  <a:lnTo>
                    <a:pt x="1068" y="218"/>
                  </a:lnTo>
                  <a:lnTo>
                    <a:pt x="1095" y="214"/>
                  </a:lnTo>
                  <a:lnTo>
                    <a:pt x="1068" y="208"/>
                  </a:lnTo>
                  <a:lnTo>
                    <a:pt x="1070" y="202"/>
                  </a:lnTo>
                  <a:lnTo>
                    <a:pt x="1124" y="216"/>
                  </a:lnTo>
                  <a:lnTo>
                    <a:pt x="1122" y="194"/>
                  </a:lnTo>
                  <a:lnTo>
                    <a:pt x="1081" y="192"/>
                  </a:lnTo>
                  <a:lnTo>
                    <a:pt x="1126" y="188"/>
                  </a:lnTo>
                  <a:lnTo>
                    <a:pt x="1101" y="187"/>
                  </a:lnTo>
                  <a:lnTo>
                    <a:pt x="1087" y="181"/>
                  </a:lnTo>
                  <a:lnTo>
                    <a:pt x="1079" y="181"/>
                  </a:lnTo>
                  <a:lnTo>
                    <a:pt x="1066" y="171"/>
                  </a:lnTo>
                  <a:lnTo>
                    <a:pt x="1103" y="167"/>
                  </a:lnTo>
                  <a:lnTo>
                    <a:pt x="1165" y="167"/>
                  </a:lnTo>
                  <a:lnTo>
                    <a:pt x="1163" y="154"/>
                  </a:lnTo>
                  <a:lnTo>
                    <a:pt x="1128" y="152"/>
                  </a:lnTo>
                  <a:lnTo>
                    <a:pt x="1110" y="146"/>
                  </a:lnTo>
                  <a:lnTo>
                    <a:pt x="1153" y="146"/>
                  </a:lnTo>
                  <a:lnTo>
                    <a:pt x="1108" y="138"/>
                  </a:lnTo>
                  <a:lnTo>
                    <a:pt x="1099" y="146"/>
                  </a:lnTo>
                  <a:lnTo>
                    <a:pt x="1089" y="140"/>
                  </a:lnTo>
                  <a:lnTo>
                    <a:pt x="1108" y="119"/>
                  </a:lnTo>
                  <a:lnTo>
                    <a:pt x="1141" y="109"/>
                  </a:lnTo>
                  <a:lnTo>
                    <a:pt x="1155" y="101"/>
                  </a:lnTo>
                  <a:lnTo>
                    <a:pt x="1143" y="103"/>
                  </a:lnTo>
                  <a:lnTo>
                    <a:pt x="1161" y="86"/>
                  </a:lnTo>
                  <a:lnTo>
                    <a:pt x="1188" y="86"/>
                  </a:lnTo>
                  <a:lnTo>
                    <a:pt x="1190" y="76"/>
                  </a:lnTo>
                  <a:lnTo>
                    <a:pt x="1139" y="86"/>
                  </a:lnTo>
                  <a:lnTo>
                    <a:pt x="1134" y="80"/>
                  </a:lnTo>
                  <a:lnTo>
                    <a:pt x="1180" y="74"/>
                  </a:lnTo>
                  <a:lnTo>
                    <a:pt x="1229" y="68"/>
                  </a:lnTo>
                  <a:lnTo>
                    <a:pt x="1139" y="66"/>
                  </a:lnTo>
                  <a:lnTo>
                    <a:pt x="1264" y="59"/>
                  </a:lnTo>
                  <a:lnTo>
                    <a:pt x="1258" y="55"/>
                  </a:lnTo>
                  <a:lnTo>
                    <a:pt x="1316" y="43"/>
                  </a:lnTo>
                  <a:lnTo>
                    <a:pt x="1240" y="37"/>
                  </a:lnTo>
                  <a:lnTo>
                    <a:pt x="1200" y="43"/>
                  </a:lnTo>
                  <a:lnTo>
                    <a:pt x="1155" y="47"/>
                  </a:lnTo>
                  <a:lnTo>
                    <a:pt x="1151" y="43"/>
                  </a:lnTo>
                  <a:lnTo>
                    <a:pt x="1070" y="66"/>
                  </a:lnTo>
                  <a:lnTo>
                    <a:pt x="1099" y="51"/>
                  </a:lnTo>
                  <a:lnTo>
                    <a:pt x="1118" y="35"/>
                  </a:lnTo>
                  <a:lnTo>
                    <a:pt x="1087" y="33"/>
                  </a:lnTo>
                  <a:lnTo>
                    <a:pt x="1076" y="39"/>
                  </a:lnTo>
                  <a:lnTo>
                    <a:pt x="1015" y="47"/>
                  </a:lnTo>
                  <a:lnTo>
                    <a:pt x="1046" y="41"/>
                  </a:lnTo>
                  <a:lnTo>
                    <a:pt x="1054" y="35"/>
                  </a:lnTo>
                  <a:lnTo>
                    <a:pt x="907" y="41"/>
                  </a:lnTo>
                  <a:lnTo>
                    <a:pt x="950" y="31"/>
                  </a:lnTo>
                  <a:lnTo>
                    <a:pt x="1037" y="31"/>
                  </a:lnTo>
                  <a:lnTo>
                    <a:pt x="1134" y="22"/>
                  </a:lnTo>
                  <a:lnTo>
                    <a:pt x="1066" y="16"/>
                  </a:lnTo>
                  <a:lnTo>
                    <a:pt x="1068" y="10"/>
                  </a:lnTo>
                  <a:lnTo>
                    <a:pt x="868" y="14"/>
                  </a:lnTo>
                  <a:lnTo>
                    <a:pt x="895" y="12"/>
                  </a:lnTo>
                  <a:lnTo>
                    <a:pt x="1048" y="8"/>
                  </a:lnTo>
                  <a:lnTo>
                    <a:pt x="986" y="0"/>
                  </a:lnTo>
                  <a:lnTo>
                    <a:pt x="798" y="4"/>
                  </a:lnTo>
                  <a:lnTo>
                    <a:pt x="810" y="8"/>
                  </a:lnTo>
                  <a:lnTo>
                    <a:pt x="794" y="12"/>
                  </a:lnTo>
                  <a:lnTo>
                    <a:pt x="791" y="14"/>
                  </a:lnTo>
                  <a:lnTo>
                    <a:pt x="744" y="10"/>
                  </a:lnTo>
                  <a:lnTo>
                    <a:pt x="676" y="8"/>
                  </a:lnTo>
                  <a:lnTo>
                    <a:pt x="688" y="14"/>
                  </a:lnTo>
                  <a:lnTo>
                    <a:pt x="639" y="12"/>
                  </a:lnTo>
                  <a:lnTo>
                    <a:pt x="723" y="16"/>
                  </a:lnTo>
                  <a:lnTo>
                    <a:pt x="765" y="24"/>
                  </a:lnTo>
                  <a:lnTo>
                    <a:pt x="727" y="18"/>
                  </a:lnTo>
                  <a:lnTo>
                    <a:pt x="727" y="20"/>
                  </a:lnTo>
                  <a:lnTo>
                    <a:pt x="666" y="18"/>
                  </a:lnTo>
                  <a:lnTo>
                    <a:pt x="692" y="28"/>
                  </a:lnTo>
                  <a:lnTo>
                    <a:pt x="670" y="28"/>
                  </a:lnTo>
                  <a:lnTo>
                    <a:pt x="668" y="33"/>
                  </a:lnTo>
                  <a:lnTo>
                    <a:pt x="665" y="37"/>
                  </a:lnTo>
                  <a:lnTo>
                    <a:pt x="554" y="24"/>
                  </a:lnTo>
                  <a:lnTo>
                    <a:pt x="546" y="37"/>
                  </a:lnTo>
                  <a:lnTo>
                    <a:pt x="548" y="41"/>
                  </a:lnTo>
                  <a:lnTo>
                    <a:pt x="498" y="33"/>
                  </a:lnTo>
                  <a:lnTo>
                    <a:pt x="475" y="45"/>
                  </a:lnTo>
                  <a:lnTo>
                    <a:pt x="469" y="45"/>
                  </a:lnTo>
                  <a:lnTo>
                    <a:pt x="477" y="28"/>
                  </a:lnTo>
                  <a:lnTo>
                    <a:pt x="366" y="33"/>
                  </a:lnTo>
                  <a:lnTo>
                    <a:pt x="399" y="47"/>
                  </a:lnTo>
                  <a:lnTo>
                    <a:pt x="370" y="41"/>
                  </a:lnTo>
                  <a:lnTo>
                    <a:pt x="321" y="39"/>
                  </a:lnTo>
                  <a:lnTo>
                    <a:pt x="321" y="45"/>
                  </a:lnTo>
                  <a:lnTo>
                    <a:pt x="314" y="53"/>
                  </a:lnTo>
                  <a:lnTo>
                    <a:pt x="273" y="53"/>
                  </a:lnTo>
                  <a:lnTo>
                    <a:pt x="267" y="60"/>
                  </a:lnTo>
                  <a:lnTo>
                    <a:pt x="261" y="55"/>
                  </a:lnTo>
                  <a:lnTo>
                    <a:pt x="159" y="76"/>
                  </a:lnTo>
                  <a:lnTo>
                    <a:pt x="223" y="76"/>
                  </a:lnTo>
                  <a:lnTo>
                    <a:pt x="205" y="80"/>
                  </a:lnTo>
                  <a:lnTo>
                    <a:pt x="201" y="88"/>
                  </a:lnTo>
                  <a:lnTo>
                    <a:pt x="178" y="99"/>
                  </a:lnTo>
                  <a:lnTo>
                    <a:pt x="97" y="109"/>
                  </a:lnTo>
                  <a:lnTo>
                    <a:pt x="9" y="123"/>
                  </a:lnTo>
                  <a:lnTo>
                    <a:pt x="4" y="128"/>
                  </a:lnTo>
                  <a:lnTo>
                    <a:pt x="4" y="136"/>
                  </a:lnTo>
                  <a:lnTo>
                    <a:pt x="50" y="140"/>
                  </a:lnTo>
                  <a:lnTo>
                    <a:pt x="42" y="146"/>
                  </a:lnTo>
                  <a:lnTo>
                    <a:pt x="38" y="148"/>
                  </a:lnTo>
                  <a:lnTo>
                    <a:pt x="71" y="150"/>
                  </a:lnTo>
                  <a:lnTo>
                    <a:pt x="118" y="146"/>
                  </a:lnTo>
                  <a:lnTo>
                    <a:pt x="112" y="155"/>
                  </a:lnTo>
                  <a:lnTo>
                    <a:pt x="54" y="157"/>
                  </a:lnTo>
                  <a:lnTo>
                    <a:pt x="100" y="159"/>
                  </a:lnTo>
                  <a:lnTo>
                    <a:pt x="81" y="159"/>
                  </a:lnTo>
                  <a:lnTo>
                    <a:pt x="0" y="163"/>
                  </a:lnTo>
                  <a:lnTo>
                    <a:pt x="29" y="167"/>
                  </a:lnTo>
                  <a:lnTo>
                    <a:pt x="52" y="175"/>
                  </a:lnTo>
                  <a:lnTo>
                    <a:pt x="25" y="181"/>
                  </a:lnTo>
                  <a:lnTo>
                    <a:pt x="81" y="194"/>
                  </a:lnTo>
                  <a:lnTo>
                    <a:pt x="73" y="188"/>
                  </a:lnTo>
                  <a:lnTo>
                    <a:pt x="89" y="188"/>
                  </a:lnTo>
                  <a:lnTo>
                    <a:pt x="102" y="188"/>
                  </a:lnTo>
                  <a:lnTo>
                    <a:pt x="139" y="185"/>
                  </a:lnTo>
                  <a:lnTo>
                    <a:pt x="157" y="183"/>
                  </a:lnTo>
                  <a:lnTo>
                    <a:pt x="257" y="200"/>
                  </a:lnTo>
                  <a:lnTo>
                    <a:pt x="250" y="212"/>
                  </a:lnTo>
                  <a:lnTo>
                    <a:pt x="271" y="225"/>
                  </a:lnTo>
                  <a:lnTo>
                    <a:pt x="279" y="233"/>
                  </a:lnTo>
                  <a:lnTo>
                    <a:pt x="273" y="239"/>
                  </a:lnTo>
                  <a:lnTo>
                    <a:pt x="263" y="245"/>
                  </a:lnTo>
                  <a:lnTo>
                    <a:pt x="279" y="245"/>
                  </a:lnTo>
                  <a:lnTo>
                    <a:pt x="281" y="258"/>
                  </a:lnTo>
                  <a:lnTo>
                    <a:pt x="283" y="266"/>
                  </a:lnTo>
                  <a:lnTo>
                    <a:pt x="279" y="276"/>
                  </a:lnTo>
                  <a:lnTo>
                    <a:pt x="287" y="280"/>
                  </a:lnTo>
                  <a:lnTo>
                    <a:pt x="283" y="295"/>
                  </a:lnTo>
                  <a:lnTo>
                    <a:pt x="269" y="301"/>
                  </a:lnTo>
                  <a:lnTo>
                    <a:pt x="261" y="311"/>
                  </a:lnTo>
                  <a:lnTo>
                    <a:pt x="279" y="311"/>
                  </a:lnTo>
                  <a:lnTo>
                    <a:pt x="246" y="320"/>
                  </a:lnTo>
                  <a:lnTo>
                    <a:pt x="259" y="332"/>
                  </a:lnTo>
                  <a:lnTo>
                    <a:pt x="288" y="324"/>
                  </a:lnTo>
                  <a:lnTo>
                    <a:pt x="302" y="301"/>
                  </a:lnTo>
                  <a:lnTo>
                    <a:pt x="306" y="318"/>
                  </a:lnTo>
                  <a:lnTo>
                    <a:pt x="321" y="313"/>
                  </a:lnTo>
                  <a:lnTo>
                    <a:pt x="316" y="318"/>
                  </a:lnTo>
                  <a:lnTo>
                    <a:pt x="337" y="324"/>
                  </a:lnTo>
                  <a:lnTo>
                    <a:pt x="316" y="328"/>
                  </a:lnTo>
                  <a:lnTo>
                    <a:pt x="339" y="328"/>
                  </a:lnTo>
                  <a:lnTo>
                    <a:pt x="321" y="336"/>
                  </a:lnTo>
                  <a:lnTo>
                    <a:pt x="333" y="334"/>
                  </a:lnTo>
                  <a:lnTo>
                    <a:pt x="327" y="336"/>
                  </a:lnTo>
                  <a:lnTo>
                    <a:pt x="343" y="344"/>
                  </a:lnTo>
                  <a:lnTo>
                    <a:pt x="329" y="342"/>
                  </a:lnTo>
                  <a:lnTo>
                    <a:pt x="347" y="349"/>
                  </a:lnTo>
                  <a:lnTo>
                    <a:pt x="345" y="349"/>
                  </a:lnTo>
                  <a:lnTo>
                    <a:pt x="343" y="357"/>
                  </a:lnTo>
                  <a:lnTo>
                    <a:pt x="347" y="361"/>
                  </a:lnTo>
                  <a:lnTo>
                    <a:pt x="269" y="349"/>
                  </a:lnTo>
                  <a:lnTo>
                    <a:pt x="263" y="359"/>
                  </a:lnTo>
                  <a:lnTo>
                    <a:pt x="345" y="377"/>
                  </a:lnTo>
                  <a:lnTo>
                    <a:pt x="331" y="384"/>
                  </a:lnTo>
                  <a:lnTo>
                    <a:pt x="335" y="390"/>
                  </a:lnTo>
                  <a:lnTo>
                    <a:pt x="327" y="396"/>
                  </a:lnTo>
                  <a:lnTo>
                    <a:pt x="329" y="400"/>
                  </a:lnTo>
                  <a:lnTo>
                    <a:pt x="337" y="402"/>
                  </a:lnTo>
                  <a:lnTo>
                    <a:pt x="339" y="406"/>
                  </a:lnTo>
                  <a:lnTo>
                    <a:pt x="325" y="404"/>
                  </a:lnTo>
                  <a:lnTo>
                    <a:pt x="314" y="411"/>
                  </a:lnTo>
                  <a:lnTo>
                    <a:pt x="323" y="411"/>
                  </a:lnTo>
                  <a:lnTo>
                    <a:pt x="259" y="429"/>
                  </a:lnTo>
                  <a:lnTo>
                    <a:pt x="265" y="433"/>
                  </a:lnTo>
                  <a:lnTo>
                    <a:pt x="302" y="429"/>
                  </a:lnTo>
                  <a:lnTo>
                    <a:pt x="316" y="423"/>
                  </a:lnTo>
                  <a:lnTo>
                    <a:pt x="304" y="433"/>
                  </a:lnTo>
                  <a:lnTo>
                    <a:pt x="314" y="439"/>
                  </a:lnTo>
                  <a:lnTo>
                    <a:pt x="265" y="435"/>
                  </a:lnTo>
                  <a:lnTo>
                    <a:pt x="254" y="433"/>
                  </a:lnTo>
                  <a:lnTo>
                    <a:pt x="273" y="441"/>
                  </a:lnTo>
                  <a:lnTo>
                    <a:pt x="248" y="439"/>
                  </a:lnTo>
                  <a:lnTo>
                    <a:pt x="232" y="450"/>
                  </a:lnTo>
                  <a:lnTo>
                    <a:pt x="279" y="442"/>
                  </a:lnTo>
                  <a:lnTo>
                    <a:pt x="273" y="444"/>
                  </a:lnTo>
                  <a:lnTo>
                    <a:pt x="290" y="446"/>
                  </a:lnTo>
                  <a:lnTo>
                    <a:pt x="304" y="442"/>
                  </a:lnTo>
                  <a:lnTo>
                    <a:pt x="314" y="444"/>
                  </a:lnTo>
                  <a:lnTo>
                    <a:pt x="300" y="448"/>
                  </a:lnTo>
                  <a:lnTo>
                    <a:pt x="318" y="448"/>
                  </a:lnTo>
                  <a:lnTo>
                    <a:pt x="308" y="450"/>
                  </a:lnTo>
                  <a:lnTo>
                    <a:pt x="312" y="456"/>
                  </a:lnTo>
                  <a:lnTo>
                    <a:pt x="267" y="448"/>
                  </a:lnTo>
                  <a:lnTo>
                    <a:pt x="223" y="460"/>
                  </a:lnTo>
                  <a:lnTo>
                    <a:pt x="283" y="460"/>
                  </a:lnTo>
                  <a:lnTo>
                    <a:pt x="298" y="466"/>
                  </a:lnTo>
                  <a:lnTo>
                    <a:pt x="283" y="462"/>
                  </a:lnTo>
                  <a:lnTo>
                    <a:pt x="223" y="466"/>
                  </a:lnTo>
                  <a:lnTo>
                    <a:pt x="228" y="472"/>
                  </a:lnTo>
                  <a:lnTo>
                    <a:pt x="254" y="473"/>
                  </a:lnTo>
                  <a:lnTo>
                    <a:pt x="240" y="477"/>
                  </a:lnTo>
                  <a:lnTo>
                    <a:pt x="236" y="481"/>
                  </a:lnTo>
                  <a:lnTo>
                    <a:pt x="228" y="481"/>
                  </a:lnTo>
                  <a:lnTo>
                    <a:pt x="244" y="487"/>
                  </a:lnTo>
                  <a:lnTo>
                    <a:pt x="221" y="487"/>
                  </a:lnTo>
                  <a:lnTo>
                    <a:pt x="217" y="497"/>
                  </a:lnTo>
                  <a:lnTo>
                    <a:pt x="261" y="485"/>
                  </a:lnTo>
                  <a:lnTo>
                    <a:pt x="308" y="472"/>
                  </a:lnTo>
                  <a:lnTo>
                    <a:pt x="296" y="477"/>
                  </a:lnTo>
                  <a:lnTo>
                    <a:pt x="215" y="503"/>
                  </a:lnTo>
                  <a:lnTo>
                    <a:pt x="226" y="504"/>
                  </a:lnTo>
                  <a:lnTo>
                    <a:pt x="217" y="508"/>
                  </a:lnTo>
                  <a:lnTo>
                    <a:pt x="257" y="503"/>
                  </a:lnTo>
                  <a:lnTo>
                    <a:pt x="221" y="512"/>
                  </a:lnTo>
                  <a:lnTo>
                    <a:pt x="225" y="516"/>
                  </a:lnTo>
                  <a:lnTo>
                    <a:pt x="228" y="520"/>
                  </a:lnTo>
                  <a:lnTo>
                    <a:pt x="246" y="520"/>
                  </a:lnTo>
                  <a:lnTo>
                    <a:pt x="279" y="51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31" name="Google Shape;2531;g7826bb8c5e_0_4294"/>
            <p:cNvSpPr/>
            <p:nvPr/>
          </p:nvSpPr>
          <p:spPr>
            <a:xfrm>
              <a:off x="3509113" y="2548265"/>
              <a:ext cx="34325" cy="19115"/>
            </a:xfrm>
            <a:custGeom>
              <a:avLst/>
              <a:gdLst/>
              <a:ahLst/>
              <a:cxnLst/>
              <a:rect l="l" t="t" r="r" b="b"/>
              <a:pathLst>
                <a:path w="66" h="31" extrusionOk="0">
                  <a:moveTo>
                    <a:pt x="66" y="21"/>
                  </a:moveTo>
                  <a:lnTo>
                    <a:pt x="17" y="0"/>
                  </a:lnTo>
                  <a:lnTo>
                    <a:pt x="2" y="8"/>
                  </a:lnTo>
                  <a:lnTo>
                    <a:pt x="4" y="10"/>
                  </a:lnTo>
                  <a:lnTo>
                    <a:pt x="0" y="17"/>
                  </a:lnTo>
                  <a:lnTo>
                    <a:pt x="6" y="23"/>
                  </a:lnTo>
                  <a:lnTo>
                    <a:pt x="19" y="27"/>
                  </a:lnTo>
                  <a:lnTo>
                    <a:pt x="12" y="31"/>
                  </a:lnTo>
                  <a:lnTo>
                    <a:pt x="66" y="2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32" name="Google Shape;2532;g7826bb8c5e_0_4294"/>
            <p:cNvSpPr/>
            <p:nvPr/>
          </p:nvSpPr>
          <p:spPr>
            <a:xfrm>
              <a:off x="3877787" y="2624722"/>
              <a:ext cx="141113" cy="60074"/>
            </a:xfrm>
            <a:custGeom>
              <a:avLst/>
              <a:gdLst/>
              <a:ahLst/>
              <a:cxnLst/>
              <a:rect l="l" t="t" r="r" b="b"/>
              <a:pathLst>
                <a:path w="271" h="101" extrusionOk="0">
                  <a:moveTo>
                    <a:pt x="207" y="0"/>
                  </a:moveTo>
                  <a:lnTo>
                    <a:pt x="205" y="8"/>
                  </a:lnTo>
                  <a:lnTo>
                    <a:pt x="180" y="14"/>
                  </a:lnTo>
                  <a:lnTo>
                    <a:pt x="162" y="12"/>
                  </a:lnTo>
                  <a:lnTo>
                    <a:pt x="159" y="25"/>
                  </a:lnTo>
                  <a:lnTo>
                    <a:pt x="157" y="19"/>
                  </a:lnTo>
                  <a:lnTo>
                    <a:pt x="135" y="12"/>
                  </a:lnTo>
                  <a:lnTo>
                    <a:pt x="128" y="21"/>
                  </a:lnTo>
                  <a:lnTo>
                    <a:pt x="110" y="12"/>
                  </a:lnTo>
                  <a:lnTo>
                    <a:pt x="95" y="31"/>
                  </a:lnTo>
                  <a:lnTo>
                    <a:pt x="81" y="37"/>
                  </a:lnTo>
                  <a:lnTo>
                    <a:pt x="71" y="27"/>
                  </a:lnTo>
                  <a:lnTo>
                    <a:pt x="79" y="21"/>
                  </a:lnTo>
                  <a:lnTo>
                    <a:pt x="42" y="0"/>
                  </a:lnTo>
                  <a:lnTo>
                    <a:pt x="48" y="8"/>
                  </a:lnTo>
                  <a:lnTo>
                    <a:pt x="52" y="19"/>
                  </a:lnTo>
                  <a:lnTo>
                    <a:pt x="35" y="12"/>
                  </a:lnTo>
                  <a:lnTo>
                    <a:pt x="27" y="15"/>
                  </a:lnTo>
                  <a:lnTo>
                    <a:pt x="25" y="19"/>
                  </a:lnTo>
                  <a:lnTo>
                    <a:pt x="31" y="23"/>
                  </a:lnTo>
                  <a:lnTo>
                    <a:pt x="29" y="23"/>
                  </a:lnTo>
                  <a:lnTo>
                    <a:pt x="7" y="21"/>
                  </a:lnTo>
                  <a:lnTo>
                    <a:pt x="13" y="29"/>
                  </a:lnTo>
                  <a:lnTo>
                    <a:pt x="0" y="29"/>
                  </a:lnTo>
                  <a:lnTo>
                    <a:pt x="58" y="33"/>
                  </a:lnTo>
                  <a:lnTo>
                    <a:pt x="48" y="39"/>
                  </a:lnTo>
                  <a:lnTo>
                    <a:pt x="56" y="45"/>
                  </a:lnTo>
                  <a:lnTo>
                    <a:pt x="5" y="50"/>
                  </a:lnTo>
                  <a:lnTo>
                    <a:pt x="46" y="60"/>
                  </a:lnTo>
                  <a:lnTo>
                    <a:pt x="58" y="64"/>
                  </a:lnTo>
                  <a:lnTo>
                    <a:pt x="52" y="70"/>
                  </a:lnTo>
                  <a:lnTo>
                    <a:pt x="60" y="70"/>
                  </a:lnTo>
                  <a:lnTo>
                    <a:pt x="54" y="74"/>
                  </a:lnTo>
                  <a:lnTo>
                    <a:pt x="31" y="83"/>
                  </a:lnTo>
                  <a:lnTo>
                    <a:pt x="50" y="89"/>
                  </a:lnTo>
                  <a:lnTo>
                    <a:pt x="87" y="91"/>
                  </a:lnTo>
                  <a:lnTo>
                    <a:pt x="145" y="101"/>
                  </a:lnTo>
                  <a:lnTo>
                    <a:pt x="186" y="87"/>
                  </a:lnTo>
                  <a:lnTo>
                    <a:pt x="226" y="74"/>
                  </a:lnTo>
                  <a:lnTo>
                    <a:pt x="252" y="58"/>
                  </a:lnTo>
                  <a:lnTo>
                    <a:pt x="263" y="50"/>
                  </a:lnTo>
                  <a:lnTo>
                    <a:pt x="271" y="48"/>
                  </a:lnTo>
                  <a:lnTo>
                    <a:pt x="261" y="43"/>
                  </a:lnTo>
                  <a:lnTo>
                    <a:pt x="271" y="39"/>
                  </a:lnTo>
                  <a:lnTo>
                    <a:pt x="271" y="33"/>
                  </a:lnTo>
                  <a:lnTo>
                    <a:pt x="248" y="33"/>
                  </a:lnTo>
                  <a:lnTo>
                    <a:pt x="254" y="27"/>
                  </a:lnTo>
                  <a:lnTo>
                    <a:pt x="242" y="25"/>
                  </a:lnTo>
                  <a:lnTo>
                    <a:pt x="240" y="14"/>
                  </a:lnTo>
                  <a:lnTo>
                    <a:pt x="252" y="4"/>
                  </a:lnTo>
                  <a:lnTo>
                    <a:pt x="232" y="8"/>
                  </a:lnTo>
                  <a:lnTo>
                    <a:pt x="207"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33" name="Google Shape;2533;g7826bb8c5e_0_4294"/>
            <p:cNvSpPr/>
            <p:nvPr/>
          </p:nvSpPr>
          <p:spPr>
            <a:xfrm>
              <a:off x="4045596" y="2858190"/>
              <a:ext cx="63565" cy="81918"/>
            </a:xfrm>
            <a:custGeom>
              <a:avLst/>
              <a:gdLst/>
              <a:ahLst/>
              <a:cxnLst/>
              <a:rect l="l" t="t" r="r" b="b"/>
              <a:pathLst>
                <a:path w="121" h="136" extrusionOk="0">
                  <a:moveTo>
                    <a:pt x="119" y="99"/>
                  </a:moveTo>
                  <a:lnTo>
                    <a:pt x="121" y="72"/>
                  </a:lnTo>
                  <a:lnTo>
                    <a:pt x="121" y="44"/>
                  </a:lnTo>
                  <a:lnTo>
                    <a:pt x="103" y="35"/>
                  </a:lnTo>
                  <a:lnTo>
                    <a:pt x="95" y="39"/>
                  </a:lnTo>
                  <a:lnTo>
                    <a:pt x="72" y="35"/>
                  </a:lnTo>
                  <a:lnTo>
                    <a:pt x="93" y="10"/>
                  </a:lnTo>
                  <a:lnTo>
                    <a:pt x="97" y="0"/>
                  </a:lnTo>
                  <a:lnTo>
                    <a:pt x="86" y="6"/>
                  </a:lnTo>
                  <a:lnTo>
                    <a:pt x="76" y="6"/>
                  </a:lnTo>
                  <a:lnTo>
                    <a:pt x="53" y="19"/>
                  </a:lnTo>
                  <a:lnTo>
                    <a:pt x="62" y="25"/>
                  </a:lnTo>
                  <a:lnTo>
                    <a:pt x="53" y="35"/>
                  </a:lnTo>
                  <a:lnTo>
                    <a:pt x="18" y="39"/>
                  </a:lnTo>
                  <a:lnTo>
                    <a:pt x="20" y="50"/>
                  </a:lnTo>
                  <a:lnTo>
                    <a:pt x="8" y="64"/>
                  </a:lnTo>
                  <a:lnTo>
                    <a:pt x="39" y="73"/>
                  </a:lnTo>
                  <a:lnTo>
                    <a:pt x="16" y="99"/>
                  </a:lnTo>
                  <a:lnTo>
                    <a:pt x="41" y="91"/>
                  </a:lnTo>
                  <a:lnTo>
                    <a:pt x="16" y="106"/>
                  </a:lnTo>
                  <a:lnTo>
                    <a:pt x="0" y="110"/>
                  </a:lnTo>
                  <a:lnTo>
                    <a:pt x="10" y="114"/>
                  </a:lnTo>
                  <a:lnTo>
                    <a:pt x="0" y="122"/>
                  </a:lnTo>
                  <a:lnTo>
                    <a:pt x="14" y="126"/>
                  </a:lnTo>
                  <a:lnTo>
                    <a:pt x="10" y="132"/>
                  </a:lnTo>
                  <a:lnTo>
                    <a:pt x="20" y="132"/>
                  </a:lnTo>
                  <a:lnTo>
                    <a:pt x="18" y="136"/>
                  </a:lnTo>
                  <a:lnTo>
                    <a:pt x="51" y="132"/>
                  </a:lnTo>
                  <a:lnTo>
                    <a:pt x="80" y="118"/>
                  </a:lnTo>
                  <a:lnTo>
                    <a:pt x="109" y="114"/>
                  </a:lnTo>
                  <a:lnTo>
                    <a:pt x="119" y="99"/>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34" name="Google Shape;2534;g7826bb8c5e_0_4294"/>
            <p:cNvSpPr/>
            <p:nvPr/>
          </p:nvSpPr>
          <p:spPr>
            <a:xfrm>
              <a:off x="4114246" y="2787195"/>
              <a:ext cx="111873" cy="185681"/>
            </a:xfrm>
            <a:custGeom>
              <a:avLst/>
              <a:gdLst/>
              <a:ahLst/>
              <a:cxnLst/>
              <a:rect l="l" t="t" r="r" b="b"/>
              <a:pathLst>
                <a:path w="215" h="307" extrusionOk="0">
                  <a:moveTo>
                    <a:pt x="2" y="117"/>
                  </a:moveTo>
                  <a:lnTo>
                    <a:pt x="18" y="94"/>
                  </a:lnTo>
                  <a:lnTo>
                    <a:pt x="27" y="94"/>
                  </a:lnTo>
                  <a:lnTo>
                    <a:pt x="33" y="94"/>
                  </a:lnTo>
                  <a:lnTo>
                    <a:pt x="31" y="105"/>
                  </a:lnTo>
                  <a:lnTo>
                    <a:pt x="23" y="123"/>
                  </a:lnTo>
                  <a:lnTo>
                    <a:pt x="27" y="138"/>
                  </a:lnTo>
                  <a:lnTo>
                    <a:pt x="43" y="136"/>
                  </a:lnTo>
                  <a:lnTo>
                    <a:pt x="74" y="128"/>
                  </a:lnTo>
                  <a:lnTo>
                    <a:pt x="64" y="140"/>
                  </a:lnTo>
                  <a:lnTo>
                    <a:pt x="80" y="156"/>
                  </a:lnTo>
                  <a:lnTo>
                    <a:pt x="80" y="187"/>
                  </a:lnTo>
                  <a:lnTo>
                    <a:pt x="72" y="189"/>
                  </a:lnTo>
                  <a:lnTo>
                    <a:pt x="33" y="204"/>
                  </a:lnTo>
                  <a:lnTo>
                    <a:pt x="39" y="204"/>
                  </a:lnTo>
                  <a:lnTo>
                    <a:pt x="49" y="216"/>
                  </a:lnTo>
                  <a:lnTo>
                    <a:pt x="22" y="235"/>
                  </a:lnTo>
                  <a:lnTo>
                    <a:pt x="18" y="245"/>
                  </a:lnTo>
                  <a:lnTo>
                    <a:pt x="47" y="249"/>
                  </a:lnTo>
                  <a:lnTo>
                    <a:pt x="60" y="256"/>
                  </a:lnTo>
                  <a:lnTo>
                    <a:pt x="93" y="247"/>
                  </a:lnTo>
                  <a:lnTo>
                    <a:pt x="82" y="258"/>
                  </a:lnTo>
                  <a:lnTo>
                    <a:pt x="56" y="264"/>
                  </a:lnTo>
                  <a:lnTo>
                    <a:pt x="27" y="284"/>
                  </a:lnTo>
                  <a:lnTo>
                    <a:pt x="0" y="305"/>
                  </a:lnTo>
                  <a:lnTo>
                    <a:pt x="10" y="307"/>
                  </a:lnTo>
                  <a:lnTo>
                    <a:pt x="18" y="305"/>
                  </a:lnTo>
                  <a:lnTo>
                    <a:pt x="53" y="299"/>
                  </a:lnTo>
                  <a:lnTo>
                    <a:pt x="64" y="291"/>
                  </a:lnTo>
                  <a:lnTo>
                    <a:pt x="89" y="286"/>
                  </a:lnTo>
                  <a:lnTo>
                    <a:pt x="122" y="282"/>
                  </a:lnTo>
                  <a:lnTo>
                    <a:pt x="171" y="284"/>
                  </a:lnTo>
                  <a:lnTo>
                    <a:pt x="206" y="262"/>
                  </a:lnTo>
                  <a:lnTo>
                    <a:pt x="181" y="254"/>
                  </a:lnTo>
                  <a:lnTo>
                    <a:pt x="190" y="245"/>
                  </a:lnTo>
                  <a:lnTo>
                    <a:pt x="215" y="220"/>
                  </a:lnTo>
                  <a:lnTo>
                    <a:pt x="206" y="206"/>
                  </a:lnTo>
                  <a:lnTo>
                    <a:pt x="171" y="208"/>
                  </a:lnTo>
                  <a:lnTo>
                    <a:pt x="175" y="196"/>
                  </a:lnTo>
                  <a:lnTo>
                    <a:pt x="151" y="175"/>
                  </a:lnTo>
                  <a:lnTo>
                    <a:pt x="161" y="177"/>
                  </a:lnTo>
                  <a:lnTo>
                    <a:pt x="159" y="163"/>
                  </a:lnTo>
                  <a:lnTo>
                    <a:pt x="138" y="142"/>
                  </a:lnTo>
                  <a:lnTo>
                    <a:pt x="107" y="97"/>
                  </a:lnTo>
                  <a:lnTo>
                    <a:pt x="68" y="92"/>
                  </a:lnTo>
                  <a:lnTo>
                    <a:pt x="91" y="84"/>
                  </a:lnTo>
                  <a:lnTo>
                    <a:pt x="76" y="80"/>
                  </a:lnTo>
                  <a:lnTo>
                    <a:pt x="86" y="76"/>
                  </a:lnTo>
                  <a:lnTo>
                    <a:pt x="115" y="37"/>
                  </a:lnTo>
                  <a:lnTo>
                    <a:pt x="60" y="35"/>
                  </a:lnTo>
                  <a:lnTo>
                    <a:pt x="49" y="33"/>
                  </a:lnTo>
                  <a:lnTo>
                    <a:pt x="56" y="28"/>
                  </a:lnTo>
                  <a:lnTo>
                    <a:pt x="80" y="4"/>
                  </a:lnTo>
                  <a:lnTo>
                    <a:pt x="35" y="0"/>
                  </a:lnTo>
                  <a:lnTo>
                    <a:pt x="25" y="12"/>
                  </a:lnTo>
                  <a:lnTo>
                    <a:pt x="23" y="24"/>
                  </a:lnTo>
                  <a:lnTo>
                    <a:pt x="14" y="26"/>
                  </a:lnTo>
                  <a:lnTo>
                    <a:pt x="10" y="37"/>
                  </a:lnTo>
                  <a:lnTo>
                    <a:pt x="10" y="43"/>
                  </a:lnTo>
                  <a:lnTo>
                    <a:pt x="10" y="49"/>
                  </a:lnTo>
                  <a:lnTo>
                    <a:pt x="0" y="64"/>
                  </a:lnTo>
                  <a:lnTo>
                    <a:pt x="4" y="68"/>
                  </a:lnTo>
                  <a:lnTo>
                    <a:pt x="0" y="72"/>
                  </a:lnTo>
                  <a:lnTo>
                    <a:pt x="20" y="66"/>
                  </a:lnTo>
                  <a:lnTo>
                    <a:pt x="18" y="70"/>
                  </a:lnTo>
                  <a:lnTo>
                    <a:pt x="2" y="117"/>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35" name="Google Shape;2535;g7826bb8c5e_0_4294"/>
            <p:cNvSpPr/>
            <p:nvPr/>
          </p:nvSpPr>
          <p:spPr>
            <a:xfrm>
              <a:off x="4083735" y="2859554"/>
              <a:ext cx="34325" cy="27306"/>
            </a:xfrm>
            <a:custGeom>
              <a:avLst/>
              <a:gdLst/>
              <a:ahLst/>
              <a:cxnLst/>
              <a:rect l="l" t="t" r="r" b="b"/>
              <a:pathLst>
                <a:path w="66" h="42" extrusionOk="0">
                  <a:moveTo>
                    <a:pt x="66" y="29"/>
                  </a:moveTo>
                  <a:lnTo>
                    <a:pt x="64" y="19"/>
                  </a:lnTo>
                  <a:lnTo>
                    <a:pt x="45" y="0"/>
                  </a:lnTo>
                  <a:lnTo>
                    <a:pt x="21" y="8"/>
                  </a:lnTo>
                  <a:lnTo>
                    <a:pt x="0" y="33"/>
                  </a:lnTo>
                  <a:lnTo>
                    <a:pt x="23" y="37"/>
                  </a:lnTo>
                  <a:lnTo>
                    <a:pt x="31" y="33"/>
                  </a:lnTo>
                  <a:lnTo>
                    <a:pt x="49" y="42"/>
                  </a:lnTo>
                  <a:lnTo>
                    <a:pt x="66" y="29"/>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36" name="Google Shape;2536;g7826bb8c5e_0_4294"/>
            <p:cNvSpPr/>
            <p:nvPr/>
          </p:nvSpPr>
          <p:spPr>
            <a:xfrm>
              <a:off x="4104075" y="2810403"/>
              <a:ext cx="15256" cy="8192"/>
            </a:xfrm>
            <a:custGeom>
              <a:avLst/>
              <a:gdLst/>
              <a:ahLst/>
              <a:cxnLst/>
              <a:rect l="l" t="t" r="r" b="b"/>
              <a:pathLst>
                <a:path w="29" h="16" extrusionOk="0">
                  <a:moveTo>
                    <a:pt x="15" y="2"/>
                  </a:moveTo>
                  <a:lnTo>
                    <a:pt x="10" y="0"/>
                  </a:lnTo>
                  <a:lnTo>
                    <a:pt x="0" y="6"/>
                  </a:lnTo>
                  <a:lnTo>
                    <a:pt x="25" y="16"/>
                  </a:lnTo>
                  <a:lnTo>
                    <a:pt x="29" y="10"/>
                  </a:lnTo>
                  <a:lnTo>
                    <a:pt x="15" y="2"/>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37" name="Google Shape;2537;g7826bb8c5e_0_4294"/>
            <p:cNvSpPr/>
            <p:nvPr/>
          </p:nvSpPr>
          <p:spPr>
            <a:xfrm>
              <a:off x="4100262" y="2792655"/>
              <a:ext cx="12713" cy="10923"/>
            </a:xfrm>
            <a:custGeom>
              <a:avLst/>
              <a:gdLst/>
              <a:ahLst/>
              <a:cxnLst/>
              <a:rect l="l" t="t" r="r" b="b"/>
              <a:pathLst>
                <a:path w="23" h="18" extrusionOk="0">
                  <a:moveTo>
                    <a:pt x="23" y="6"/>
                  </a:moveTo>
                  <a:lnTo>
                    <a:pt x="21" y="0"/>
                  </a:lnTo>
                  <a:lnTo>
                    <a:pt x="4" y="6"/>
                  </a:lnTo>
                  <a:lnTo>
                    <a:pt x="0" y="18"/>
                  </a:lnTo>
                  <a:lnTo>
                    <a:pt x="23" y="6"/>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38" name="Google Shape;2538;g7826bb8c5e_0_4294"/>
            <p:cNvSpPr/>
            <p:nvPr/>
          </p:nvSpPr>
          <p:spPr>
            <a:xfrm>
              <a:off x="4180353" y="2747600"/>
              <a:ext cx="3814" cy="9557"/>
            </a:xfrm>
            <a:custGeom>
              <a:avLst/>
              <a:gdLst/>
              <a:ahLst/>
              <a:cxnLst/>
              <a:rect l="l" t="t" r="r" b="b"/>
              <a:pathLst>
                <a:path w="12" h="15" extrusionOk="0">
                  <a:moveTo>
                    <a:pt x="4" y="0"/>
                  </a:moveTo>
                  <a:lnTo>
                    <a:pt x="2" y="5"/>
                  </a:lnTo>
                  <a:lnTo>
                    <a:pt x="0" y="9"/>
                  </a:lnTo>
                  <a:lnTo>
                    <a:pt x="4" y="15"/>
                  </a:lnTo>
                  <a:lnTo>
                    <a:pt x="12" y="0"/>
                  </a:lnTo>
                  <a:lnTo>
                    <a:pt x="4"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39" name="Google Shape;2539;g7826bb8c5e_0_4294"/>
            <p:cNvSpPr/>
            <p:nvPr/>
          </p:nvSpPr>
          <p:spPr>
            <a:xfrm>
              <a:off x="4111703" y="2833614"/>
              <a:ext cx="6356" cy="2730"/>
            </a:xfrm>
            <a:custGeom>
              <a:avLst/>
              <a:gdLst/>
              <a:ahLst/>
              <a:cxnLst/>
              <a:rect l="l" t="t" r="r" b="b"/>
              <a:pathLst>
                <a:path w="14" h="8" extrusionOk="0">
                  <a:moveTo>
                    <a:pt x="2" y="8"/>
                  </a:moveTo>
                  <a:lnTo>
                    <a:pt x="14" y="2"/>
                  </a:lnTo>
                  <a:lnTo>
                    <a:pt x="0" y="0"/>
                  </a:lnTo>
                  <a:lnTo>
                    <a:pt x="2" y="8"/>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40" name="Google Shape;2540;g7826bb8c5e_0_4294"/>
            <p:cNvSpPr/>
            <p:nvPr/>
          </p:nvSpPr>
          <p:spPr>
            <a:xfrm>
              <a:off x="4222306" y="3142173"/>
              <a:ext cx="6356" cy="4096"/>
            </a:xfrm>
            <a:custGeom>
              <a:avLst/>
              <a:gdLst/>
              <a:ahLst/>
              <a:cxnLst/>
              <a:rect l="l" t="t" r="r" b="b"/>
              <a:pathLst>
                <a:path w="9" h="6" extrusionOk="0">
                  <a:moveTo>
                    <a:pt x="9" y="0"/>
                  </a:moveTo>
                  <a:lnTo>
                    <a:pt x="0" y="2"/>
                  </a:lnTo>
                  <a:lnTo>
                    <a:pt x="2" y="4"/>
                  </a:lnTo>
                  <a:lnTo>
                    <a:pt x="9" y="6"/>
                  </a:lnTo>
                  <a:lnTo>
                    <a:pt x="9" y="0"/>
                  </a:lnTo>
                  <a:close/>
                </a:path>
              </a:pathLst>
            </a:custGeom>
            <a:solidFill>
              <a:srgbClr val="FDE3D3"/>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41" name="Google Shape;2541;g7826bb8c5e_0_4294"/>
            <p:cNvSpPr/>
            <p:nvPr/>
          </p:nvSpPr>
          <p:spPr>
            <a:xfrm>
              <a:off x="3778626" y="3250032"/>
              <a:ext cx="10171" cy="5462"/>
            </a:xfrm>
            <a:custGeom>
              <a:avLst/>
              <a:gdLst/>
              <a:ahLst/>
              <a:cxnLst/>
              <a:rect l="l" t="t" r="r" b="b"/>
              <a:pathLst>
                <a:path w="21" h="8" extrusionOk="0">
                  <a:moveTo>
                    <a:pt x="4" y="8"/>
                  </a:moveTo>
                  <a:lnTo>
                    <a:pt x="0" y="0"/>
                  </a:lnTo>
                  <a:lnTo>
                    <a:pt x="21" y="4"/>
                  </a:lnTo>
                  <a:lnTo>
                    <a:pt x="4" y="8"/>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42" name="Google Shape;2542;g7826bb8c5e_0_4294"/>
            <p:cNvSpPr/>
            <p:nvPr/>
          </p:nvSpPr>
          <p:spPr>
            <a:xfrm>
              <a:off x="3734132" y="3236379"/>
              <a:ext cx="10171" cy="4096"/>
            </a:xfrm>
            <a:custGeom>
              <a:avLst/>
              <a:gdLst/>
              <a:ahLst/>
              <a:cxnLst/>
              <a:rect l="l" t="t" r="r" b="b"/>
              <a:pathLst>
                <a:path w="16" h="4" extrusionOk="0">
                  <a:moveTo>
                    <a:pt x="4" y="0"/>
                  </a:moveTo>
                  <a:lnTo>
                    <a:pt x="0" y="2"/>
                  </a:lnTo>
                  <a:lnTo>
                    <a:pt x="16" y="4"/>
                  </a:lnTo>
                  <a:lnTo>
                    <a:pt x="4"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43" name="Google Shape;2543;g7826bb8c5e_0_4294"/>
            <p:cNvSpPr/>
            <p:nvPr/>
          </p:nvSpPr>
          <p:spPr>
            <a:xfrm>
              <a:off x="3755743" y="3230917"/>
              <a:ext cx="5085" cy="2730"/>
            </a:xfrm>
            <a:custGeom>
              <a:avLst/>
              <a:gdLst/>
              <a:ahLst/>
              <a:cxnLst/>
              <a:rect l="l" t="t" r="r" b="b"/>
              <a:pathLst>
                <a:path w="12" h="3" extrusionOk="0">
                  <a:moveTo>
                    <a:pt x="12" y="3"/>
                  </a:moveTo>
                  <a:lnTo>
                    <a:pt x="0" y="3"/>
                  </a:lnTo>
                  <a:lnTo>
                    <a:pt x="4" y="0"/>
                  </a:lnTo>
                  <a:lnTo>
                    <a:pt x="12" y="3"/>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44" name="Google Shape;2544;g7826bb8c5e_0_4294"/>
            <p:cNvSpPr/>
            <p:nvPr/>
          </p:nvSpPr>
          <p:spPr>
            <a:xfrm>
              <a:off x="3116286" y="3378371"/>
              <a:ext cx="6356" cy="2730"/>
            </a:xfrm>
            <a:custGeom>
              <a:avLst/>
              <a:gdLst/>
              <a:ahLst/>
              <a:cxnLst/>
              <a:rect l="l" t="t" r="r" b="b"/>
              <a:pathLst>
                <a:path w="8" h="6" extrusionOk="0">
                  <a:moveTo>
                    <a:pt x="8" y="0"/>
                  </a:moveTo>
                  <a:lnTo>
                    <a:pt x="6" y="0"/>
                  </a:lnTo>
                  <a:lnTo>
                    <a:pt x="4" y="4"/>
                  </a:lnTo>
                  <a:lnTo>
                    <a:pt x="2" y="4"/>
                  </a:lnTo>
                  <a:lnTo>
                    <a:pt x="0" y="6"/>
                  </a:lnTo>
                  <a:lnTo>
                    <a:pt x="2" y="6"/>
                  </a:lnTo>
                  <a:lnTo>
                    <a:pt x="4" y="4"/>
                  </a:lnTo>
                  <a:lnTo>
                    <a:pt x="6" y="2"/>
                  </a:lnTo>
                  <a:lnTo>
                    <a:pt x="8"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45" name="Google Shape;2545;g7826bb8c5e_0_4294"/>
            <p:cNvSpPr/>
            <p:nvPr/>
          </p:nvSpPr>
          <p:spPr>
            <a:xfrm>
              <a:off x="4045596" y="3157192"/>
              <a:ext cx="53394" cy="113320"/>
            </a:xfrm>
            <a:custGeom>
              <a:avLst/>
              <a:gdLst/>
              <a:ahLst/>
              <a:cxnLst/>
              <a:rect l="l" t="t" r="r" b="b"/>
              <a:pathLst>
                <a:path w="103" h="188" extrusionOk="0">
                  <a:moveTo>
                    <a:pt x="47" y="0"/>
                  </a:moveTo>
                  <a:lnTo>
                    <a:pt x="29" y="2"/>
                  </a:lnTo>
                  <a:lnTo>
                    <a:pt x="29" y="47"/>
                  </a:lnTo>
                  <a:lnTo>
                    <a:pt x="18" y="72"/>
                  </a:lnTo>
                  <a:lnTo>
                    <a:pt x="6" y="99"/>
                  </a:lnTo>
                  <a:lnTo>
                    <a:pt x="0" y="124"/>
                  </a:lnTo>
                  <a:lnTo>
                    <a:pt x="16" y="134"/>
                  </a:lnTo>
                  <a:lnTo>
                    <a:pt x="22" y="136"/>
                  </a:lnTo>
                  <a:lnTo>
                    <a:pt x="20" y="188"/>
                  </a:lnTo>
                  <a:lnTo>
                    <a:pt x="64" y="183"/>
                  </a:lnTo>
                  <a:lnTo>
                    <a:pt x="62" y="173"/>
                  </a:lnTo>
                  <a:lnTo>
                    <a:pt x="74" y="150"/>
                  </a:lnTo>
                  <a:lnTo>
                    <a:pt x="72" y="142"/>
                  </a:lnTo>
                  <a:lnTo>
                    <a:pt x="76" y="121"/>
                  </a:lnTo>
                  <a:lnTo>
                    <a:pt x="64" y="91"/>
                  </a:lnTo>
                  <a:lnTo>
                    <a:pt x="74" y="90"/>
                  </a:lnTo>
                  <a:lnTo>
                    <a:pt x="86" y="43"/>
                  </a:lnTo>
                  <a:lnTo>
                    <a:pt x="103" y="24"/>
                  </a:lnTo>
                  <a:lnTo>
                    <a:pt x="97" y="6"/>
                  </a:lnTo>
                  <a:lnTo>
                    <a:pt x="57" y="4"/>
                  </a:lnTo>
                  <a:lnTo>
                    <a:pt x="47" y="0"/>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46" name="Google Shape;2546;g7826bb8c5e_0_4294"/>
            <p:cNvSpPr/>
            <p:nvPr/>
          </p:nvSpPr>
          <p:spPr>
            <a:xfrm>
              <a:off x="4057038" y="3117598"/>
              <a:ext cx="194507" cy="173392"/>
            </a:xfrm>
            <a:custGeom>
              <a:avLst/>
              <a:gdLst/>
              <a:ahLst/>
              <a:cxnLst/>
              <a:rect l="l" t="t" r="r" b="b"/>
              <a:pathLst>
                <a:path w="374" h="285" extrusionOk="0">
                  <a:moveTo>
                    <a:pt x="75" y="70"/>
                  </a:moveTo>
                  <a:lnTo>
                    <a:pt x="35" y="68"/>
                  </a:lnTo>
                  <a:lnTo>
                    <a:pt x="25" y="64"/>
                  </a:lnTo>
                  <a:lnTo>
                    <a:pt x="7" y="66"/>
                  </a:lnTo>
                  <a:lnTo>
                    <a:pt x="6" y="55"/>
                  </a:lnTo>
                  <a:lnTo>
                    <a:pt x="4" y="47"/>
                  </a:lnTo>
                  <a:lnTo>
                    <a:pt x="4" y="43"/>
                  </a:lnTo>
                  <a:lnTo>
                    <a:pt x="0" y="35"/>
                  </a:lnTo>
                  <a:lnTo>
                    <a:pt x="0" y="20"/>
                  </a:lnTo>
                  <a:lnTo>
                    <a:pt x="46" y="0"/>
                  </a:lnTo>
                  <a:lnTo>
                    <a:pt x="83" y="4"/>
                  </a:lnTo>
                  <a:lnTo>
                    <a:pt x="118" y="6"/>
                  </a:lnTo>
                  <a:lnTo>
                    <a:pt x="153" y="8"/>
                  </a:lnTo>
                  <a:lnTo>
                    <a:pt x="188" y="10"/>
                  </a:lnTo>
                  <a:lnTo>
                    <a:pt x="221" y="12"/>
                  </a:lnTo>
                  <a:lnTo>
                    <a:pt x="236" y="24"/>
                  </a:lnTo>
                  <a:lnTo>
                    <a:pt x="320" y="43"/>
                  </a:lnTo>
                  <a:lnTo>
                    <a:pt x="322" y="45"/>
                  </a:lnTo>
                  <a:lnTo>
                    <a:pt x="329" y="47"/>
                  </a:lnTo>
                  <a:lnTo>
                    <a:pt x="374" y="49"/>
                  </a:lnTo>
                  <a:lnTo>
                    <a:pt x="366" y="74"/>
                  </a:lnTo>
                  <a:lnTo>
                    <a:pt x="333" y="92"/>
                  </a:lnTo>
                  <a:lnTo>
                    <a:pt x="300" y="111"/>
                  </a:lnTo>
                  <a:lnTo>
                    <a:pt x="283" y="136"/>
                  </a:lnTo>
                  <a:lnTo>
                    <a:pt x="265" y="163"/>
                  </a:lnTo>
                  <a:lnTo>
                    <a:pt x="277" y="192"/>
                  </a:lnTo>
                  <a:lnTo>
                    <a:pt x="252" y="221"/>
                  </a:lnTo>
                  <a:lnTo>
                    <a:pt x="244" y="231"/>
                  </a:lnTo>
                  <a:lnTo>
                    <a:pt x="219" y="247"/>
                  </a:lnTo>
                  <a:lnTo>
                    <a:pt x="203" y="262"/>
                  </a:lnTo>
                  <a:lnTo>
                    <a:pt x="166" y="266"/>
                  </a:lnTo>
                  <a:lnTo>
                    <a:pt x="130" y="270"/>
                  </a:lnTo>
                  <a:lnTo>
                    <a:pt x="106" y="285"/>
                  </a:lnTo>
                  <a:lnTo>
                    <a:pt x="104" y="285"/>
                  </a:lnTo>
                  <a:lnTo>
                    <a:pt x="85" y="285"/>
                  </a:lnTo>
                  <a:lnTo>
                    <a:pt x="77" y="258"/>
                  </a:lnTo>
                  <a:lnTo>
                    <a:pt x="52" y="247"/>
                  </a:lnTo>
                  <a:lnTo>
                    <a:pt x="42" y="247"/>
                  </a:lnTo>
                  <a:lnTo>
                    <a:pt x="40" y="237"/>
                  </a:lnTo>
                  <a:lnTo>
                    <a:pt x="52" y="214"/>
                  </a:lnTo>
                  <a:lnTo>
                    <a:pt x="50" y="206"/>
                  </a:lnTo>
                  <a:lnTo>
                    <a:pt x="54" y="185"/>
                  </a:lnTo>
                  <a:lnTo>
                    <a:pt x="42" y="155"/>
                  </a:lnTo>
                  <a:lnTo>
                    <a:pt x="52" y="154"/>
                  </a:lnTo>
                  <a:lnTo>
                    <a:pt x="64" y="107"/>
                  </a:lnTo>
                  <a:lnTo>
                    <a:pt x="81" y="88"/>
                  </a:lnTo>
                  <a:lnTo>
                    <a:pt x="75" y="70"/>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47" name="Google Shape;2547;g7826bb8c5e_0_4294"/>
            <p:cNvSpPr/>
            <p:nvPr/>
          </p:nvSpPr>
          <p:spPr>
            <a:xfrm>
              <a:off x="4240104" y="3206342"/>
              <a:ext cx="17798" cy="10923"/>
            </a:xfrm>
            <a:custGeom>
              <a:avLst/>
              <a:gdLst/>
              <a:ahLst/>
              <a:cxnLst/>
              <a:rect l="l" t="t" r="r" b="b"/>
              <a:pathLst>
                <a:path w="31" h="17" extrusionOk="0">
                  <a:moveTo>
                    <a:pt x="31" y="6"/>
                  </a:moveTo>
                  <a:lnTo>
                    <a:pt x="15" y="17"/>
                  </a:lnTo>
                  <a:lnTo>
                    <a:pt x="0" y="8"/>
                  </a:lnTo>
                  <a:lnTo>
                    <a:pt x="19" y="0"/>
                  </a:lnTo>
                  <a:lnTo>
                    <a:pt x="31" y="6"/>
                  </a:lnTo>
                  <a:close/>
                </a:path>
              </a:pathLst>
            </a:custGeom>
            <a:solidFill>
              <a:srgbClr val="FFEA80"/>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48" name="Google Shape;2548;g7826bb8c5e_0_4294"/>
            <p:cNvSpPr/>
            <p:nvPr/>
          </p:nvSpPr>
          <p:spPr>
            <a:xfrm>
              <a:off x="2193331" y="2989259"/>
              <a:ext cx="954738" cy="555679"/>
            </a:xfrm>
            <a:custGeom>
              <a:avLst/>
              <a:gdLst/>
              <a:ahLst/>
              <a:cxnLst/>
              <a:rect l="l" t="t" r="r" b="b"/>
              <a:pathLst>
                <a:path w="1830" h="913" extrusionOk="0">
                  <a:moveTo>
                    <a:pt x="1826" y="169"/>
                  </a:moveTo>
                  <a:lnTo>
                    <a:pt x="1824" y="157"/>
                  </a:lnTo>
                  <a:lnTo>
                    <a:pt x="1816" y="132"/>
                  </a:lnTo>
                  <a:lnTo>
                    <a:pt x="1830" y="87"/>
                  </a:lnTo>
                  <a:lnTo>
                    <a:pt x="1811" y="78"/>
                  </a:lnTo>
                  <a:lnTo>
                    <a:pt x="1795" y="80"/>
                  </a:lnTo>
                  <a:lnTo>
                    <a:pt x="1793" y="72"/>
                  </a:lnTo>
                  <a:lnTo>
                    <a:pt x="1766" y="99"/>
                  </a:lnTo>
                  <a:lnTo>
                    <a:pt x="1741" y="126"/>
                  </a:lnTo>
                  <a:lnTo>
                    <a:pt x="1714" y="149"/>
                  </a:lnTo>
                  <a:lnTo>
                    <a:pt x="1692" y="163"/>
                  </a:lnTo>
                  <a:lnTo>
                    <a:pt x="1634" y="167"/>
                  </a:lnTo>
                  <a:lnTo>
                    <a:pt x="1574" y="169"/>
                  </a:lnTo>
                  <a:lnTo>
                    <a:pt x="1545" y="192"/>
                  </a:lnTo>
                  <a:lnTo>
                    <a:pt x="1514" y="215"/>
                  </a:lnTo>
                  <a:lnTo>
                    <a:pt x="1477" y="217"/>
                  </a:lnTo>
                  <a:lnTo>
                    <a:pt x="1440" y="221"/>
                  </a:lnTo>
                  <a:lnTo>
                    <a:pt x="1436" y="244"/>
                  </a:lnTo>
                  <a:lnTo>
                    <a:pt x="1405" y="256"/>
                  </a:lnTo>
                  <a:lnTo>
                    <a:pt x="1373" y="266"/>
                  </a:lnTo>
                  <a:lnTo>
                    <a:pt x="1340" y="277"/>
                  </a:lnTo>
                  <a:lnTo>
                    <a:pt x="1309" y="287"/>
                  </a:lnTo>
                  <a:lnTo>
                    <a:pt x="1299" y="273"/>
                  </a:lnTo>
                  <a:lnTo>
                    <a:pt x="1336" y="239"/>
                  </a:lnTo>
                  <a:lnTo>
                    <a:pt x="1351" y="217"/>
                  </a:lnTo>
                  <a:lnTo>
                    <a:pt x="1357" y="182"/>
                  </a:lnTo>
                  <a:lnTo>
                    <a:pt x="1365" y="149"/>
                  </a:lnTo>
                  <a:lnTo>
                    <a:pt x="1342" y="132"/>
                  </a:lnTo>
                  <a:lnTo>
                    <a:pt x="1343" y="122"/>
                  </a:lnTo>
                  <a:lnTo>
                    <a:pt x="1334" y="124"/>
                  </a:lnTo>
                  <a:lnTo>
                    <a:pt x="1332" y="107"/>
                  </a:lnTo>
                  <a:lnTo>
                    <a:pt x="1305" y="91"/>
                  </a:lnTo>
                  <a:lnTo>
                    <a:pt x="1279" y="76"/>
                  </a:lnTo>
                  <a:lnTo>
                    <a:pt x="1254" y="58"/>
                  </a:lnTo>
                  <a:lnTo>
                    <a:pt x="1229" y="43"/>
                  </a:lnTo>
                  <a:lnTo>
                    <a:pt x="1188" y="52"/>
                  </a:lnTo>
                  <a:lnTo>
                    <a:pt x="1165" y="43"/>
                  </a:lnTo>
                  <a:lnTo>
                    <a:pt x="1138" y="47"/>
                  </a:lnTo>
                  <a:lnTo>
                    <a:pt x="1095" y="29"/>
                  </a:lnTo>
                  <a:lnTo>
                    <a:pt x="1060" y="23"/>
                  </a:lnTo>
                  <a:lnTo>
                    <a:pt x="1064" y="0"/>
                  </a:lnTo>
                  <a:lnTo>
                    <a:pt x="1053" y="14"/>
                  </a:lnTo>
                  <a:lnTo>
                    <a:pt x="1000" y="16"/>
                  </a:lnTo>
                  <a:lnTo>
                    <a:pt x="950" y="16"/>
                  </a:lnTo>
                  <a:lnTo>
                    <a:pt x="900" y="16"/>
                  </a:lnTo>
                  <a:lnTo>
                    <a:pt x="849" y="16"/>
                  </a:lnTo>
                  <a:lnTo>
                    <a:pt x="799" y="16"/>
                  </a:lnTo>
                  <a:lnTo>
                    <a:pt x="748" y="16"/>
                  </a:lnTo>
                  <a:lnTo>
                    <a:pt x="698" y="16"/>
                  </a:lnTo>
                  <a:lnTo>
                    <a:pt x="646" y="16"/>
                  </a:lnTo>
                  <a:lnTo>
                    <a:pt x="595" y="16"/>
                  </a:lnTo>
                  <a:lnTo>
                    <a:pt x="545" y="16"/>
                  </a:lnTo>
                  <a:lnTo>
                    <a:pt x="494" y="16"/>
                  </a:lnTo>
                  <a:lnTo>
                    <a:pt x="444" y="16"/>
                  </a:lnTo>
                  <a:lnTo>
                    <a:pt x="394" y="16"/>
                  </a:lnTo>
                  <a:lnTo>
                    <a:pt x="343" y="16"/>
                  </a:lnTo>
                  <a:lnTo>
                    <a:pt x="291" y="16"/>
                  </a:lnTo>
                  <a:lnTo>
                    <a:pt x="240" y="16"/>
                  </a:lnTo>
                  <a:lnTo>
                    <a:pt x="231" y="45"/>
                  </a:lnTo>
                  <a:lnTo>
                    <a:pt x="215" y="76"/>
                  </a:lnTo>
                  <a:lnTo>
                    <a:pt x="192" y="87"/>
                  </a:lnTo>
                  <a:lnTo>
                    <a:pt x="196" y="78"/>
                  </a:lnTo>
                  <a:lnTo>
                    <a:pt x="200" y="81"/>
                  </a:lnTo>
                  <a:lnTo>
                    <a:pt x="223" y="54"/>
                  </a:lnTo>
                  <a:lnTo>
                    <a:pt x="196" y="74"/>
                  </a:lnTo>
                  <a:lnTo>
                    <a:pt x="192" y="76"/>
                  </a:lnTo>
                  <a:lnTo>
                    <a:pt x="209" y="60"/>
                  </a:lnTo>
                  <a:lnTo>
                    <a:pt x="219" y="47"/>
                  </a:lnTo>
                  <a:lnTo>
                    <a:pt x="173" y="37"/>
                  </a:lnTo>
                  <a:lnTo>
                    <a:pt x="159" y="87"/>
                  </a:lnTo>
                  <a:lnTo>
                    <a:pt x="155" y="93"/>
                  </a:lnTo>
                  <a:lnTo>
                    <a:pt x="153" y="99"/>
                  </a:lnTo>
                  <a:lnTo>
                    <a:pt x="149" y="107"/>
                  </a:lnTo>
                  <a:lnTo>
                    <a:pt x="147" y="103"/>
                  </a:lnTo>
                  <a:lnTo>
                    <a:pt x="138" y="116"/>
                  </a:lnTo>
                  <a:lnTo>
                    <a:pt x="159" y="120"/>
                  </a:lnTo>
                  <a:lnTo>
                    <a:pt x="144" y="120"/>
                  </a:lnTo>
                  <a:lnTo>
                    <a:pt x="128" y="138"/>
                  </a:lnTo>
                  <a:lnTo>
                    <a:pt x="91" y="188"/>
                  </a:lnTo>
                  <a:lnTo>
                    <a:pt x="56" y="237"/>
                  </a:lnTo>
                  <a:lnTo>
                    <a:pt x="45" y="268"/>
                  </a:lnTo>
                  <a:lnTo>
                    <a:pt x="33" y="299"/>
                  </a:lnTo>
                  <a:lnTo>
                    <a:pt x="2" y="334"/>
                  </a:lnTo>
                  <a:lnTo>
                    <a:pt x="4" y="347"/>
                  </a:lnTo>
                  <a:lnTo>
                    <a:pt x="0" y="376"/>
                  </a:lnTo>
                  <a:lnTo>
                    <a:pt x="4" y="399"/>
                  </a:lnTo>
                  <a:lnTo>
                    <a:pt x="8" y="425"/>
                  </a:lnTo>
                  <a:lnTo>
                    <a:pt x="6" y="419"/>
                  </a:lnTo>
                  <a:lnTo>
                    <a:pt x="2" y="425"/>
                  </a:lnTo>
                  <a:lnTo>
                    <a:pt x="18" y="427"/>
                  </a:lnTo>
                  <a:lnTo>
                    <a:pt x="25" y="427"/>
                  </a:lnTo>
                  <a:lnTo>
                    <a:pt x="21" y="446"/>
                  </a:lnTo>
                  <a:lnTo>
                    <a:pt x="14" y="440"/>
                  </a:lnTo>
                  <a:lnTo>
                    <a:pt x="8" y="446"/>
                  </a:lnTo>
                  <a:lnTo>
                    <a:pt x="18" y="465"/>
                  </a:lnTo>
                  <a:lnTo>
                    <a:pt x="10" y="481"/>
                  </a:lnTo>
                  <a:lnTo>
                    <a:pt x="16" y="502"/>
                  </a:lnTo>
                  <a:lnTo>
                    <a:pt x="23" y="525"/>
                  </a:lnTo>
                  <a:lnTo>
                    <a:pt x="18" y="556"/>
                  </a:lnTo>
                  <a:lnTo>
                    <a:pt x="35" y="560"/>
                  </a:lnTo>
                  <a:lnTo>
                    <a:pt x="68" y="578"/>
                  </a:lnTo>
                  <a:lnTo>
                    <a:pt x="101" y="603"/>
                  </a:lnTo>
                  <a:lnTo>
                    <a:pt x="101" y="634"/>
                  </a:lnTo>
                  <a:lnTo>
                    <a:pt x="140" y="632"/>
                  </a:lnTo>
                  <a:lnTo>
                    <a:pt x="178" y="630"/>
                  </a:lnTo>
                  <a:lnTo>
                    <a:pt x="204" y="644"/>
                  </a:lnTo>
                  <a:lnTo>
                    <a:pt x="229" y="655"/>
                  </a:lnTo>
                  <a:lnTo>
                    <a:pt x="254" y="667"/>
                  </a:lnTo>
                  <a:lnTo>
                    <a:pt x="279" y="681"/>
                  </a:lnTo>
                  <a:lnTo>
                    <a:pt x="326" y="681"/>
                  </a:lnTo>
                  <a:lnTo>
                    <a:pt x="370" y="681"/>
                  </a:lnTo>
                  <a:lnTo>
                    <a:pt x="376" y="663"/>
                  </a:lnTo>
                  <a:lnTo>
                    <a:pt x="430" y="663"/>
                  </a:lnTo>
                  <a:lnTo>
                    <a:pt x="458" y="700"/>
                  </a:lnTo>
                  <a:lnTo>
                    <a:pt x="469" y="739"/>
                  </a:lnTo>
                  <a:lnTo>
                    <a:pt x="489" y="754"/>
                  </a:lnTo>
                  <a:lnTo>
                    <a:pt x="508" y="770"/>
                  </a:lnTo>
                  <a:lnTo>
                    <a:pt x="531" y="741"/>
                  </a:lnTo>
                  <a:lnTo>
                    <a:pt x="576" y="747"/>
                  </a:lnTo>
                  <a:lnTo>
                    <a:pt x="589" y="781"/>
                  </a:lnTo>
                  <a:lnTo>
                    <a:pt x="605" y="816"/>
                  </a:lnTo>
                  <a:lnTo>
                    <a:pt x="617" y="861"/>
                  </a:lnTo>
                  <a:lnTo>
                    <a:pt x="638" y="878"/>
                  </a:lnTo>
                  <a:lnTo>
                    <a:pt x="677" y="884"/>
                  </a:lnTo>
                  <a:lnTo>
                    <a:pt x="675" y="842"/>
                  </a:lnTo>
                  <a:lnTo>
                    <a:pt x="673" y="836"/>
                  </a:lnTo>
                  <a:lnTo>
                    <a:pt x="669" y="828"/>
                  </a:lnTo>
                  <a:lnTo>
                    <a:pt x="680" y="832"/>
                  </a:lnTo>
                  <a:lnTo>
                    <a:pt x="684" y="814"/>
                  </a:lnTo>
                  <a:lnTo>
                    <a:pt x="694" y="807"/>
                  </a:lnTo>
                  <a:lnTo>
                    <a:pt x="712" y="795"/>
                  </a:lnTo>
                  <a:lnTo>
                    <a:pt x="719" y="787"/>
                  </a:lnTo>
                  <a:lnTo>
                    <a:pt x="721" y="783"/>
                  </a:lnTo>
                  <a:lnTo>
                    <a:pt x="737" y="783"/>
                  </a:lnTo>
                  <a:lnTo>
                    <a:pt x="729" y="789"/>
                  </a:lnTo>
                  <a:lnTo>
                    <a:pt x="746" y="779"/>
                  </a:lnTo>
                  <a:lnTo>
                    <a:pt x="739" y="781"/>
                  </a:lnTo>
                  <a:lnTo>
                    <a:pt x="777" y="754"/>
                  </a:lnTo>
                  <a:lnTo>
                    <a:pt x="781" y="743"/>
                  </a:lnTo>
                  <a:lnTo>
                    <a:pt x="791" y="748"/>
                  </a:lnTo>
                  <a:lnTo>
                    <a:pt x="787" y="752"/>
                  </a:lnTo>
                  <a:lnTo>
                    <a:pt x="812" y="737"/>
                  </a:lnTo>
                  <a:lnTo>
                    <a:pt x="818" y="737"/>
                  </a:lnTo>
                  <a:lnTo>
                    <a:pt x="843" y="741"/>
                  </a:lnTo>
                  <a:lnTo>
                    <a:pt x="870" y="743"/>
                  </a:lnTo>
                  <a:lnTo>
                    <a:pt x="888" y="741"/>
                  </a:lnTo>
                  <a:lnTo>
                    <a:pt x="898" y="754"/>
                  </a:lnTo>
                  <a:lnTo>
                    <a:pt x="917" y="760"/>
                  </a:lnTo>
                  <a:lnTo>
                    <a:pt x="934" y="762"/>
                  </a:lnTo>
                  <a:lnTo>
                    <a:pt x="932" y="748"/>
                  </a:lnTo>
                  <a:lnTo>
                    <a:pt x="958" y="764"/>
                  </a:lnTo>
                  <a:lnTo>
                    <a:pt x="952" y="772"/>
                  </a:lnTo>
                  <a:lnTo>
                    <a:pt x="964" y="760"/>
                  </a:lnTo>
                  <a:lnTo>
                    <a:pt x="948" y="743"/>
                  </a:lnTo>
                  <a:lnTo>
                    <a:pt x="960" y="735"/>
                  </a:lnTo>
                  <a:lnTo>
                    <a:pt x="956" y="733"/>
                  </a:lnTo>
                  <a:lnTo>
                    <a:pt x="952" y="729"/>
                  </a:lnTo>
                  <a:lnTo>
                    <a:pt x="931" y="723"/>
                  </a:lnTo>
                  <a:lnTo>
                    <a:pt x="952" y="723"/>
                  </a:lnTo>
                  <a:lnTo>
                    <a:pt x="1004" y="719"/>
                  </a:lnTo>
                  <a:lnTo>
                    <a:pt x="1014" y="704"/>
                  </a:lnTo>
                  <a:lnTo>
                    <a:pt x="1012" y="721"/>
                  </a:lnTo>
                  <a:lnTo>
                    <a:pt x="1027" y="719"/>
                  </a:lnTo>
                  <a:lnTo>
                    <a:pt x="1043" y="712"/>
                  </a:lnTo>
                  <a:lnTo>
                    <a:pt x="1035" y="717"/>
                  </a:lnTo>
                  <a:lnTo>
                    <a:pt x="1066" y="715"/>
                  </a:lnTo>
                  <a:lnTo>
                    <a:pt x="1058" y="715"/>
                  </a:lnTo>
                  <a:lnTo>
                    <a:pt x="1078" y="721"/>
                  </a:lnTo>
                  <a:lnTo>
                    <a:pt x="1084" y="721"/>
                  </a:lnTo>
                  <a:lnTo>
                    <a:pt x="1090" y="731"/>
                  </a:lnTo>
                  <a:lnTo>
                    <a:pt x="1084" y="727"/>
                  </a:lnTo>
                  <a:lnTo>
                    <a:pt x="1090" y="743"/>
                  </a:lnTo>
                  <a:lnTo>
                    <a:pt x="1136" y="727"/>
                  </a:lnTo>
                  <a:lnTo>
                    <a:pt x="1152" y="752"/>
                  </a:lnTo>
                  <a:lnTo>
                    <a:pt x="1169" y="778"/>
                  </a:lnTo>
                  <a:lnTo>
                    <a:pt x="1159" y="820"/>
                  </a:lnTo>
                  <a:lnTo>
                    <a:pt x="1157" y="814"/>
                  </a:lnTo>
                  <a:lnTo>
                    <a:pt x="1161" y="820"/>
                  </a:lnTo>
                  <a:lnTo>
                    <a:pt x="1167" y="810"/>
                  </a:lnTo>
                  <a:lnTo>
                    <a:pt x="1163" y="834"/>
                  </a:lnTo>
                  <a:lnTo>
                    <a:pt x="1171" y="847"/>
                  </a:lnTo>
                  <a:lnTo>
                    <a:pt x="1175" y="851"/>
                  </a:lnTo>
                  <a:lnTo>
                    <a:pt x="1177" y="863"/>
                  </a:lnTo>
                  <a:lnTo>
                    <a:pt x="1183" y="857"/>
                  </a:lnTo>
                  <a:lnTo>
                    <a:pt x="1179" y="865"/>
                  </a:lnTo>
                  <a:lnTo>
                    <a:pt x="1184" y="888"/>
                  </a:lnTo>
                  <a:lnTo>
                    <a:pt x="1198" y="913"/>
                  </a:lnTo>
                  <a:lnTo>
                    <a:pt x="1219" y="909"/>
                  </a:lnTo>
                  <a:lnTo>
                    <a:pt x="1231" y="878"/>
                  </a:lnTo>
                  <a:lnTo>
                    <a:pt x="1241" y="847"/>
                  </a:lnTo>
                  <a:lnTo>
                    <a:pt x="1235" y="814"/>
                  </a:lnTo>
                  <a:lnTo>
                    <a:pt x="1229" y="783"/>
                  </a:lnTo>
                  <a:lnTo>
                    <a:pt x="1235" y="812"/>
                  </a:lnTo>
                  <a:lnTo>
                    <a:pt x="1231" y="781"/>
                  </a:lnTo>
                  <a:lnTo>
                    <a:pt x="1229" y="750"/>
                  </a:lnTo>
                  <a:lnTo>
                    <a:pt x="1227" y="721"/>
                  </a:lnTo>
                  <a:lnTo>
                    <a:pt x="1225" y="690"/>
                  </a:lnTo>
                  <a:lnTo>
                    <a:pt x="1235" y="683"/>
                  </a:lnTo>
                  <a:lnTo>
                    <a:pt x="1237" y="679"/>
                  </a:lnTo>
                  <a:lnTo>
                    <a:pt x="1250" y="659"/>
                  </a:lnTo>
                  <a:lnTo>
                    <a:pt x="1260" y="644"/>
                  </a:lnTo>
                  <a:lnTo>
                    <a:pt x="1262" y="640"/>
                  </a:lnTo>
                  <a:lnTo>
                    <a:pt x="1272" y="638"/>
                  </a:lnTo>
                  <a:lnTo>
                    <a:pt x="1316" y="607"/>
                  </a:lnTo>
                  <a:lnTo>
                    <a:pt x="1320" y="605"/>
                  </a:lnTo>
                  <a:lnTo>
                    <a:pt x="1353" y="584"/>
                  </a:lnTo>
                  <a:lnTo>
                    <a:pt x="1367" y="578"/>
                  </a:lnTo>
                  <a:lnTo>
                    <a:pt x="1390" y="556"/>
                  </a:lnTo>
                  <a:lnTo>
                    <a:pt x="1429" y="543"/>
                  </a:lnTo>
                  <a:lnTo>
                    <a:pt x="1405" y="535"/>
                  </a:lnTo>
                  <a:lnTo>
                    <a:pt x="1421" y="537"/>
                  </a:lnTo>
                  <a:lnTo>
                    <a:pt x="1425" y="529"/>
                  </a:lnTo>
                  <a:lnTo>
                    <a:pt x="1409" y="522"/>
                  </a:lnTo>
                  <a:lnTo>
                    <a:pt x="1444" y="522"/>
                  </a:lnTo>
                  <a:lnTo>
                    <a:pt x="1454" y="506"/>
                  </a:lnTo>
                  <a:lnTo>
                    <a:pt x="1444" y="512"/>
                  </a:lnTo>
                  <a:lnTo>
                    <a:pt x="1436" y="504"/>
                  </a:lnTo>
                  <a:lnTo>
                    <a:pt x="1425" y="498"/>
                  </a:lnTo>
                  <a:lnTo>
                    <a:pt x="1427" y="496"/>
                  </a:lnTo>
                  <a:lnTo>
                    <a:pt x="1440" y="498"/>
                  </a:lnTo>
                  <a:lnTo>
                    <a:pt x="1450" y="496"/>
                  </a:lnTo>
                  <a:lnTo>
                    <a:pt x="1456" y="500"/>
                  </a:lnTo>
                  <a:lnTo>
                    <a:pt x="1458" y="475"/>
                  </a:lnTo>
                  <a:lnTo>
                    <a:pt x="1462" y="512"/>
                  </a:lnTo>
                  <a:lnTo>
                    <a:pt x="1450" y="465"/>
                  </a:lnTo>
                  <a:lnTo>
                    <a:pt x="1438" y="463"/>
                  </a:lnTo>
                  <a:lnTo>
                    <a:pt x="1429" y="452"/>
                  </a:lnTo>
                  <a:lnTo>
                    <a:pt x="1450" y="461"/>
                  </a:lnTo>
                  <a:lnTo>
                    <a:pt x="1440" y="444"/>
                  </a:lnTo>
                  <a:lnTo>
                    <a:pt x="1454" y="454"/>
                  </a:lnTo>
                  <a:lnTo>
                    <a:pt x="1438" y="423"/>
                  </a:lnTo>
                  <a:lnTo>
                    <a:pt x="1458" y="436"/>
                  </a:lnTo>
                  <a:lnTo>
                    <a:pt x="1442" y="411"/>
                  </a:lnTo>
                  <a:lnTo>
                    <a:pt x="1435" y="411"/>
                  </a:lnTo>
                  <a:lnTo>
                    <a:pt x="1446" y="398"/>
                  </a:lnTo>
                  <a:lnTo>
                    <a:pt x="1442" y="411"/>
                  </a:lnTo>
                  <a:lnTo>
                    <a:pt x="1462" y="421"/>
                  </a:lnTo>
                  <a:lnTo>
                    <a:pt x="1456" y="401"/>
                  </a:lnTo>
                  <a:lnTo>
                    <a:pt x="1462" y="413"/>
                  </a:lnTo>
                  <a:lnTo>
                    <a:pt x="1468" y="380"/>
                  </a:lnTo>
                  <a:lnTo>
                    <a:pt x="1489" y="372"/>
                  </a:lnTo>
                  <a:lnTo>
                    <a:pt x="1475" y="392"/>
                  </a:lnTo>
                  <a:lnTo>
                    <a:pt x="1471" y="403"/>
                  </a:lnTo>
                  <a:lnTo>
                    <a:pt x="1468" y="413"/>
                  </a:lnTo>
                  <a:lnTo>
                    <a:pt x="1479" y="419"/>
                  </a:lnTo>
                  <a:lnTo>
                    <a:pt x="1473" y="429"/>
                  </a:lnTo>
                  <a:lnTo>
                    <a:pt x="1475" y="436"/>
                  </a:lnTo>
                  <a:lnTo>
                    <a:pt x="1469" y="442"/>
                  </a:lnTo>
                  <a:lnTo>
                    <a:pt x="1462" y="456"/>
                  </a:lnTo>
                  <a:lnTo>
                    <a:pt x="1502" y="411"/>
                  </a:lnTo>
                  <a:lnTo>
                    <a:pt x="1499" y="372"/>
                  </a:lnTo>
                  <a:lnTo>
                    <a:pt x="1516" y="355"/>
                  </a:lnTo>
                  <a:lnTo>
                    <a:pt x="1500" y="366"/>
                  </a:lnTo>
                  <a:lnTo>
                    <a:pt x="1514" y="380"/>
                  </a:lnTo>
                  <a:lnTo>
                    <a:pt x="1512" y="392"/>
                  </a:lnTo>
                  <a:lnTo>
                    <a:pt x="1551" y="355"/>
                  </a:lnTo>
                  <a:lnTo>
                    <a:pt x="1549" y="359"/>
                  </a:lnTo>
                  <a:lnTo>
                    <a:pt x="1557" y="334"/>
                  </a:lnTo>
                  <a:lnTo>
                    <a:pt x="1570" y="308"/>
                  </a:lnTo>
                  <a:lnTo>
                    <a:pt x="1566" y="318"/>
                  </a:lnTo>
                  <a:lnTo>
                    <a:pt x="1578" y="312"/>
                  </a:lnTo>
                  <a:lnTo>
                    <a:pt x="1613" y="306"/>
                  </a:lnTo>
                  <a:lnTo>
                    <a:pt x="1646" y="299"/>
                  </a:lnTo>
                  <a:lnTo>
                    <a:pt x="1654" y="287"/>
                  </a:lnTo>
                  <a:lnTo>
                    <a:pt x="1659" y="289"/>
                  </a:lnTo>
                  <a:lnTo>
                    <a:pt x="1673" y="297"/>
                  </a:lnTo>
                  <a:lnTo>
                    <a:pt x="1681" y="299"/>
                  </a:lnTo>
                  <a:lnTo>
                    <a:pt x="1700" y="289"/>
                  </a:lnTo>
                  <a:lnTo>
                    <a:pt x="1698" y="273"/>
                  </a:lnTo>
                  <a:lnTo>
                    <a:pt x="1700" y="283"/>
                  </a:lnTo>
                  <a:lnTo>
                    <a:pt x="1681" y="277"/>
                  </a:lnTo>
                  <a:lnTo>
                    <a:pt x="1685" y="254"/>
                  </a:lnTo>
                  <a:lnTo>
                    <a:pt x="1687" y="248"/>
                  </a:lnTo>
                  <a:lnTo>
                    <a:pt x="1721" y="209"/>
                  </a:lnTo>
                  <a:lnTo>
                    <a:pt x="1731" y="204"/>
                  </a:lnTo>
                  <a:lnTo>
                    <a:pt x="1737" y="206"/>
                  </a:lnTo>
                  <a:lnTo>
                    <a:pt x="1766" y="182"/>
                  </a:lnTo>
                  <a:lnTo>
                    <a:pt x="1766" y="186"/>
                  </a:lnTo>
                  <a:lnTo>
                    <a:pt x="1774" y="184"/>
                  </a:lnTo>
                  <a:lnTo>
                    <a:pt x="1789" y="188"/>
                  </a:lnTo>
                  <a:lnTo>
                    <a:pt x="1826" y="169"/>
                  </a:lnTo>
                  <a:close/>
                </a:path>
              </a:pathLst>
            </a:custGeom>
            <a:solidFill>
              <a:srgbClr val="00B0CA"/>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49" name="Google Shape;2549;g7826bb8c5e_0_4294"/>
            <p:cNvSpPr/>
            <p:nvPr/>
          </p:nvSpPr>
          <p:spPr>
            <a:xfrm>
              <a:off x="1806859" y="2530516"/>
              <a:ext cx="608945" cy="338594"/>
            </a:xfrm>
            <a:custGeom>
              <a:avLst/>
              <a:gdLst/>
              <a:ahLst/>
              <a:cxnLst/>
              <a:rect l="l" t="t" r="r" b="b"/>
              <a:pathLst>
                <a:path w="1165" h="558" extrusionOk="0">
                  <a:moveTo>
                    <a:pt x="944" y="541"/>
                  </a:moveTo>
                  <a:lnTo>
                    <a:pt x="965" y="519"/>
                  </a:lnTo>
                  <a:lnTo>
                    <a:pt x="949" y="502"/>
                  </a:lnTo>
                  <a:lnTo>
                    <a:pt x="936" y="485"/>
                  </a:lnTo>
                  <a:lnTo>
                    <a:pt x="944" y="452"/>
                  </a:lnTo>
                  <a:lnTo>
                    <a:pt x="949" y="419"/>
                  </a:lnTo>
                  <a:lnTo>
                    <a:pt x="942" y="382"/>
                  </a:lnTo>
                  <a:lnTo>
                    <a:pt x="903" y="393"/>
                  </a:lnTo>
                  <a:lnTo>
                    <a:pt x="882" y="405"/>
                  </a:lnTo>
                  <a:lnTo>
                    <a:pt x="856" y="413"/>
                  </a:lnTo>
                  <a:lnTo>
                    <a:pt x="858" y="378"/>
                  </a:lnTo>
                  <a:lnTo>
                    <a:pt x="851" y="372"/>
                  </a:lnTo>
                  <a:lnTo>
                    <a:pt x="864" y="362"/>
                  </a:lnTo>
                  <a:lnTo>
                    <a:pt x="810" y="364"/>
                  </a:lnTo>
                  <a:lnTo>
                    <a:pt x="852" y="324"/>
                  </a:lnTo>
                  <a:lnTo>
                    <a:pt x="895" y="285"/>
                  </a:lnTo>
                  <a:lnTo>
                    <a:pt x="940" y="244"/>
                  </a:lnTo>
                  <a:lnTo>
                    <a:pt x="982" y="203"/>
                  </a:lnTo>
                  <a:lnTo>
                    <a:pt x="1027" y="167"/>
                  </a:lnTo>
                  <a:lnTo>
                    <a:pt x="1073" y="128"/>
                  </a:lnTo>
                  <a:lnTo>
                    <a:pt x="1118" y="89"/>
                  </a:lnTo>
                  <a:lnTo>
                    <a:pt x="1165" y="52"/>
                  </a:lnTo>
                  <a:lnTo>
                    <a:pt x="1108" y="37"/>
                  </a:lnTo>
                  <a:lnTo>
                    <a:pt x="1056" y="33"/>
                  </a:lnTo>
                  <a:lnTo>
                    <a:pt x="1004" y="27"/>
                  </a:lnTo>
                  <a:lnTo>
                    <a:pt x="936" y="23"/>
                  </a:lnTo>
                  <a:lnTo>
                    <a:pt x="932" y="19"/>
                  </a:lnTo>
                  <a:lnTo>
                    <a:pt x="907" y="13"/>
                  </a:lnTo>
                  <a:lnTo>
                    <a:pt x="891" y="12"/>
                  </a:lnTo>
                  <a:lnTo>
                    <a:pt x="883" y="8"/>
                  </a:lnTo>
                  <a:lnTo>
                    <a:pt x="858" y="12"/>
                  </a:lnTo>
                  <a:lnTo>
                    <a:pt x="876" y="2"/>
                  </a:lnTo>
                  <a:lnTo>
                    <a:pt x="858" y="0"/>
                  </a:lnTo>
                  <a:lnTo>
                    <a:pt x="788" y="15"/>
                  </a:lnTo>
                  <a:lnTo>
                    <a:pt x="775" y="13"/>
                  </a:lnTo>
                  <a:lnTo>
                    <a:pt x="752" y="21"/>
                  </a:lnTo>
                  <a:lnTo>
                    <a:pt x="750" y="25"/>
                  </a:lnTo>
                  <a:lnTo>
                    <a:pt x="734" y="35"/>
                  </a:lnTo>
                  <a:lnTo>
                    <a:pt x="744" y="21"/>
                  </a:lnTo>
                  <a:lnTo>
                    <a:pt x="686" y="33"/>
                  </a:lnTo>
                  <a:lnTo>
                    <a:pt x="626" y="54"/>
                  </a:lnTo>
                  <a:lnTo>
                    <a:pt x="566" y="75"/>
                  </a:lnTo>
                  <a:lnTo>
                    <a:pt x="517" y="77"/>
                  </a:lnTo>
                  <a:lnTo>
                    <a:pt x="486" y="93"/>
                  </a:lnTo>
                  <a:lnTo>
                    <a:pt x="507" y="126"/>
                  </a:lnTo>
                  <a:lnTo>
                    <a:pt x="498" y="134"/>
                  </a:lnTo>
                  <a:lnTo>
                    <a:pt x="540" y="141"/>
                  </a:lnTo>
                  <a:lnTo>
                    <a:pt x="529" y="153"/>
                  </a:lnTo>
                  <a:lnTo>
                    <a:pt x="560" y="153"/>
                  </a:lnTo>
                  <a:lnTo>
                    <a:pt x="519" y="153"/>
                  </a:lnTo>
                  <a:lnTo>
                    <a:pt x="515" y="141"/>
                  </a:lnTo>
                  <a:lnTo>
                    <a:pt x="509" y="159"/>
                  </a:lnTo>
                  <a:lnTo>
                    <a:pt x="521" y="167"/>
                  </a:lnTo>
                  <a:lnTo>
                    <a:pt x="502" y="169"/>
                  </a:lnTo>
                  <a:lnTo>
                    <a:pt x="445" y="165"/>
                  </a:lnTo>
                  <a:lnTo>
                    <a:pt x="471" y="151"/>
                  </a:lnTo>
                  <a:lnTo>
                    <a:pt x="403" y="163"/>
                  </a:lnTo>
                  <a:lnTo>
                    <a:pt x="319" y="184"/>
                  </a:lnTo>
                  <a:lnTo>
                    <a:pt x="348" y="194"/>
                  </a:lnTo>
                  <a:lnTo>
                    <a:pt x="329" y="198"/>
                  </a:lnTo>
                  <a:lnTo>
                    <a:pt x="323" y="219"/>
                  </a:lnTo>
                  <a:lnTo>
                    <a:pt x="395" y="219"/>
                  </a:lnTo>
                  <a:lnTo>
                    <a:pt x="405" y="225"/>
                  </a:lnTo>
                  <a:lnTo>
                    <a:pt x="465" y="205"/>
                  </a:lnTo>
                  <a:lnTo>
                    <a:pt x="451" y="219"/>
                  </a:lnTo>
                  <a:lnTo>
                    <a:pt x="442" y="225"/>
                  </a:lnTo>
                  <a:lnTo>
                    <a:pt x="428" y="244"/>
                  </a:lnTo>
                  <a:lnTo>
                    <a:pt x="381" y="256"/>
                  </a:lnTo>
                  <a:lnTo>
                    <a:pt x="316" y="271"/>
                  </a:lnTo>
                  <a:lnTo>
                    <a:pt x="327" y="264"/>
                  </a:lnTo>
                  <a:lnTo>
                    <a:pt x="304" y="269"/>
                  </a:lnTo>
                  <a:lnTo>
                    <a:pt x="273" y="285"/>
                  </a:lnTo>
                  <a:lnTo>
                    <a:pt x="277" y="285"/>
                  </a:lnTo>
                  <a:lnTo>
                    <a:pt x="265" y="291"/>
                  </a:lnTo>
                  <a:lnTo>
                    <a:pt x="219" y="308"/>
                  </a:lnTo>
                  <a:lnTo>
                    <a:pt x="203" y="312"/>
                  </a:lnTo>
                  <a:lnTo>
                    <a:pt x="207" y="316"/>
                  </a:lnTo>
                  <a:lnTo>
                    <a:pt x="190" y="322"/>
                  </a:lnTo>
                  <a:lnTo>
                    <a:pt x="195" y="333"/>
                  </a:lnTo>
                  <a:lnTo>
                    <a:pt x="228" y="322"/>
                  </a:lnTo>
                  <a:lnTo>
                    <a:pt x="199" y="335"/>
                  </a:lnTo>
                  <a:lnTo>
                    <a:pt x="199" y="339"/>
                  </a:lnTo>
                  <a:lnTo>
                    <a:pt x="232" y="345"/>
                  </a:lnTo>
                  <a:lnTo>
                    <a:pt x="221" y="345"/>
                  </a:lnTo>
                  <a:lnTo>
                    <a:pt x="226" y="351"/>
                  </a:lnTo>
                  <a:lnTo>
                    <a:pt x="205" y="351"/>
                  </a:lnTo>
                  <a:lnTo>
                    <a:pt x="193" y="345"/>
                  </a:lnTo>
                  <a:lnTo>
                    <a:pt x="170" y="357"/>
                  </a:lnTo>
                  <a:lnTo>
                    <a:pt x="182" y="382"/>
                  </a:lnTo>
                  <a:lnTo>
                    <a:pt x="230" y="368"/>
                  </a:lnTo>
                  <a:lnTo>
                    <a:pt x="261" y="353"/>
                  </a:lnTo>
                  <a:lnTo>
                    <a:pt x="230" y="374"/>
                  </a:lnTo>
                  <a:lnTo>
                    <a:pt x="213" y="395"/>
                  </a:lnTo>
                  <a:lnTo>
                    <a:pt x="201" y="407"/>
                  </a:lnTo>
                  <a:lnTo>
                    <a:pt x="203" y="407"/>
                  </a:lnTo>
                  <a:lnTo>
                    <a:pt x="186" y="423"/>
                  </a:lnTo>
                  <a:lnTo>
                    <a:pt x="242" y="413"/>
                  </a:lnTo>
                  <a:lnTo>
                    <a:pt x="255" y="415"/>
                  </a:lnTo>
                  <a:lnTo>
                    <a:pt x="257" y="430"/>
                  </a:lnTo>
                  <a:lnTo>
                    <a:pt x="290" y="409"/>
                  </a:lnTo>
                  <a:lnTo>
                    <a:pt x="300" y="409"/>
                  </a:lnTo>
                  <a:lnTo>
                    <a:pt x="281" y="417"/>
                  </a:lnTo>
                  <a:lnTo>
                    <a:pt x="283" y="424"/>
                  </a:lnTo>
                  <a:lnTo>
                    <a:pt x="335" y="409"/>
                  </a:lnTo>
                  <a:lnTo>
                    <a:pt x="288" y="438"/>
                  </a:lnTo>
                  <a:lnTo>
                    <a:pt x="296" y="438"/>
                  </a:lnTo>
                  <a:lnTo>
                    <a:pt x="288" y="438"/>
                  </a:lnTo>
                  <a:lnTo>
                    <a:pt x="261" y="459"/>
                  </a:lnTo>
                  <a:lnTo>
                    <a:pt x="246" y="463"/>
                  </a:lnTo>
                  <a:lnTo>
                    <a:pt x="199" y="488"/>
                  </a:lnTo>
                  <a:lnTo>
                    <a:pt x="126" y="510"/>
                  </a:lnTo>
                  <a:lnTo>
                    <a:pt x="120" y="521"/>
                  </a:lnTo>
                  <a:lnTo>
                    <a:pt x="108" y="521"/>
                  </a:lnTo>
                  <a:lnTo>
                    <a:pt x="102" y="527"/>
                  </a:lnTo>
                  <a:lnTo>
                    <a:pt x="102" y="519"/>
                  </a:lnTo>
                  <a:lnTo>
                    <a:pt x="77" y="519"/>
                  </a:lnTo>
                  <a:lnTo>
                    <a:pt x="0" y="552"/>
                  </a:lnTo>
                  <a:lnTo>
                    <a:pt x="3" y="551"/>
                  </a:lnTo>
                  <a:lnTo>
                    <a:pt x="9" y="554"/>
                  </a:lnTo>
                  <a:lnTo>
                    <a:pt x="27" y="545"/>
                  </a:lnTo>
                  <a:lnTo>
                    <a:pt x="31" y="549"/>
                  </a:lnTo>
                  <a:lnTo>
                    <a:pt x="65" y="533"/>
                  </a:lnTo>
                  <a:lnTo>
                    <a:pt x="83" y="533"/>
                  </a:lnTo>
                  <a:lnTo>
                    <a:pt x="71" y="535"/>
                  </a:lnTo>
                  <a:lnTo>
                    <a:pt x="106" y="529"/>
                  </a:lnTo>
                  <a:lnTo>
                    <a:pt x="131" y="527"/>
                  </a:lnTo>
                  <a:lnTo>
                    <a:pt x="137" y="523"/>
                  </a:lnTo>
                  <a:lnTo>
                    <a:pt x="170" y="516"/>
                  </a:lnTo>
                  <a:lnTo>
                    <a:pt x="180" y="514"/>
                  </a:lnTo>
                  <a:lnTo>
                    <a:pt x="188" y="506"/>
                  </a:lnTo>
                  <a:lnTo>
                    <a:pt x="277" y="473"/>
                  </a:lnTo>
                  <a:lnTo>
                    <a:pt x="354" y="444"/>
                  </a:lnTo>
                  <a:lnTo>
                    <a:pt x="424" y="415"/>
                  </a:lnTo>
                  <a:lnTo>
                    <a:pt x="410" y="405"/>
                  </a:lnTo>
                  <a:lnTo>
                    <a:pt x="469" y="380"/>
                  </a:lnTo>
                  <a:lnTo>
                    <a:pt x="482" y="378"/>
                  </a:lnTo>
                  <a:lnTo>
                    <a:pt x="492" y="366"/>
                  </a:lnTo>
                  <a:lnTo>
                    <a:pt x="542" y="345"/>
                  </a:lnTo>
                  <a:lnTo>
                    <a:pt x="593" y="329"/>
                  </a:lnTo>
                  <a:lnTo>
                    <a:pt x="628" y="324"/>
                  </a:lnTo>
                  <a:lnTo>
                    <a:pt x="606" y="333"/>
                  </a:lnTo>
                  <a:lnTo>
                    <a:pt x="612" y="343"/>
                  </a:lnTo>
                  <a:lnTo>
                    <a:pt x="600" y="341"/>
                  </a:lnTo>
                  <a:lnTo>
                    <a:pt x="548" y="349"/>
                  </a:lnTo>
                  <a:lnTo>
                    <a:pt x="498" y="386"/>
                  </a:lnTo>
                  <a:lnTo>
                    <a:pt x="523" y="382"/>
                  </a:lnTo>
                  <a:lnTo>
                    <a:pt x="484" y="397"/>
                  </a:lnTo>
                  <a:lnTo>
                    <a:pt x="504" y="401"/>
                  </a:lnTo>
                  <a:lnTo>
                    <a:pt x="540" y="384"/>
                  </a:lnTo>
                  <a:lnTo>
                    <a:pt x="531" y="392"/>
                  </a:lnTo>
                  <a:lnTo>
                    <a:pt x="542" y="386"/>
                  </a:lnTo>
                  <a:lnTo>
                    <a:pt x="550" y="386"/>
                  </a:lnTo>
                  <a:lnTo>
                    <a:pt x="556" y="380"/>
                  </a:lnTo>
                  <a:lnTo>
                    <a:pt x="558" y="384"/>
                  </a:lnTo>
                  <a:lnTo>
                    <a:pt x="575" y="374"/>
                  </a:lnTo>
                  <a:lnTo>
                    <a:pt x="591" y="376"/>
                  </a:lnTo>
                  <a:lnTo>
                    <a:pt x="626" y="361"/>
                  </a:lnTo>
                  <a:lnTo>
                    <a:pt x="620" y="357"/>
                  </a:lnTo>
                  <a:lnTo>
                    <a:pt x="630" y="353"/>
                  </a:lnTo>
                  <a:lnTo>
                    <a:pt x="624" y="349"/>
                  </a:lnTo>
                  <a:lnTo>
                    <a:pt x="639" y="343"/>
                  </a:lnTo>
                  <a:lnTo>
                    <a:pt x="668" y="329"/>
                  </a:lnTo>
                  <a:lnTo>
                    <a:pt x="647" y="341"/>
                  </a:lnTo>
                  <a:lnTo>
                    <a:pt x="661" y="339"/>
                  </a:lnTo>
                  <a:lnTo>
                    <a:pt x="659" y="343"/>
                  </a:lnTo>
                  <a:lnTo>
                    <a:pt x="699" y="335"/>
                  </a:lnTo>
                  <a:lnTo>
                    <a:pt x="688" y="337"/>
                  </a:lnTo>
                  <a:lnTo>
                    <a:pt x="686" y="345"/>
                  </a:lnTo>
                  <a:lnTo>
                    <a:pt x="680" y="349"/>
                  </a:lnTo>
                  <a:lnTo>
                    <a:pt x="692" y="349"/>
                  </a:lnTo>
                  <a:lnTo>
                    <a:pt x="694" y="351"/>
                  </a:lnTo>
                  <a:lnTo>
                    <a:pt x="684" y="359"/>
                  </a:lnTo>
                  <a:lnTo>
                    <a:pt x="694" y="362"/>
                  </a:lnTo>
                  <a:lnTo>
                    <a:pt x="723" y="353"/>
                  </a:lnTo>
                  <a:lnTo>
                    <a:pt x="711" y="361"/>
                  </a:lnTo>
                  <a:lnTo>
                    <a:pt x="719" y="368"/>
                  </a:lnTo>
                  <a:lnTo>
                    <a:pt x="756" y="372"/>
                  </a:lnTo>
                  <a:lnTo>
                    <a:pt x="792" y="374"/>
                  </a:lnTo>
                  <a:lnTo>
                    <a:pt x="794" y="384"/>
                  </a:lnTo>
                  <a:lnTo>
                    <a:pt x="831" y="376"/>
                  </a:lnTo>
                  <a:lnTo>
                    <a:pt x="847" y="380"/>
                  </a:lnTo>
                  <a:lnTo>
                    <a:pt x="833" y="386"/>
                  </a:lnTo>
                  <a:lnTo>
                    <a:pt x="841" y="376"/>
                  </a:lnTo>
                  <a:lnTo>
                    <a:pt x="823" y="388"/>
                  </a:lnTo>
                  <a:lnTo>
                    <a:pt x="841" y="411"/>
                  </a:lnTo>
                  <a:lnTo>
                    <a:pt x="860" y="436"/>
                  </a:lnTo>
                  <a:lnTo>
                    <a:pt x="876" y="434"/>
                  </a:lnTo>
                  <a:lnTo>
                    <a:pt x="870" y="413"/>
                  </a:lnTo>
                  <a:lnTo>
                    <a:pt x="882" y="415"/>
                  </a:lnTo>
                  <a:lnTo>
                    <a:pt x="895" y="413"/>
                  </a:lnTo>
                  <a:lnTo>
                    <a:pt x="899" y="413"/>
                  </a:lnTo>
                  <a:lnTo>
                    <a:pt x="889" y="424"/>
                  </a:lnTo>
                  <a:lnTo>
                    <a:pt x="891" y="430"/>
                  </a:lnTo>
                  <a:lnTo>
                    <a:pt x="893" y="436"/>
                  </a:lnTo>
                  <a:lnTo>
                    <a:pt x="922" y="403"/>
                  </a:lnTo>
                  <a:lnTo>
                    <a:pt x="918" y="423"/>
                  </a:lnTo>
                  <a:lnTo>
                    <a:pt x="924" y="438"/>
                  </a:lnTo>
                  <a:lnTo>
                    <a:pt x="930" y="434"/>
                  </a:lnTo>
                  <a:lnTo>
                    <a:pt x="932" y="442"/>
                  </a:lnTo>
                  <a:lnTo>
                    <a:pt x="924" y="448"/>
                  </a:lnTo>
                  <a:lnTo>
                    <a:pt x="940" y="448"/>
                  </a:lnTo>
                  <a:lnTo>
                    <a:pt x="930" y="448"/>
                  </a:lnTo>
                  <a:lnTo>
                    <a:pt x="930" y="459"/>
                  </a:lnTo>
                  <a:lnTo>
                    <a:pt x="922" y="456"/>
                  </a:lnTo>
                  <a:lnTo>
                    <a:pt x="924" y="469"/>
                  </a:lnTo>
                  <a:lnTo>
                    <a:pt x="913" y="471"/>
                  </a:lnTo>
                  <a:lnTo>
                    <a:pt x="914" y="475"/>
                  </a:lnTo>
                  <a:lnTo>
                    <a:pt x="920" y="490"/>
                  </a:lnTo>
                  <a:lnTo>
                    <a:pt x="932" y="508"/>
                  </a:lnTo>
                  <a:lnTo>
                    <a:pt x="920" y="510"/>
                  </a:lnTo>
                  <a:lnTo>
                    <a:pt x="893" y="531"/>
                  </a:lnTo>
                  <a:lnTo>
                    <a:pt x="905" y="525"/>
                  </a:lnTo>
                  <a:lnTo>
                    <a:pt x="942" y="512"/>
                  </a:lnTo>
                  <a:lnTo>
                    <a:pt x="920" y="541"/>
                  </a:lnTo>
                  <a:lnTo>
                    <a:pt x="911" y="545"/>
                  </a:lnTo>
                  <a:lnTo>
                    <a:pt x="932" y="539"/>
                  </a:lnTo>
                  <a:lnTo>
                    <a:pt x="918" y="549"/>
                  </a:lnTo>
                  <a:lnTo>
                    <a:pt x="911" y="558"/>
                  </a:lnTo>
                  <a:lnTo>
                    <a:pt x="944" y="54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50" name="Google Shape;2550;g7826bb8c5e_0_4294"/>
            <p:cNvSpPr/>
            <p:nvPr/>
          </p:nvSpPr>
          <p:spPr>
            <a:xfrm>
              <a:off x="1978482" y="2800848"/>
              <a:ext cx="43223" cy="25940"/>
            </a:xfrm>
            <a:custGeom>
              <a:avLst/>
              <a:gdLst/>
              <a:ahLst/>
              <a:cxnLst/>
              <a:rect l="l" t="t" r="r" b="b"/>
              <a:pathLst>
                <a:path w="83" h="44" extrusionOk="0">
                  <a:moveTo>
                    <a:pt x="83" y="11"/>
                  </a:moveTo>
                  <a:lnTo>
                    <a:pt x="76" y="10"/>
                  </a:lnTo>
                  <a:lnTo>
                    <a:pt x="80" y="4"/>
                  </a:lnTo>
                  <a:lnTo>
                    <a:pt x="76" y="2"/>
                  </a:lnTo>
                  <a:lnTo>
                    <a:pt x="66" y="0"/>
                  </a:lnTo>
                  <a:lnTo>
                    <a:pt x="60" y="8"/>
                  </a:lnTo>
                  <a:lnTo>
                    <a:pt x="52" y="6"/>
                  </a:lnTo>
                  <a:lnTo>
                    <a:pt x="39" y="10"/>
                  </a:lnTo>
                  <a:lnTo>
                    <a:pt x="27" y="23"/>
                  </a:lnTo>
                  <a:lnTo>
                    <a:pt x="27" y="11"/>
                  </a:lnTo>
                  <a:lnTo>
                    <a:pt x="4" y="25"/>
                  </a:lnTo>
                  <a:lnTo>
                    <a:pt x="2" y="37"/>
                  </a:lnTo>
                  <a:lnTo>
                    <a:pt x="6" y="31"/>
                  </a:lnTo>
                  <a:lnTo>
                    <a:pt x="16" y="33"/>
                  </a:lnTo>
                  <a:lnTo>
                    <a:pt x="0" y="44"/>
                  </a:lnTo>
                  <a:lnTo>
                    <a:pt x="18" y="33"/>
                  </a:lnTo>
                  <a:lnTo>
                    <a:pt x="54" y="23"/>
                  </a:lnTo>
                  <a:lnTo>
                    <a:pt x="60" y="17"/>
                  </a:lnTo>
                  <a:lnTo>
                    <a:pt x="83" y="1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51" name="Google Shape;2551;g7826bb8c5e_0_4294"/>
            <p:cNvSpPr/>
            <p:nvPr/>
          </p:nvSpPr>
          <p:spPr>
            <a:xfrm>
              <a:off x="1875509" y="2680700"/>
              <a:ext cx="36867" cy="16383"/>
            </a:xfrm>
            <a:custGeom>
              <a:avLst/>
              <a:gdLst/>
              <a:ahLst/>
              <a:cxnLst/>
              <a:rect l="l" t="t" r="r" b="b"/>
              <a:pathLst>
                <a:path w="72" h="25" extrusionOk="0">
                  <a:moveTo>
                    <a:pt x="72" y="14"/>
                  </a:moveTo>
                  <a:lnTo>
                    <a:pt x="35" y="25"/>
                  </a:lnTo>
                  <a:lnTo>
                    <a:pt x="24" y="10"/>
                  </a:lnTo>
                  <a:lnTo>
                    <a:pt x="28" y="16"/>
                  </a:lnTo>
                  <a:lnTo>
                    <a:pt x="0" y="14"/>
                  </a:lnTo>
                  <a:lnTo>
                    <a:pt x="10" y="0"/>
                  </a:lnTo>
                  <a:lnTo>
                    <a:pt x="39" y="0"/>
                  </a:lnTo>
                  <a:lnTo>
                    <a:pt x="72" y="1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52" name="Google Shape;2552;g7826bb8c5e_0_4294"/>
            <p:cNvSpPr/>
            <p:nvPr/>
          </p:nvSpPr>
          <p:spPr>
            <a:xfrm>
              <a:off x="2251810" y="2836345"/>
              <a:ext cx="20340" cy="34132"/>
            </a:xfrm>
            <a:custGeom>
              <a:avLst/>
              <a:gdLst/>
              <a:ahLst/>
              <a:cxnLst/>
              <a:rect l="l" t="t" r="r" b="b"/>
              <a:pathLst>
                <a:path w="35" h="58" extrusionOk="0">
                  <a:moveTo>
                    <a:pt x="22" y="54"/>
                  </a:moveTo>
                  <a:lnTo>
                    <a:pt x="16" y="58"/>
                  </a:lnTo>
                  <a:lnTo>
                    <a:pt x="14" y="47"/>
                  </a:lnTo>
                  <a:lnTo>
                    <a:pt x="0" y="39"/>
                  </a:lnTo>
                  <a:lnTo>
                    <a:pt x="12" y="35"/>
                  </a:lnTo>
                  <a:lnTo>
                    <a:pt x="20" y="25"/>
                  </a:lnTo>
                  <a:lnTo>
                    <a:pt x="8" y="27"/>
                  </a:lnTo>
                  <a:lnTo>
                    <a:pt x="22" y="15"/>
                  </a:lnTo>
                  <a:lnTo>
                    <a:pt x="20" y="6"/>
                  </a:lnTo>
                  <a:lnTo>
                    <a:pt x="31" y="0"/>
                  </a:lnTo>
                  <a:lnTo>
                    <a:pt x="35" y="29"/>
                  </a:lnTo>
                  <a:lnTo>
                    <a:pt x="29" y="25"/>
                  </a:lnTo>
                  <a:lnTo>
                    <a:pt x="28" y="33"/>
                  </a:lnTo>
                  <a:lnTo>
                    <a:pt x="22" y="54"/>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53" name="Google Shape;2553;g7826bb8c5e_0_4294"/>
            <p:cNvSpPr/>
            <p:nvPr/>
          </p:nvSpPr>
          <p:spPr>
            <a:xfrm>
              <a:off x="2264523" y="2795386"/>
              <a:ext cx="19069" cy="24576"/>
            </a:xfrm>
            <a:custGeom>
              <a:avLst/>
              <a:gdLst/>
              <a:ahLst/>
              <a:cxnLst/>
              <a:rect l="l" t="t" r="r" b="b"/>
              <a:pathLst>
                <a:path w="38" h="43" extrusionOk="0">
                  <a:moveTo>
                    <a:pt x="37" y="23"/>
                  </a:moveTo>
                  <a:lnTo>
                    <a:pt x="27" y="27"/>
                  </a:lnTo>
                  <a:lnTo>
                    <a:pt x="0" y="43"/>
                  </a:lnTo>
                  <a:lnTo>
                    <a:pt x="7" y="33"/>
                  </a:lnTo>
                  <a:lnTo>
                    <a:pt x="29" y="0"/>
                  </a:lnTo>
                  <a:lnTo>
                    <a:pt x="38" y="2"/>
                  </a:lnTo>
                  <a:lnTo>
                    <a:pt x="37" y="23"/>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54" name="Google Shape;2554;g7826bb8c5e_0_4294"/>
            <p:cNvSpPr/>
            <p:nvPr/>
          </p:nvSpPr>
          <p:spPr>
            <a:xfrm>
              <a:off x="1776348" y="2863652"/>
              <a:ext cx="29240" cy="13653"/>
            </a:xfrm>
            <a:custGeom>
              <a:avLst/>
              <a:gdLst/>
              <a:ahLst/>
              <a:cxnLst/>
              <a:rect l="l" t="t" r="r" b="b"/>
              <a:pathLst>
                <a:path w="57" h="19" extrusionOk="0">
                  <a:moveTo>
                    <a:pt x="57" y="13"/>
                  </a:moveTo>
                  <a:lnTo>
                    <a:pt x="45" y="0"/>
                  </a:lnTo>
                  <a:lnTo>
                    <a:pt x="0" y="15"/>
                  </a:lnTo>
                  <a:lnTo>
                    <a:pt x="14" y="19"/>
                  </a:lnTo>
                  <a:lnTo>
                    <a:pt x="57" y="13"/>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55" name="Google Shape;2555;g7826bb8c5e_0_4294"/>
            <p:cNvSpPr/>
            <p:nvPr/>
          </p:nvSpPr>
          <p:spPr>
            <a:xfrm>
              <a:off x="1857711" y="2748965"/>
              <a:ext cx="24154" cy="12287"/>
            </a:xfrm>
            <a:custGeom>
              <a:avLst/>
              <a:gdLst/>
              <a:ahLst/>
              <a:cxnLst/>
              <a:rect l="l" t="t" r="r" b="b"/>
              <a:pathLst>
                <a:path w="43" h="19" extrusionOk="0">
                  <a:moveTo>
                    <a:pt x="41" y="13"/>
                  </a:moveTo>
                  <a:lnTo>
                    <a:pt x="26" y="19"/>
                  </a:lnTo>
                  <a:lnTo>
                    <a:pt x="0" y="11"/>
                  </a:lnTo>
                  <a:lnTo>
                    <a:pt x="43" y="0"/>
                  </a:lnTo>
                  <a:lnTo>
                    <a:pt x="41" y="13"/>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56" name="Google Shape;2556;g7826bb8c5e_0_4294"/>
            <p:cNvSpPr/>
            <p:nvPr/>
          </p:nvSpPr>
          <p:spPr>
            <a:xfrm>
              <a:off x="2250538" y="2795386"/>
              <a:ext cx="21612" cy="17749"/>
            </a:xfrm>
            <a:custGeom>
              <a:avLst/>
              <a:gdLst/>
              <a:ahLst/>
              <a:cxnLst/>
              <a:rect l="l" t="t" r="r" b="b"/>
              <a:pathLst>
                <a:path w="38" h="29" extrusionOk="0">
                  <a:moveTo>
                    <a:pt x="31" y="27"/>
                  </a:moveTo>
                  <a:lnTo>
                    <a:pt x="27" y="20"/>
                  </a:lnTo>
                  <a:lnTo>
                    <a:pt x="19" y="10"/>
                  </a:lnTo>
                  <a:lnTo>
                    <a:pt x="38" y="16"/>
                  </a:lnTo>
                  <a:lnTo>
                    <a:pt x="36" y="12"/>
                  </a:lnTo>
                  <a:lnTo>
                    <a:pt x="25" y="10"/>
                  </a:lnTo>
                  <a:lnTo>
                    <a:pt x="31" y="0"/>
                  </a:lnTo>
                  <a:lnTo>
                    <a:pt x="13" y="6"/>
                  </a:lnTo>
                  <a:lnTo>
                    <a:pt x="9" y="14"/>
                  </a:lnTo>
                  <a:lnTo>
                    <a:pt x="0" y="16"/>
                  </a:lnTo>
                  <a:lnTo>
                    <a:pt x="7" y="29"/>
                  </a:lnTo>
                  <a:lnTo>
                    <a:pt x="13" y="18"/>
                  </a:lnTo>
                  <a:lnTo>
                    <a:pt x="31" y="27"/>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57" name="Google Shape;2557;g7826bb8c5e_0_4294"/>
            <p:cNvSpPr/>
            <p:nvPr/>
          </p:nvSpPr>
          <p:spPr>
            <a:xfrm>
              <a:off x="2249267" y="2811769"/>
              <a:ext cx="13984" cy="25940"/>
            </a:xfrm>
            <a:custGeom>
              <a:avLst/>
              <a:gdLst/>
              <a:ahLst/>
              <a:cxnLst/>
              <a:rect l="l" t="t" r="r" b="b"/>
              <a:pathLst>
                <a:path w="25" h="45" extrusionOk="0">
                  <a:moveTo>
                    <a:pt x="0" y="45"/>
                  </a:moveTo>
                  <a:lnTo>
                    <a:pt x="25" y="0"/>
                  </a:lnTo>
                  <a:lnTo>
                    <a:pt x="7" y="8"/>
                  </a:lnTo>
                  <a:lnTo>
                    <a:pt x="0" y="45"/>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58" name="Google Shape;2558;g7826bb8c5e_0_4294"/>
            <p:cNvSpPr/>
            <p:nvPr/>
          </p:nvSpPr>
          <p:spPr>
            <a:xfrm>
              <a:off x="2255623" y="2825422"/>
              <a:ext cx="12713" cy="13653"/>
            </a:xfrm>
            <a:custGeom>
              <a:avLst/>
              <a:gdLst/>
              <a:ahLst/>
              <a:cxnLst/>
              <a:rect l="l" t="t" r="r" b="b"/>
              <a:pathLst>
                <a:path w="25" h="23" extrusionOk="0">
                  <a:moveTo>
                    <a:pt x="25" y="7"/>
                  </a:moveTo>
                  <a:lnTo>
                    <a:pt x="0" y="23"/>
                  </a:lnTo>
                  <a:lnTo>
                    <a:pt x="14" y="0"/>
                  </a:lnTo>
                  <a:lnTo>
                    <a:pt x="25" y="7"/>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59" name="Google Shape;2559;g7826bb8c5e_0_4294"/>
            <p:cNvSpPr/>
            <p:nvPr/>
          </p:nvSpPr>
          <p:spPr>
            <a:xfrm>
              <a:off x="3006955" y="3177671"/>
              <a:ext cx="38138" cy="12287"/>
            </a:xfrm>
            <a:custGeom>
              <a:avLst/>
              <a:gdLst/>
              <a:ahLst/>
              <a:cxnLst/>
              <a:rect l="l" t="t" r="r" b="b"/>
              <a:pathLst>
                <a:path w="71" h="18" extrusionOk="0">
                  <a:moveTo>
                    <a:pt x="71" y="0"/>
                  </a:moveTo>
                  <a:lnTo>
                    <a:pt x="52" y="6"/>
                  </a:lnTo>
                  <a:lnTo>
                    <a:pt x="56" y="0"/>
                  </a:lnTo>
                  <a:lnTo>
                    <a:pt x="0" y="18"/>
                  </a:lnTo>
                  <a:lnTo>
                    <a:pt x="36" y="10"/>
                  </a:lnTo>
                  <a:lnTo>
                    <a:pt x="71" y="0"/>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sp>
          <p:nvSpPr>
            <p:cNvPr id="2560" name="Google Shape;2560;g7826bb8c5e_0_4294"/>
            <p:cNvSpPr/>
            <p:nvPr/>
          </p:nvSpPr>
          <p:spPr>
            <a:xfrm>
              <a:off x="3907026" y="3487594"/>
              <a:ext cx="146198" cy="159741"/>
            </a:xfrm>
            <a:custGeom>
              <a:avLst/>
              <a:gdLst/>
              <a:ahLst/>
              <a:cxnLst/>
              <a:rect l="l" t="t" r="r" b="b"/>
              <a:pathLst>
                <a:path w="281" h="262" extrusionOk="0">
                  <a:moveTo>
                    <a:pt x="4" y="241"/>
                  </a:moveTo>
                  <a:lnTo>
                    <a:pt x="0" y="262"/>
                  </a:lnTo>
                  <a:lnTo>
                    <a:pt x="2" y="241"/>
                  </a:lnTo>
                  <a:lnTo>
                    <a:pt x="23" y="194"/>
                  </a:lnTo>
                  <a:lnTo>
                    <a:pt x="44" y="148"/>
                  </a:lnTo>
                  <a:lnTo>
                    <a:pt x="39" y="151"/>
                  </a:lnTo>
                  <a:lnTo>
                    <a:pt x="66" y="120"/>
                  </a:lnTo>
                  <a:lnTo>
                    <a:pt x="77" y="91"/>
                  </a:lnTo>
                  <a:lnTo>
                    <a:pt x="89" y="62"/>
                  </a:lnTo>
                  <a:lnTo>
                    <a:pt x="116" y="39"/>
                  </a:lnTo>
                  <a:lnTo>
                    <a:pt x="134" y="0"/>
                  </a:lnTo>
                  <a:lnTo>
                    <a:pt x="170" y="0"/>
                  </a:lnTo>
                  <a:lnTo>
                    <a:pt x="207" y="0"/>
                  </a:lnTo>
                  <a:lnTo>
                    <a:pt x="244" y="0"/>
                  </a:lnTo>
                  <a:lnTo>
                    <a:pt x="281" y="0"/>
                  </a:lnTo>
                  <a:lnTo>
                    <a:pt x="281" y="14"/>
                  </a:lnTo>
                  <a:lnTo>
                    <a:pt x="279" y="64"/>
                  </a:lnTo>
                  <a:lnTo>
                    <a:pt x="252" y="64"/>
                  </a:lnTo>
                  <a:lnTo>
                    <a:pt x="225" y="64"/>
                  </a:lnTo>
                  <a:lnTo>
                    <a:pt x="198" y="64"/>
                  </a:lnTo>
                  <a:lnTo>
                    <a:pt x="170" y="64"/>
                  </a:lnTo>
                  <a:lnTo>
                    <a:pt x="168" y="113"/>
                  </a:lnTo>
                  <a:lnTo>
                    <a:pt x="168" y="161"/>
                  </a:lnTo>
                  <a:lnTo>
                    <a:pt x="136" y="177"/>
                  </a:lnTo>
                  <a:lnTo>
                    <a:pt x="134" y="210"/>
                  </a:lnTo>
                  <a:lnTo>
                    <a:pt x="134" y="241"/>
                  </a:lnTo>
                  <a:lnTo>
                    <a:pt x="101" y="241"/>
                  </a:lnTo>
                  <a:lnTo>
                    <a:pt x="70" y="241"/>
                  </a:lnTo>
                  <a:lnTo>
                    <a:pt x="37" y="241"/>
                  </a:lnTo>
                  <a:lnTo>
                    <a:pt x="4" y="241"/>
                  </a:lnTo>
                  <a:close/>
                </a:path>
              </a:pathLst>
            </a:custGeom>
            <a:solidFill>
              <a:srgbClr val="FFFFFF"/>
            </a:solidFill>
            <a:ln w="9525" cap="flat" cmpd="sng">
              <a:solidFill>
                <a:srgbClr val="E7E6E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1" i="0" u="none" strike="noStrike" cap="none">
                <a:solidFill>
                  <a:srgbClr val="000000"/>
                </a:solidFill>
                <a:latin typeface="Arial"/>
                <a:ea typeface="Arial"/>
                <a:cs typeface="Arial"/>
                <a:sym typeface="Arial"/>
              </a:endParaRPr>
            </a:p>
          </p:txBody>
        </p:sp>
      </p:grpSp>
      <p:sp>
        <p:nvSpPr>
          <p:cNvPr id="2561" name="Google Shape;2561;g7826bb8c5e_0_4294"/>
          <p:cNvSpPr txBox="1"/>
          <p:nvPr/>
        </p:nvSpPr>
        <p:spPr>
          <a:xfrm>
            <a:off x="8156324" y="4762495"/>
            <a:ext cx="1464000" cy="3078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r>
              <a:rPr lang="es-ES" sz="1400" b="0" i="0" u="none" strike="noStrike" cap="none">
                <a:solidFill>
                  <a:srgbClr val="000000"/>
                </a:solidFill>
                <a:latin typeface="Arial"/>
                <a:ea typeface="Arial"/>
                <a:cs typeface="Arial"/>
                <a:sym typeface="Arial"/>
              </a:rPr>
              <a:t>+100M clientes </a:t>
            </a:r>
            <a:endParaRPr sz="1400" b="0" i="0" u="none" strike="noStrike" cap="none">
              <a:solidFill>
                <a:srgbClr val="000000"/>
              </a:solidFill>
              <a:latin typeface="Arial"/>
              <a:ea typeface="Arial"/>
              <a:cs typeface="Arial"/>
              <a:sym typeface="Arial"/>
            </a:endParaRPr>
          </a:p>
        </p:txBody>
      </p:sp>
      <p:sp>
        <p:nvSpPr>
          <p:cNvPr id="2562" name="Google Shape;2562;g7826bb8c5e_0_4294"/>
          <p:cNvSpPr txBox="1"/>
          <p:nvPr/>
        </p:nvSpPr>
        <p:spPr>
          <a:xfrm>
            <a:off x="8252559" y="5345237"/>
            <a:ext cx="1571400" cy="7386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s-ES" sz="1200" b="0" i="0" u="none" strike="noStrike" cap="none">
                <a:solidFill>
                  <a:srgbClr val="000000"/>
                </a:solidFill>
                <a:latin typeface="Arial"/>
                <a:ea typeface="Arial"/>
                <a:cs typeface="Arial"/>
                <a:sym typeface="Arial"/>
              </a:rPr>
              <a:t>Las aplicaciones Indra gestionan más de 100 millones de clientes en todo el mundo</a:t>
            </a:r>
            <a:endParaRPr sz="1400" b="0" i="0" u="none" strike="noStrike" cap="none">
              <a:solidFill>
                <a:srgbClr val="000000"/>
              </a:solidFill>
              <a:latin typeface="Arial"/>
              <a:ea typeface="Arial"/>
              <a:cs typeface="Arial"/>
              <a:sym typeface="Arial"/>
            </a:endParaRPr>
          </a:p>
        </p:txBody>
      </p:sp>
      <p:cxnSp>
        <p:nvCxnSpPr>
          <p:cNvPr id="2563" name="Google Shape;2563;g7826bb8c5e_0_4294"/>
          <p:cNvCxnSpPr/>
          <p:nvPr/>
        </p:nvCxnSpPr>
        <p:spPr>
          <a:xfrm>
            <a:off x="8252559" y="5224160"/>
            <a:ext cx="1554000" cy="0"/>
          </a:xfrm>
          <a:prstGeom prst="straightConnector1">
            <a:avLst/>
          </a:prstGeom>
          <a:solidFill>
            <a:srgbClr val="FFEA80"/>
          </a:solidFill>
          <a:ln w="25400" cap="flat" cmpd="sng">
            <a:solidFill>
              <a:srgbClr val="7F7F7F"/>
            </a:solidFill>
            <a:prstDash val="solid"/>
            <a:round/>
            <a:headEnd type="none" w="sm" len="sm"/>
            <a:tailEnd type="none" w="sm" len="sm"/>
          </a:ln>
        </p:spPr>
      </p:cxnSp>
      <p:grpSp>
        <p:nvGrpSpPr>
          <p:cNvPr id="2564" name="Google Shape;2564;g7826bb8c5e_0_4294"/>
          <p:cNvGrpSpPr/>
          <p:nvPr/>
        </p:nvGrpSpPr>
        <p:grpSpPr>
          <a:xfrm>
            <a:off x="9895555" y="1729834"/>
            <a:ext cx="1633741" cy="1150489"/>
            <a:chOff x="825083" y="5105694"/>
            <a:chExt cx="1633741" cy="1150489"/>
          </a:xfrm>
        </p:grpSpPr>
        <p:sp>
          <p:nvSpPr>
            <p:cNvPr id="2565" name="Google Shape;2565;g7826bb8c5e_0_4294"/>
            <p:cNvSpPr txBox="1"/>
            <p:nvPr/>
          </p:nvSpPr>
          <p:spPr>
            <a:xfrm>
              <a:off x="825083" y="5105694"/>
              <a:ext cx="1477800" cy="3078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r>
                <a:rPr lang="es-ES" sz="1400" b="0" i="0" u="none" strike="noStrike" cap="none">
                  <a:solidFill>
                    <a:srgbClr val="000000"/>
                  </a:solidFill>
                  <a:latin typeface="Arial"/>
                  <a:ea typeface="Arial"/>
                  <a:cs typeface="Arial"/>
                  <a:sym typeface="Arial"/>
                </a:rPr>
                <a:t>3.104M€</a:t>
              </a:r>
              <a:endParaRPr sz="1400" b="0" i="0" u="none" strike="noStrike" cap="none">
                <a:solidFill>
                  <a:srgbClr val="000000"/>
                </a:solidFill>
                <a:latin typeface="Arial"/>
                <a:ea typeface="Arial"/>
                <a:cs typeface="Arial"/>
                <a:sym typeface="Arial"/>
              </a:endParaRPr>
            </a:p>
          </p:txBody>
        </p:sp>
        <p:sp>
          <p:nvSpPr>
            <p:cNvPr id="2566" name="Google Shape;2566;g7826bb8c5e_0_4294"/>
            <p:cNvSpPr txBox="1"/>
            <p:nvPr/>
          </p:nvSpPr>
          <p:spPr>
            <a:xfrm>
              <a:off x="946824" y="5702083"/>
              <a:ext cx="1512000" cy="5541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s-ES" sz="1200" b="0" i="0" u="none" strike="noStrike" cap="none">
                  <a:solidFill>
                    <a:srgbClr val="000000"/>
                  </a:solidFill>
                  <a:latin typeface="Arial"/>
                  <a:ea typeface="Arial"/>
                  <a:cs typeface="Arial"/>
                  <a:sym typeface="Arial"/>
                </a:rPr>
                <a:t>Ingresos anuales por ventas en el último ejercicio*</a:t>
              </a:r>
              <a:endParaRPr sz="1200" b="0" i="0" u="none" strike="noStrike" cap="none">
                <a:solidFill>
                  <a:srgbClr val="000000"/>
                </a:solidFill>
                <a:latin typeface="Arial"/>
                <a:ea typeface="Arial"/>
                <a:cs typeface="Arial"/>
                <a:sym typeface="Arial"/>
              </a:endParaRPr>
            </a:p>
          </p:txBody>
        </p:sp>
      </p:grpSp>
      <p:grpSp>
        <p:nvGrpSpPr>
          <p:cNvPr id="2567" name="Google Shape;2567;g7826bb8c5e_0_4294"/>
          <p:cNvGrpSpPr/>
          <p:nvPr/>
        </p:nvGrpSpPr>
        <p:grpSpPr>
          <a:xfrm>
            <a:off x="8165469" y="1734189"/>
            <a:ext cx="1769782" cy="1321342"/>
            <a:chOff x="467544" y="2118047"/>
            <a:chExt cx="1769782" cy="1321342"/>
          </a:xfrm>
        </p:grpSpPr>
        <p:sp>
          <p:nvSpPr>
            <p:cNvPr id="2568" name="Google Shape;2568;g7826bb8c5e_0_4294"/>
            <p:cNvSpPr txBox="1"/>
            <p:nvPr/>
          </p:nvSpPr>
          <p:spPr>
            <a:xfrm>
              <a:off x="467544" y="2118047"/>
              <a:ext cx="938100" cy="3078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r>
                <a:rPr lang="es-ES" sz="1400" b="0" i="0" u="none" strike="noStrike" cap="none">
                  <a:solidFill>
                    <a:srgbClr val="000000"/>
                  </a:solidFill>
                  <a:latin typeface="Arial"/>
                  <a:ea typeface="Arial"/>
                  <a:cs typeface="Arial"/>
                  <a:sym typeface="Arial"/>
                </a:rPr>
                <a:t>+80 MM€</a:t>
              </a:r>
              <a:endParaRPr sz="1400" b="0" i="0" u="none" strike="noStrike" cap="none">
                <a:solidFill>
                  <a:srgbClr val="000000"/>
                </a:solidFill>
                <a:latin typeface="Arial"/>
                <a:ea typeface="Arial"/>
                <a:cs typeface="Arial"/>
                <a:sym typeface="Arial"/>
              </a:endParaRPr>
            </a:p>
          </p:txBody>
        </p:sp>
        <p:sp>
          <p:nvSpPr>
            <p:cNvPr id="2569" name="Google Shape;2569;g7826bb8c5e_0_4294"/>
            <p:cNvSpPr txBox="1"/>
            <p:nvPr/>
          </p:nvSpPr>
          <p:spPr>
            <a:xfrm>
              <a:off x="581026" y="2700789"/>
              <a:ext cx="1656300" cy="7386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s-ES" sz="1200" b="0" i="0" u="none" strike="noStrike" cap="none">
                  <a:solidFill>
                    <a:srgbClr val="000000"/>
                  </a:solidFill>
                  <a:latin typeface="Arial"/>
                  <a:ea typeface="Arial"/>
                  <a:cs typeface="Arial"/>
                  <a:sym typeface="Arial"/>
                </a:rPr>
                <a:t>Inversiones en plataforma en los últimos 10 años</a:t>
              </a:r>
              <a:endParaRPr sz="12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rgbClr val="000000"/>
                </a:solidFill>
                <a:latin typeface="Arial"/>
                <a:ea typeface="Arial"/>
                <a:cs typeface="Arial"/>
                <a:sym typeface="Arial"/>
              </a:endParaRPr>
            </a:p>
          </p:txBody>
        </p:sp>
        <p:cxnSp>
          <p:nvCxnSpPr>
            <p:cNvPr id="2570" name="Google Shape;2570;g7826bb8c5e_0_4294"/>
            <p:cNvCxnSpPr/>
            <p:nvPr/>
          </p:nvCxnSpPr>
          <p:spPr>
            <a:xfrm>
              <a:off x="581026" y="2579712"/>
              <a:ext cx="1548000" cy="0"/>
            </a:xfrm>
            <a:prstGeom prst="straightConnector1">
              <a:avLst/>
            </a:prstGeom>
            <a:solidFill>
              <a:srgbClr val="FFEA80"/>
            </a:solidFill>
            <a:ln w="25400" cap="flat" cmpd="sng">
              <a:solidFill>
                <a:srgbClr val="7F7F7F"/>
              </a:solidFill>
              <a:prstDash val="solid"/>
              <a:round/>
              <a:headEnd type="none" w="sm" len="sm"/>
              <a:tailEnd type="none" w="sm" len="sm"/>
            </a:ln>
          </p:spPr>
        </p:cxnSp>
      </p:grpSp>
      <p:cxnSp>
        <p:nvCxnSpPr>
          <p:cNvPr id="2571" name="Google Shape;2571;g7826bb8c5e_0_4294"/>
          <p:cNvCxnSpPr/>
          <p:nvPr/>
        </p:nvCxnSpPr>
        <p:spPr>
          <a:xfrm>
            <a:off x="10017296" y="2191499"/>
            <a:ext cx="1512000" cy="0"/>
          </a:xfrm>
          <a:prstGeom prst="straightConnector1">
            <a:avLst/>
          </a:prstGeom>
          <a:solidFill>
            <a:srgbClr val="FFEA80"/>
          </a:solidFill>
          <a:ln w="25400" cap="flat" cmpd="sng">
            <a:solidFill>
              <a:srgbClr val="7F7F7F"/>
            </a:solidFill>
            <a:prstDash val="solid"/>
            <a:round/>
            <a:headEnd type="none" w="sm" len="sm"/>
            <a:tailEnd type="none" w="sm" len="sm"/>
          </a:ln>
        </p:spPr>
      </p:cxnSp>
      <p:grpSp>
        <p:nvGrpSpPr>
          <p:cNvPr id="2572" name="Google Shape;2572;g7826bb8c5e_0_4294"/>
          <p:cNvGrpSpPr/>
          <p:nvPr/>
        </p:nvGrpSpPr>
        <p:grpSpPr>
          <a:xfrm>
            <a:off x="8165469" y="3204944"/>
            <a:ext cx="1727222" cy="1329223"/>
            <a:chOff x="8173333" y="3456427"/>
            <a:chExt cx="1727222" cy="1329223"/>
          </a:xfrm>
        </p:grpSpPr>
        <p:sp>
          <p:nvSpPr>
            <p:cNvPr id="2573" name="Google Shape;2573;g7826bb8c5e_0_4294"/>
            <p:cNvSpPr txBox="1"/>
            <p:nvPr/>
          </p:nvSpPr>
          <p:spPr>
            <a:xfrm>
              <a:off x="8173333" y="3456427"/>
              <a:ext cx="1215300" cy="5232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r>
                <a:rPr lang="es-ES" sz="1400" b="0" i="0" u="none" strike="noStrike" cap="none">
                  <a:solidFill>
                    <a:srgbClr val="000000"/>
                  </a:solidFill>
                  <a:latin typeface="Arial"/>
                  <a:ea typeface="Arial"/>
                  <a:cs typeface="Arial"/>
                  <a:sym typeface="Arial"/>
                </a:rPr>
                <a:t>+21 SW Lab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574" name="Google Shape;2574;g7826bb8c5e_0_4294"/>
            <p:cNvSpPr txBox="1"/>
            <p:nvPr/>
          </p:nvSpPr>
          <p:spPr>
            <a:xfrm>
              <a:off x="8283855" y="4047050"/>
              <a:ext cx="1616700" cy="7386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s-ES" sz="1200" b="0" i="0" u="none" strike="noStrike" cap="none">
                  <a:solidFill>
                    <a:srgbClr val="000000"/>
                  </a:solidFill>
                  <a:latin typeface="Arial"/>
                  <a:ea typeface="Arial"/>
                  <a:cs typeface="Arial"/>
                  <a:sym typeface="Arial"/>
                </a:rPr>
                <a:t>Desarrollos y soportes World Wide mediantes factorías de desarrollo near &amp; off shore</a:t>
              </a:r>
              <a:endParaRPr sz="1400" b="0" i="0" u="none" strike="noStrike" cap="none">
                <a:solidFill>
                  <a:srgbClr val="000000"/>
                </a:solidFill>
                <a:latin typeface="Arial"/>
                <a:ea typeface="Arial"/>
                <a:cs typeface="Arial"/>
                <a:sym typeface="Arial"/>
              </a:endParaRPr>
            </a:p>
          </p:txBody>
        </p:sp>
        <p:cxnSp>
          <p:nvCxnSpPr>
            <p:cNvPr id="2575" name="Google Shape;2575;g7826bb8c5e_0_4294"/>
            <p:cNvCxnSpPr/>
            <p:nvPr/>
          </p:nvCxnSpPr>
          <p:spPr>
            <a:xfrm>
              <a:off x="8283855" y="3927384"/>
              <a:ext cx="1548000" cy="0"/>
            </a:xfrm>
            <a:prstGeom prst="straightConnector1">
              <a:avLst/>
            </a:prstGeom>
            <a:solidFill>
              <a:srgbClr val="FFEA80"/>
            </a:solidFill>
            <a:ln w="25400" cap="flat" cmpd="sng">
              <a:solidFill>
                <a:srgbClr val="7F7F7F"/>
              </a:solidFill>
              <a:prstDash val="solid"/>
              <a:round/>
              <a:headEnd type="none" w="sm" len="sm"/>
              <a:tailEnd type="none" w="sm" len="sm"/>
            </a:ln>
          </p:spPr>
        </p:cxnSp>
      </p:grpSp>
      <p:grpSp>
        <p:nvGrpSpPr>
          <p:cNvPr id="2576" name="Google Shape;2576;g7826bb8c5e_0_4294"/>
          <p:cNvGrpSpPr/>
          <p:nvPr/>
        </p:nvGrpSpPr>
        <p:grpSpPr>
          <a:xfrm>
            <a:off x="10017296" y="3213273"/>
            <a:ext cx="1739400" cy="1144723"/>
            <a:chOff x="10025160" y="3464756"/>
            <a:chExt cx="1739400" cy="1144723"/>
          </a:xfrm>
        </p:grpSpPr>
        <p:sp>
          <p:nvSpPr>
            <p:cNvPr id="2577" name="Google Shape;2577;g7826bb8c5e_0_4294"/>
            <p:cNvSpPr txBox="1"/>
            <p:nvPr/>
          </p:nvSpPr>
          <p:spPr>
            <a:xfrm>
              <a:off x="10368037" y="3464756"/>
              <a:ext cx="665700" cy="3078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r>
                <a:rPr lang="es-ES" sz="1400" b="0" i="0" u="none" strike="noStrike" cap="none">
                  <a:solidFill>
                    <a:srgbClr val="000000"/>
                  </a:solidFill>
                  <a:latin typeface="Arial"/>
                  <a:ea typeface="Arial"/>
                  <a:cs typeface="Arial"/>
                  <a:sym typeface="Arial"/>
                </a:rPr>
                <a:t>+500 </a:t>
              </a:r>
              <a:endParaRPr sz="1400" b="0" i="0" u="none" strike="noStrike" cap="none">
                <a:solidFill>
                  <a:srgbClr val="000000"/>
                </a:solidFill>
                <a:latin typeface="Arial"/>
                <a:ea typeface="Arial"/>
                <a:cs typeface="Arial"/>
                <a:sym typeface="Arial"/>
              </a:endParaRPr>
            </a:p>
          </p:txBody>
        </p:sp>
        <p:sp>
          <p:nvSpPr>
            <p:cNvPr id="2578" name="Google Shape;2578;g7826bb8c5e_0_4294"/>
            <p:cNvSpPr txBox="1"/>
            <p:nvPr/>
          </p:nvSpPr>
          <p:spPr>
            <a:xfrm>
              <a:off x="10025160" y="4055379"/>
              <a:ext cx="1739400" cy="5541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s-ES" sz="1200" b="0" i="0" u="none" strike="noStrike" cap="none">
                  <a:solidFill>
                    <a:srgbClr val="000000"/>
                  </a:solidFill>
                  <a:latin typeface="Arial"/>
                  <a:ea typeface="Arial"/>
                  <a:cs typeface="Arial"/>
                  <a:sym typeface="Arial"/>
                </a:rPr>
                <a:t>Profesionales trabajando y evolucionando nuestras plataformas propias</a:t>
              </a:r>
              <a:endParaRPr sz="1200" b="0" i="0" u="none" strike="noStrike" cap="none">
                <a:solidFill>
                  <a:srgbClr val="000000"/>
                </a:solidFill>
                <a:latin typeface="Arial"/>
                <a:ea typeface="Arial"/>
                <a:cs typeface="Arial"/>
                <a:sym typeface="Arial"/>
              </a:endParaRPr>
            </a:p>
          </p:txBody>
        </p:sp>
        <p:cxnSp>
          <p:nvCxnSpPr>
            <p:cNvPr id="2579" name="Google Shape;2579;g7826bb8c5e_0_4294"/>
            <p:cNvCxnSpPr/>
            <p:nvPr/>
          </p:nvCxnSpPr>
          <p:spPr>
            <a:xfrm>
              <a:off x="10042268" y="3935713"/>
              <a:ext cx="1673400" cy="0"/>
            </a:xfrm>
            <a:prstGeom prst="straightConnector1">
              <a:avLst/>
            </a:prstGeom>
            <a:solidFill>
              <a:srgbClr val="FFEA80"/>
            </a:solidFill>
            <a:ln w="25400" cap="flat" cmpd="sng">
              <a:solidFill>
                <a:srgbClr val="7F7F7F"/>
              </a:solidFill>
              <a:prstDash val="solid"/>
              <a:round/>
              <a:headEnd type="none" w="sm" len="sm"/>
              <a:tailEnd type="none" w="sm" len="sm"/>
            </a:ln>
          </p:spPr>
        </p:cxnSp>
      </p:grpSp>
      <p:sp>
        <p:nvSpPr>
          <p:cNvPr id="2580" name="Google Shape;2580;g7826bb8c5e_0_4294"/>
          <p:cNvSpPr/>
          <p:nvPr/>
        </p:nvSpPr>
        <p:spPr>
          <a:xfrm>
            <a:off x="336000" y="1753249"/>
            <a:ext cx="1216500" cy="584700"/>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1400"/>
              <a:buFont typeface="Arial"/>
              <a:buNone/>
            </a:pPr>
            <a:r>
              <a:rPr lang="es-ES" sz="1400" b="0" i="0" u="none" strike="noStrike" cap="none">
                <a:solidFill>
                  <a:srgbClr val="1A3B47"/>
                </a:solidFill>
                <a:latin typeface="Arial"/>
                <a:ea typeface="Arial"/>
                <a:cs typeface="Arial"/>
                <a:sym typeface="Arial"/>
              </a:rPr>
              <a:t>Operaciones en países</a:t>
            </a:r>
            <a:endParaRPr sz="1400" b="0" i="0" u="none" strike="noStrike" cap="none">
              <a:solidFill>
                <a:srgbClr val="1A3B47"/>
              </a:solidFill>
              <a:latin typeface="Arial"/>
              <a:ea typeface="Arial"/>
              <a:cs typeface="Arial"/>
              <a:sym typeface="Arial"/>
            </a:endParaRPr>
          </a:p>
        </p:txBody>
      </p:sp>
      <p:grpSp>
        <p:nvGrpSpPr>
          <p:cNvPr id="2581" name="Google Shape;2581;g7826bb8c5e_0_4294"/>
          <p:cNvGrpSpPr/>
          <p:nvPr/>
        </p:nvGrpSpPr>
        <p:grpSpPr>
          <a:xfrm>
            <a:off x="3813968" y="1498230"/>
            <a:ext cx="616389" cy="1094841"/>
            <a:chOff x="4707134" y="1022350"/>
            <a:chExt cx="1561666" cy="2775263"/>
          </a:xfrm>
        </p:grpSpPr>
        <p:sp>
          <p:nvSpPr>
            <p:cNvPr id="2582" name="Google Shape;2582;g7826bb8c5e_0_4294"/>
            <p:cNvSpPr/>
            <p:nvPr/>
          </p:nvSpPr>
          <p:spPr>
            <a:xfrm>
              <a:off x="4707731" y="1022350"/>
              <a:ext cx="171450" cy="2775263"/>
            </a:xfrm>
            <a:custGeom>
              <a:avLst/>
              <a:gdLst/>
              <a:ahLst/>
              <a:cxnLst/>
              <a:rect l="l" t="t" r="r" b="b"/>
              <a:pathLst>
                <a:path w="171450" h="2761456" extrusionOk="0">
                  <a:moveTo>
                    <a:pt x="0" y="0"/>
                  </a:moveTo>
                  <a:lnTo>
                    <a:pt x="168275" y="47393"/>
                  </a:lnTo>
                  <a:cubicBezTo>
                    <a:pt x="169333" y="934089"/>
                    <a:pt x="170392" y="1820785"/>
                    <a:pt x="171450" y="2707481"/>
                  </a:cubicBezTo>
                  <a:lnTo>
                    <a:pt x="0" y="2761456"/>
                  </a:lnTo>
                  <a:lnTo>
                    <a:pt x="0" y="0"/>
                  </a:lnTo>
                  <a:close/>
                </a:path>
              </a:pathLst>
            </a:custGeom>
            <a:solidFill>
              <a:srgbClr val="E88AA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rgbClr val="FFFFFF"/>
                </a:solidFill>
                <a:latin typeface="Arial"/>
                <a:ea typeface="Arial"/>
                <a:cs typeface="Arial"/>
                <a:sym typeface="Arial"/>
              </a:endParaRPr>
            </a:p>
          </p:txBody>
        </p:sp>
        <p:sp>
          <p:nvSpPr>
            <p:cNvPr id="2583" name="Google Shape;2583;g7826bb8c5e_0_4294"/>
            <p:cNvSpPr/>
            <p:nvPr/>
          </p:nvSpPr>
          <p:spPr>
            <a:xfrm>
              <a:off x="6096000" y="1470024"/>
              <a:ext cx="172800" cy="1879500"/>
            </a:xfrm>
            <a:prstGeom prst="rect">
              <a:avLst/>
            </a:prstGeom>
            <a:solidFill>
              <a:srgbClr val="E88AA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rgbClr val="FFFFFF"/>
                </a:solidFill>
                <a:latin typeface="Arial"/>
                <a:ea typeface="Arial"/>
                <a:cs typeface="Arial"/>
                <a:sym typeface="Arial"/>
              </a:endParaRPr>
            </a:p>
          </p:txBody>
        </p:sp>
        <p:sp>
          <p:nvSpPr>
            <p:cNvPr id="2584" name="Google Shape;2584;g7826bb8c5e_0_4294"/>
            <p:cNvSpPr/>
            <p:nvPr/>
          </p:nvSpPr>
          <p:spPr>
            <a:xfrm rot="6360820">
              <a:off x="5398687" y="549929"/>
              <a:ext cx="172910" cy="1569208"/>
            </a:xfrm>
            <a:prstGeom prst="rect">
              <a:avLst/>
            </a:prstGeom>
            <a:solidFill>
              <a:srgbClr val="E88AA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rgbClr val="FFFFFF"/>
                </a:solidFill>
                <a:latin typeface="Arial"/>
                <a:ea typeface="Arial"/>
                <a:cs typeface="Arial"/>
                <a:sym typeface="Arial"/>
              </a:endParaRPr>
            </a:p>
          </p:txBody>
        </p:sp>
        <p:sp>
          <p:nvSpPr>
            <p:cNvPr id="2585" name="Google Shape;2585;g7826bb8c5e_0_4294"/>
            <p:cNvSpPr/>
            <p:nvPr/>
          </p:nvSpPr>
          <p:spPr>
            <a:xfrm rot="4439180">
              <a:off x="5430300" y="2717031"/>
              <a:ext cx="172910" cy="1507684"/>
            </a:xfrm>
            <a:prstGeom prst="rect">
              <a:avLst/>
            </a:prstGeom>
            <a:solidFill>
              <a:srgbClr val="E88AA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rgbClr val="FFFFFF"/>
                </a:solidFill>
                <a:latin typeface="Arial"/>
                <a:ea typeface="Arial"/>
                <a:cs typeface="Arial"/>
                <a:sym typeface="Arial"/>
              </a:endParaRPr>
            </a:p>
          </p:txBody>
        </p:sp>
      </p:grpSp>
      <p:grpSp>
        <p:nvGrpSpPr>
          <p:cNvPr id="2586" name="Google Shape;2586;g7826bb8c5e_0_4294"/>
          <p:cNvGrpSpPr/>
          <p:nvPr/>
        </p:nvGrpSpPr>
        <p:grpSpPr>
          <a:xfrm>
            <a:off x="6031826" y="1498230"/>
            <a:ext cx="616389" cy="1094841"/>
            <a:chOff x="4707134" y="1022350"/>
            <a:chExt cx="1561666" cy="2775263"/>
          </a:xfrm>
        </p:grpSpPr>
        <p:sp>
          <p:nvSpPr>
            <p:cNvPr id="2587" name="Google Shape;2587;g7826bb8c5e_0_4294"/>
            <p:cNvSpPr/>
            <p:nvPr/>
          </p:nvSpPr>
          <p:spPr>
            <a:xfrm>
              <a:off x="4707731" y="1022350"/>
              <a:ext cx="171450" cy="2775263"/>
            </a:xfrm>
            <a:custGeom>
              <a:avLst/>
              <a:gdLst/>
              <a:ahLst/>
              <a:cxnLst/>
              <a:rect l="l" t="t" r="r" b="b"/>
              <a:pathLst>
                <a:path w="171450" h="2761456" extrusionOk="0">
                  <a:moveTo>
                    <a:pt x="0" y="0"/>
                  </a:moveTo>
                  <a:lnTo>
                    <a:pt x="168275" y="47393"/>
                  </a:lnTo>
                  <a:cubicBezTo>
                    <a:pt x="169333" y="934089"/>
                    <a:pt x="170392" y="1820785"/>
                    <a:pt x="171450" y="2707481"/>
                  </a:cubicBezTo>
                  <a:lnTo>
                    <a:pt x="0" y="2761456"/>
                  </a:lnTo>
                  <a:lnTo>
                    <a:pt x="0" y="0"/>
                  </a:lnTo>
                  <a:close/>
                </a:path>
              </a:pathLst>
            </a:custGeom>
            <a:solidFill>
              <a:srgbClr val="7874B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rgbClr val="FFFFFF"/>
                </a:solidFill>
                <a:latin typeface="Arial"/>
                <a:ea typeface="Arial"/>
                <a:cs typeface="Arial"/>
                <a:sym typeface="Arial"/>
              </a:endParaRPr>
            </a:p>
          </p:txBody>
        </p:sp>
        <p:sp>
          <p:nvSpPr>
            <p:cNvPr id="2588" name="Google Shape;2588;g7826bb8c5e_0_4294"/>
            <p:cNvSpPr/>
            <p:nvPr/>
          </p:nvSpPr>
          <p:spPr>
            <a:xfrm>
              <a:off x="6096000" y="1470024"/>
              <a:ext cx="172800" cy="1879500"/>
            </a:xfrm>
            <a:prstGeom prst="rect">
              <a:avLst/>
            </a:prstGeom>
            <a:solidFill>
              <a:srgbClr val="7874B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rgbClr val="FFFFFF"/>
                </a:solidFill>
                <a:latin typeface="Arial"/>
                <a:ea typeface="Arial"/>
                <a:cs typeface="Arial"/>
                <a:sym typeface="Arial"/>
              </a:endParaRPr>
            </a:p>
          </p:txBody>
        </p:sp>
        <p:sp>
          <p:nvSpPr>
            <p:cNvPr id="2589" name="Google Shape;2589;g7826bb8c5e_0_4294"/>
            <p:cNvSpPr/>
            <p:nvPr/>
          </p:nvSpPr>
          <p:spPr>
            <a:xfrm rot="6360820">
              <a:off x="5398687" y="549929"/>
              <a:ext cx="172910" cy="1569208"/>
            </a:xfrm>
            <a:prstGeom prst="rect">
              <a:avLst/>
            </a:prstGeom>
            <a:solidFill>
              <a:srgbClr val="7874B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rgbClr val="FFFFFF"/>
                </a:solidFill>
                <a:latin typeface="Arial"/>
                <a:ea typeface="Arial"/>
                <a:cs typeface="Arial"/>
                <a:sym typeface="Arial"/>
              </a:endParaRPr>
            </a:p>
          </p:txBody>
        </p:sp>
        <p:sp>
          <p:nvSpPr>
            <p:cNvPr id="2590" name="Google Shape;2590;g7826bb8c5e_0_4294"/>
            <p:cNvSpPr/>
            <p:nvPr/>
          </p:nvSpPr>
          <p:spPr>
            <a:xfrm rot="4439180">
              <a:off x="5430300" y="2717031"/>
              <a:ext cx="172910" cy="1507684"/>
            </a:xfrm>
            <a:prstGeom prst="rect">
              <a:avLst/>
            </a:prstGeom>
            <a:solidFill>
              <a:srgbClr val="7874B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rgbClr val="FFFFFF"/>
                </a:solidFill>
                <a:latin typeface="Arial"/>
                <a:ea typeface="Arial"/>
                <a:cs typeface="Arial"/>
                <a:sym typeface="Arial"/>
              </a:endParaRPr>
            </a:p>
          </p:txBody>
        </p:sp>
      </p:grpSp>
      <p:grpSp>
        <p:nvGrpSpPr>
          <p:cNvPr id="2591" name="Google Shape;2591;g7826bb8c5e_0_4294"/>
          <p:cNvGrpSpPr/>
          <p:nvPr/>
        </p:nvGrpSpPr>
        <p:grpSpPr>
          <a:xfrm>
            <a:off x="1557321" y="1498230"/>
            <a:ext cx="616389" cy="1094841"/>
            <a:chOff x="4707134" y="1022350"/>
            <a:chExt cx="1561666" cy="2775263"/>
          </a:xfrm>
        </p:grpSpPr>
        <p:sp>
          <p:nvSpPr>
            <p:cNvPr id="2592" name="Google Shape;2592;g7826bb8c5e_0_4294"/>
            <p:cNvSpPr/>
            <p:nvPr/>
          </p:nvSpPr>
          <p:spPr>
            <a:xfrm>
              <a:off x="4707731" y="1022350"/>
              <a:ext cx="171450" cy="2775263"/>
            </a:xfrm>
            <a:custGeom>
              <a:avLst/>
              <a:gdLst/>
              <a:ahLst/>
              <a:cxnLst/>
              <a:rect l="l" t="t" r="r" b="b"/>
              <a:pathLst>
                <a:path w="171450" h="2761456" extrusionOk="0">
                  <a:moveTo>
                    <a:pt x="0" y="0"/>
                  </a:moveTo>
                  <a:lnTo>
                    <a:pt x="168275" y="47393"/>
                  </a:lnTo>
                  <a:cubicBezTo>
                    <a:pt x="169333" y="934089"/>
                    <a:pt x="170392" y="1820785"/>
                    <a:pt x="171450" y="2707481"/>
                  </a:cubicBezTo>
                  <a:lnTo>
                    <a:pt x="0" y="2761456"/>
                  </a:lnTo>
                  <a:lnTo>
                    <a:pt x="0" y="0"/>
                  </a:lnTo>
                  <a:close/>
                </a:path>
              </a:pathLst>
            </a:custGeom>
            <a:solidFill>
              <a:srgbClr val="79C5B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rgbClr val="1A3B47"/>
                </a:solidFill>
                <a:latin typeface="Arial"/>
                <a:ea typeface="Arial"/>
                <a:cs typeface="Arial"/>
                <a:sym typeface="Arial"/>
              </a:endParaRPr>
            </a:p>
          </p:txBody>
        </p:sp>
        <p:sp>
          <p:nvSpPr>
            <p:cNvPr id="2593" name="Google Shape;2593;g7826bb8c5e_0_4294"/>
            <p:cNvSpPr/>
            <p:nvPr/>
          </p:nvSpPr>
          <p:spPr>
            <a:xfrm>
              <a:off x="6096000" y="1470024"/>
              <a:ext cx="172800" cy="1879500"/>
            </a:xfrm>
            <a:prstGeom prst="rect">
              <a:avLst/>
            </a:prstGeom>
            <a:solidFill>
              <a:srgbClr val="79C5B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rgbClr val="1A3B47"/>
                </a:solidFill>
                <a:latin typeface="Arial"/>
                <a:ea typeface="Arial"/>
                <a:cs typeface="Arial"/>
                <a:sym typeface="Arial"/>
              </a:endParaRPr>
            </a:p>
          </p:txBody>
        </p:sp>
        <p:sp>
          <p:nvSpPr>
            <p:cNvPr id="2594" name="Google Shape;2594;g7826bb8c5e_0_4294"/>
            <p:cNvSpPr/>
            <p:nvPr/>
          </p:nvSpPr>
          <p:spPr>
            <a:xfrm rot="6360820">
              <a:off x="5398687" y="549929"/>
              <a:ext cx="172910" cy="1569208"/>
            </a:xfrm>
            <a:prstGeom prst="rect">
              <a:avLst/>
            </a:prstGeom>
            <a:solidFill>
              <a:srgbClr val="79C5B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rgbClr val="1A3B47"/>
                </a:solidFill>
                <a:latin typeface="Arial"/>
                <a:ea typeface="Arial"/>
                <a:cs typeface="Arial"/>
                <a:sym typeface="Arial"/>
              </a:endParaRPr>
            </a:p>
          </p:txBody>
        </p:sp>
        <p:sp>
          <p:nvSpPr>
            <p:cNvPr id="2595" name="Google Shape;2595;g7826bb8c5e_0_4294"/>
            <p:cNvSpPr/>
            <p:nvPr/>
          </p:nvSpPr>
          <p:spPr>
            <a:xfrm rot="4439180">
              <a:off x="5430300" y="2717031"/>
              <a:ext cx="172910" cy="1507684"/>
            </a:xfrm>
            <a:prstGeom prst="rect">
              <a:avLst/>
            </a:prstGeom>
            <a:solidFill>
              <a:srgbClr val="79C5B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rgbClr val="1A3B47"/>
                </a:solidFill>
                <a:latin typeface="Arial"/>
                <a:ea typeface="Arial"/>
                <a:cs typeface="Arial"/>
                <a:sym typeface="Arial"/>
              </a:endParaRPr>
            </a:p>
          </p:txBody>
        </p:sp>
      </p:grpSp>
      <p:sp>
        <p:nvSpPr>
          <p:cNvPr id="2596" name="Google Shape;2596;g7826bb8c5e_0_4294"/>
          <p:cNvSpPr/>
          <p:nvPr/>
        </p:nvSpPr>
        <p:spPr>
          <a:xfrm>
            <a:off x="1698619" y="1883762"/>
            <a:ext cx="825000" cy="323700"/>
          </a:xfrm>
          <a:prstGeom prst="rect">
            <a:avLst/>
          </a:pr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s-ES" sz="1400" b="0" i="0" u="none" strike="noStrike" cap="none">
                <a:solidFill>
                  <a:srgbClr val="1A3B47"/>
                </a:solidFill>
                <a:latin typeface="Arial"/>
                <a:ea typeface="Arial"/>
                <a:cs typeface="Arial"/>
                <a:sym typeface="Arial"/>
              </a:rPr>
              <a:t>+140</a:t>
            </a:r>
            <a:endParaRPr sz="1400" b="0" i="0" u="none" strike="noStrike" cap="none">
              <a:solidFill>
                <a:srgbClr val="1A3B47"/>
              </a:solidFill>
              <a:latin typeface="Arial"/>
              <a:ea typeface="Arial"/>
              <a:cs typeface="Arial"/>
              <a:sym typeface="Arial"/>
            </a:endParaRPr>
          </a:p>
        </p:txBody>
      </p:sp>
      <p:sp>
        <p:nvSpPr>
          <p:cNvPr id="2597" name="Google Shape;2597;g7826bb8c5e_0_4294"/>
          <p:cNvSpPr/>
          <p:nvPr/>
        </p:nvSpPr>
        <p:spPr>
          <a:xfrm>
            <a:off x="2464967" y="1753249"/>
            <a:ext cx="1369800" cy="584700"/>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1400"/>
              <a:buFont typeface="Arial"/>
              <a:buNone/>
            </a:pPr>
            <a:r>
              <a:rPr lang="es-ES" sz="1400" b="0" i="0" u="none" strike="noStrike" cap="none">
                <a:solidFill>
                  <a:srgbClr val="1A3B47"/>
                </a:solidFill>
                <a:latin typeface="Arial"/>
                <a:ea typeface="Arial"/>
                <a:cs typeface="Arial"/>
                <a:sym typeface="Arial"/>
              </a:rPr>
              <a:t>Profesionales y expertos</a:t>
            </a:r>
            <a:endParaRPr sz="1400" b="0" i="0" u="none" strike="noStrike" cap="none">
              <a:solidFill>
                <a:srgbClr val="1A3B47"/>
              </a:solidFill>
              <a:latin typeface="Arial"/>
              <a:ea typeface="Arial"/>
              <a:cs typeface="Arial"/>
              <a:sym typeface="Arial"/>
            </a:endParaRPr>
          </a:p>
        </p:txBody>
      </p:sp>
      <p:sp>
        <p:nvSpPr>
          <p:cNvPr id="2598" name="Google Shape;2598;g7826bb8c5e_0_4294"/>
          <p:cNvSpPr/>
          <p:nvPr/>
        </p:nvSpPr>
        <p:spPr>
          <a:xfrm>
            <a:off x="3980891" y="1887734"/>
            <a:ext cx="1065600" cy="315900"/>
          </a:xfrm>
          <a:prstGeom prst="rect">
            <a:avLst/>
          </a:pr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s-ES" sz="1400" b="0" i="0" u="none" strike="noStrike" cap="none">
                <a:solidFill>
                  <a:srgbClr val="1A3B47"/>
                </a:solidFill>
                <a:latin typeface="Arial"/>
                <a:ea typeface="Arial"/>
                <a:cs typeface="Arial"/>
                <a:sym typeface="Arial"/>
              </a:rPr>
              <a:t>+43.000</a:t>
            </a:r>
            <a:endParaRPr sz="1400" b="0" i="0" u="none" strike="noStrike" cap="none">
              <a:solidFill>
                <a:srgbClr val="1A3B47"/>
              </a:solidFill>
              <a:latin typeface="Arial"/>
              <a:ea typeface="Arial"/>
              <a:cs typeface="Arial"/>
              <a:sym typeface="Arial"/>
            </a:endParaRPr>
          </a:p>
        </p:txBody>
      </p:sp>
      <p:sp>
        <p:nvSpPr>
          <p:cNvPr id="2599" name="Google Shape;2599;g7826bb8c5e_0_4294"/>
          <p:cNvSpPr/>
          <p:nvPr/>
        </p:nvSpPr>
        <p:spPr>
          <a:xfrm>
            <a:off x="6193240" y="1887734"/>
            <a:ext cx="1683600" cy="305700"/>
          </a:xfrm>
          <a:prstGeom prst="rect">
            <a:avLst/>
          </a:prstGeom>
          <a:solidFill>
            <a:srgbClr val="FFFFF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s-ES" sz="1400" b="0" i="0" u="none" strike="noStrike" cap="none">
                <a:solidFill>
                  <a:srgbClr val="1A3B47"/>
                </a:solidFill>
                <a:latin typeface="Arial"/>
                <a:ea typeface="Arial"/>
                <a:cs typeface="Arial"/>
                <a:sym typeface="Arial"/>
              </a:rPr>
              <a:t>+210M€/año*</a:t>
            </a:r>
            <a:endParaRPr sz="1100" b="0" i="0" u="none" strike="noStrike" cap="none">
              <a:solidFill>
                <a:srgbClr val="1A3B47"/>
              </a:solidFill>
              <a:latin typeface="Arial"/>
              <a:ea typeface="Arial"/>
              <a:cs typeface="Arial"/>
              <a:sym typeface="Arial"/>
            </a:endParaRPr>
          </a:p>
        </p:txBody>
      </p:sp>
      <p:sp>
        <p:nvSpPr>
          <p:cNvPr id="2600" name="Google Shape;2600;g7826bb8c5e_0_4294"/>
          <p:cNvSpPr/>
          <p:nvPr/>
        </p:nvSpPr>
        <p:spPr>
          <a:xfrm>
            <a:off x="4660258" y="1753249"/>
            <a:ext cx="1369800" cy="584700"/>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1400"/>
              <a:buFont typeface="Arial"/>
              <a:buNone/>
            </a:pPr>
            <a:r>
              <a:rPr lang="es-ES" sz="1400" b="0" i="0" u="none" strike="noStrike" cap="none">
                <a:solidFill>
                  <a:srgbClr val="1A3B47"/>
                </a:solidFill>
                <a:latin typeface="Arial"/>
                <a:ea typeface="Arial"/>
                <a:cs typeface="Arial"/>
                <a:sym typeface="Arial"/>
              </a:rPr>
              <a:t>I+D+i</a:t>
            </a:r>
            <a:endParaRPr sz="1400" b="0" i="0" u="none" strike="noStrike" cap="none">
              <a:solidFill>
                <a:srgbClr val="1A3B47"/>
              </a:solidFill>
              <a:latin typeface="Arial"/>
              <a:ea typeface="Arial"/>
              <a:cs typeface="Arial"/>
              <a:sym typeface="Arial"/>
            </a:endParaRPr>
          </a:p>
        </p:txBody>
      </p:sp>
      <p:sp>
        <p:nvSpPr>
          <p:cNvPr id="2601" name="Google Shape;2601;g7826bb8c5e_0_4294"/>
          <p:cNvSpPr txBox="1"/>
          <p:nvPr/>
        </p:nvSpPr>
        <p:spPr>
          <a:xfrm>
            <a:off x="479425" y="6669363"/>
            <a:ext cx="1602300" cy="99300"/>
          </a:xfrm>
          <a:prstGeom prst="rect">
            <a:avLst/>
          </a:prstGeom>
          <a:noFill/>
          <a:ln>
            <a:noFill/>
          </a:ln>
        </p:spPr>
        <p:txBody>
          <a:bodyPr spcFirstLastPara="1" wrap="square" lIns="103900" tIns="51925" rIns="103900" bIns="51925" anchor="ctr" anchorCtr="0">
            <a:noAutofit/>
          </a:bodyPr>
          <a:lstStyle/>
          <a:p>
            <a:pPr marL="0" marR="0" lvl="0" indent="0" algn="l" rtl="0">
              <a:lnSpc>
                <a:spcPct val="100000"/>
              </a:lnSpc>
              <a:spcBef>
                <a:spcPts val="0"/>
              </a:spcBef>
              <a:spcAft>
                <a:spcPts val="0"/>
              </a:spcAft>
              <a:buClr>
                <a:srgbClr val="000000"/>
              </a:buClr>
              <a:buSzPts val="1100"/>
              <a:buFont typeface="Arial"/>
              <a:buNone/>
            </a:pPr>
            <a:r>
              <a:rPr lang="es-ES" sz="1100" b="0" i="0" u="none" strike="noStrike" cap="none">
                <a:solidFill>
                  <a:srgbClr val="1A3B47"/>
                </a:solidFill>
                <a:latin typeface="Arial"/>
                <a:ea typeface="Arial"/>
                <a:cs typeface="Arial"/>
                <a:sym typeface="Arial"/>
              </a:rPr>
              <a:t>* Dato 2018</a:t>
            </a:r>
            <a:endParaRPr sz="1900" b="0" i="0" u="none" strike="noStrike" cap="none">
              <a:solidFill>
                <a:srgbClr val="000000"/>
              </a:solidFill>
              <a:latin typeface="Arial"/>
              <a:ea typeface="Arial"/>
              <a:cs typeface="Arial"/>
              <a:sym typeface="Arial"/>
            </a:endParaRPr>
          </a:p>
        </p:txBody>
      </p:sp>
      <p:grpSp>
        <p:nvGrpSpPr>
          <p:cNvPr id="2602" name="Google Shape;2602;g7826bb8c5e_0_4294"/>
          <p:cNvGrpSpPr/>
          <p:nvPr/>
        </p:nvGrpSpPr>
        <p:grpSpPr>
          <a:xfrm>
            <a:off x="9930324" y="4762251"/>
            <a:ext cx="1633741" cy="965689"/>
            <a:chOff x="825083" y="5105694"/>
            <a:chExt cx="1633741" cy="965689"/>
          </a:xfrm>
        </p:grpSpPr>
        <p:sp>
          <p:nvSpPr>
            <p:cNvPr id="2603" name="Google Shape;2603;g7826bb8c5e_0_4294"/>
            <p:cNvSpPr txBox="1"/>
            <p:nvPr/>
          </p:nvSpPr>
          <p:spPr>
            <a:xfrm>
              <a:off x="825083" y="5105694"/>
              <a:ext cx="1477800" cy="3078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r>
                <a:rPr lang="es-ES" sz="1400" b="0" i="0" u="none" strike="noStrike" cap="none">
                  <a:solidFill>
                    <a:srgbClr val="000000"/>
                  </a:solidFill>
                  <a:latin typeface="Arial"/>
                  <a:ea typeface="Arial"/>
                  <a:cs typeface="Arial"/>
                  <a:sym typeface="Arial"/>
                </a:rPr>
                <a:t>Gartner</a:t>
              </a:r>
              <a:endParaRPr sz="1400" b="0" i="0" u="none" strike="noStrike" cap="none">
                <a:solidFill>
                  <a:srgbClr val="000000"/>
                </a:solidFill>
                <a:latin typeface="Arial"/>
                <a:ea typeface="Arial"/>
                <a:cs typeface="Arial"/>
                <a:sym typeface="Arial"/>
              </a:endParaRPr>
            </a:p>
          </p:txBody>
        </p:sp>
        <p:sp>
          <p:nvSpPr>
            <p:cNvPr id="2604" name="Google Shape;2604;g7826bb8c5e_0_4294"/>
            <p:cNvSpPr txBox="1"/>
            <p:nvPr/>
          </p:nvSpPr>
          <p:spPr>
            <a:xfrm>
              <a:off x="946824" y="5702083"/>
              <a:ext cx="1512000" cy="3693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s-ES" sz="1200" b="0" i="0" u="none" strike="noStrike" cap="none">
                  <a:solidFill>
                    <a:srgbClr val="000000"/>
                  </a:solidFill>
                  <a:latin typeface="Arial"/>
                  <a:ea typeface="Arial"/>
                  <a:cs typeface="Arial"/>
                  <a:sym typeface="Arial"/>
                </a:rPr>
                <a:t>Presentes en el Cuadrante de Gartner </a:t>
              </a:r>
              <a:endParaRPr sz="1400" b="0" i="0" u="none" strike="noStrike" cap="none">
                <a:solidFill>
                  <a:srgbClr val="000000"/>
                </a:solidFill>
                <a:latin typeface="Arial"/>
                <a:ea typeface="Arial"/>
                <a:cs typeface="Arial"/>
                <a:sym typeface="Arial"/>
              </a:endParaRPr>
            </a:p>
          </p:txBody>
        </p:sp>
      </p:grpSp>
      <p:cxnSp>
        <p:nvCxnSpPr>
          <p:cNvPr id="2605" name="Google Shape;2605;g7826bb8c5e_0_4294"/>
          <p:cNvCxnSpPr/>
          <p:nvPr/>
        </p:nvCxnSpPr>
        <p:spPr>
          <a:xfrm>
            <a:off x="10052065" y="5223916"/>
            <a:ext cx="1512000" cy="0"/>
          </a:xfrm>
          <a:prstGeom prst="straightConnector1">
            <a:avLst/>
          </a:prstGeom>
          <a:solidFill>
            <a:srgbClr val="FFEA80"/>
          </a:solidFill>
          <a:ln w="25400" cap="flat" cmpd="sng">
            <a:solidFill>
              <a:srgbClr val="7F7F7F"/>
            </a:solidFill>
            <a:prstDash val="solid"/>
            <a:round/>
            <a:headEnd type="none" w="sm" len="sm"/>
            <a:tailEnd type="none" w="sm" len="sm"/>
          </a:ln>
        </p:spPr>
      </p:cxn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2609"/>
        <p:cNvGrpSpPr/>
        <p:nvPr/>
      </p:nvGrpSpPr>
      <p:grpSpPr>
        <a:xfrm>
          <a:off x="0" y="0"/>
          <a:ext cx="0" cy="0"/>
          <a:chOff x="0" y="0"/>
          <a:chExt cx="0" cy="0"/>
        </a:xfrm>
      </p:grpSpPr>
      <p:sp>
        <p:nvSpPr>
          <p:cNvPr id="2" name="Marcador de texto 1"/>
          <p:cNvSpPr>
            <a:spLocks noGrp="1"/>
          </p:cNvSpPr>
          <p:nvPr>
            <p:ph type="body" idx="1"/>
          </p:nvPr>
        </p:nvSpPr>
        <p:spPr/>
        <p:txBody>
          <a:bodyPr/>
          <a:lstStyle/>
          <a:p>
            <a:endParaRPr lang="es-ES"/>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2652"/>
        <p:cNvGrpSpPr/>
        <p:nvPr/>
      </p:nvGrpSpPr>
      <p:grpSpPr>
        <a:xfrm>
          <a:off x="0" y="0"/>
          <a:ext cx="0" cy="0"/>
          <a:chOff x="0" y="0"/>
          <a:chExt cx="0" cy="0"/>
        </a:xfrm>
      </p:grpSpPr>
      <p:sp>
        <p:nvSpPr>
          <p:cNvPr id="2653" name="Google Shape;2653;g805494e7d0_2_302"/>
          <p:cNvSpPr txBox="1"/>
          <p:nvPr/>
        </p:nvSpPr>
        <p:spPr>
          <a:xfrm>
            <a:off x="335998" y="649092"/>
            <a:ext cx="11232600" cy="7221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900"/>
              <a:buFont typeface="Arial"/>
              <a:buNone/>
            </a:pPr>
            <a:r>
              <a:rPr lang="es-ES" sz="2200" b="0" i="0" u="none" strike="noStrike" cap="none">
                <a:solidFill>
                  <a:schemeClr val="dk1"/>
                </a:solidFill>
                <a:latin typeface="Playfair Display"/>
                <a:ea typeface="Playfair Display"/>
                <a:cs typeface="Playfair Display"/>
                <a:sym typeface="Playfair Display"/>
              </a:rPr>
              <a:t>¿Cómo abordamos nuestros proyectos? El equipo de Data Science proporciona los análisis, perfiles y modelos para  el diseño de cada solución</a:t>
            </a:r>
            <a:endParaRPr sz="2200" b="0" i="0" u="none" strike="noStrike" cap="none">
              <a:solidFill>
                <a:schemeClr val="dk1"/>
              </a:solidFill>
              <a:latin typeface="Playfair Display"/>
              <a:ea typeface="Playfair Display"/>
              <a:cs typeface="Playfair Display"/>
              <a:sym typeface="Playfair Display"/>
            </a:endParaRPr>
          </a:p>
          <a:p>
            <a:pPr marL="0" marR="0" lvl="0" indent="0" algn="l" rtl="0">
              <a:lnSpc>
                <a:spcPct val="90000"/>
              </a:lnSpc>
              <a:spcBef>
                <a:spcPts val="0"/>
              </a:spcBef>
              <a:spcAft>
                <a:spcPts val="0"/>
              </a:spcAft>
              <a:buClr>
                <a:schemeClr val="dk1"/>
              </a:buClr>
              <a:buSzPts val="2400"/>
              <a:buFont typeface="Playfair Display"/>
              <a:buNone/>
            </a:pPr>
            <a:endParaRPr sz="2200" b="0" i="0" u="none" strike="noStrike" cap="none">
              <a:solidFill>
                <a:schemeClr val="dk1"/>
              </a:solidFill>
              <a:latin typeface="Playfair Display"/>
              <a:ea typeface="Playfair Display"/>
              <a:cs typeface="Playfair Display"/>
              <a:sym typeface="Playfair Display"/>
            </a:endParaRPr>
          </a:p>
        </p:txBody>
      </p:sp>
      <p:sp>
        <p:nvSpPr>
          <p:cNvPr id="2654" name="Google Shape;2654;g805494e7d0_2_302"/>
          <p:cNvSpPr txBox="1">
            <a:spLocks noGrp="1"/>
          </p:cNvSpPr>
          <p:nvPr>
            <p:ph type="body" idx="1"/>
          </p:nvPr>
        </p:nvSpPr>
        <p:spPr>
          <a:xfrm>
            <a:off x="336000" y="128400"/>
            <a:ext cx="11519400" cy="251400"/>
          </a:xfrm>
          <a:prstGeom prst="rect">
            <a:avLst/>
          </a:prstGeom>
          <a:noFill/>
          <a:ln>
            <a:noFill/>
          </a:ln>
        </p:spPr>
        <p:txBody>
          <a:bodyPr spcFirstLastPara="1" wrap="square" lIns="0" tIns="45700" rIns="91425" bIns="45700" anchor="t" anchorCtr="0">
            <a:noAutofit/>
          </a:bodyPr>
          <a:lstStyle/>
          <a:p>
            <a:pPr marL="0" lvl="0" indent="0" algn="l" rtl="0">
              <a:lnSpc>
                <a:spcPct val="90000"/>
              </a:lnSpc>
              <a:spcBef>
                <a:spcPts val="0"/>
              </a:spcBef>
              <a:spcAft>
                <a:spcPts val="0"/>
              </a:spcAft>
              <a:buClr>
                <a:srgbClr val="1A3B47"/>
              </a:buClr>
              <a:buSzPts val="1400"/>
              <a:buNone/>
            </a:pPr>
            <a:r>
              <a:rPr lang="es-ES" sz="1400">
                <a:latin typeface="Playfair Display"/>
                <a:ea typeface="Playfair Display"/>
                <a:cs typeface="Playfair Display"/>
                <a:sym typeface="Playfair Display"/>
              </a:rPr>
              <a:t>Covid-19 app - Por qué Minsait</a:t>
            </a:r>
            <a:endParaRPr/>
          </a:p>
        </p:txBody>
      </p:sp>
      <p:sp>
        <p:nvSpPr>
          <p:cNvPr id="2655" name="Google Shape;2655;g805494e7d0_2_302"/>
          <p:cNvSpPr/>
          <p:nvPr/>
        </p:nvSpPr>
        <p:spPr>
          <a:xfrm>
            <a:off x="3626791" y="4054279"/>
            <a:ext cx="2596800" cy="2418900"/>
          </a:xfrm>
          <a:prstGeom prst="ellipse">
            <a:avLst/>
          </a:prstGeom>
          <a:solidFill>
            <a:srgbClr val="FFEA80">
              <a:alpha val="13725"/>
            </a:srgbClr>
          </a:solidFill>
          <a:ln w="57150" cap="flat" cmpd="sng">
            <a:solidFill>
              <a:srgbClr val="FFFFFF"/>
            </a:solidFill>
            <a:prstDash val="solid"/>
            <a:round/>
            <a:headEnd type="none" w="sm" len="sm"/>
            <a:tailEnd type="none" w="sm" len="sm"/>
          </a:ln>
        </p:spPr>
        <p:txBody>
          <a:bodyPr spcFirstLastPara="1" wrap="square" lIns="121900" tIns="60925" rIns="121900" bIns="60925" anchor="t" anchorCtr="0">
            <a:noAutofit/>
          </a:bodyPr>
          <a:lstStyle/>
          <a:p>
            <a:pPr marL="0" marR="0" lvl="0" indent="0" algn="l" rtl="0">
              <a:lnSpc>
                <a:spcPct val="100000"/>
              </a:lnSpc>
              <a:spcBef>
                <a:spcPts val="0"/>
              </a:spcBef>
              <a:spcAft>
                <a:spcPts val="0"/>
              </a:spcAft>
              <a:buClr>
                <a:srgbClr val="000000"/>
              </a:buClr>
              <a:buSzPts val="3200"/>
              <a:buFont typeface="Arial"/>
              <a:buNone/>
            </a:pPr>
            <a:endParaRPr sz="3200" b="1" i="0" u="none" strike="noStrike" cap="none">
              <a:solidFill>
                <a:srgbClr val="3D3935"/>
              </a:solidFill>
              <a:latin typeface="Arial"/>
              <a:ea typeface="Arial"/>
              <a:cs typeface="Arial"/>
              <a:sym typeface="Arial"/>
            </a:endParaRPr>
          </a:p>
        </p:txBody>
      </p:sp>
      <p:sp>
        <p:nvSpPr>
          <p:cNvPr id="2656" name="Google Shape;2656;g805494e7d0_2_302"/>
          <p:cNvSpPr/>
          <p:nvPr/>
        </p:nvSpPr>
        <p:spPr>
          <a:xfrm>
            <a:off x="2505729" y="2692500"/>
            <a:ext cx="2596800" cy="2418900"/>
          </a:xfrm>
          <a:prstGeom prst="ellipse">
            <a:avLst/>
          </a:prstGeom>
          <a:solidFill>
            <a:srgbClr val="FFEA80">
              <a:alpha val="13725"/>
            </a:srgbClr>
          </a:solidFill>
          <a:ln w="57150" cap="flat" cmpd="sng">
            <a:solidFill>
              <a:srgbClr val="FFFFFF"/>
            </a:solidFill>
            <a:prstDash val="solid"/>
            <a:round/>
            <a:headEnd type="none" w="sm" len="sm"/>
            <a:tailEnd type="none" w="sm" len="sm"/>
          </a:ln>
        </p:spPr>
        <p:txBody>
          <a:bodyPr spcFirstLastPara="1" wrap="square" lIns="121900" tIns="60925" rIns="121900" bIns="60925" anchor="t" anchorCtr="0">
            <a:noAutofit/>
          </a:bodyPr>
          <a:lstStyle/>
          <a:p>
            <a:pPr marL="0" marR="0" lvl="0" indent="0" algn="l" rtl="0">
              <a:lnSpc>
                <a:spcPct val="100000"/>
              </a:lnSpc>
              <a:spcBef>
                <a:spcPts val="0"/>
              </a:spcBef>
              <a:spcAft>
                <a:spcPts val="0"/>
              </a:spcAft>
              <a:buClr>
                <a:srgbClr val="000000"/>
              </a:buClr>
              <a:buSzPts val="3200"/>
              <a:buFont typeface="Arial"/>
              <a:buNone/>
            </a:pPr>
            <a:endParaRPr sz="3200" b="1" i="0" u="none" strike="noStrike" cap="none">
              <a:solidFill>
                <a:srgbClr val="3D3935"/>
              </a:solidFill>
              <a:latin typeface="Arial"/>
              <a:ea typeface="Arial"/>
              <a:cs typeface="Arial"/>
              <a:sym typeface="Arial"/>
            </a:endParaRPr>
          </a:p>
        </p:txBody>
      </p:sp>
      <p:sp>
        <p:nvSpPr>
          <p:cNvPr id="2657" name="Google Shape;2657;g805494e7d0_2_302"/>
          <p:cNvSpPr/>
          <p:nvPr/>
        </p:nvSpPr>
        <p:spPr>
          <a:xfrm>
            <a:off x="1515668" y="4099475"/>
            <a:ext cx="2596800" cy="2418900"/>
          </a:xfrm>
          <a:prstGeom prst="ellipse">
            <a:avLst/>
          </a:prstGeom>
          <a:solidFill>
            <a:srgbClr val="FFEA80">
              <a:alpha val="13725"/>
            </a:srgbClr>
          </a:solidFill>
          <a:ln w="57150" cap="flat" cmpd="sng">
            <a:solidFill>
              <a:srgbClr val="FFFFFF"/>
            </a:solidFill>
            <a:prstDash val="solid"/>
            <a:round/>
            <a:headEnd type="none" w="sm" len="sm"/>
            <a:tailEnd type="none" w="sm" len="sm"/>
          </a:ln>
        </p:spPr>
        <p:txBody>
          <a:bodyPr spcFirstLastPara="1" wrap="square" lIns="121900" tIns="60925" rIns="121900" bIns="60925" anchor="t" anchorCtr="0">
            <a:noAutofit/>
          </a:bodyPr>
          <a:lstStyle/>
          <a:p>
            <a:pPr marL="0" marR="0" lvl="0" indent="0" algn="l" rtl="0">
              <a:lnSpc>
                <a:spcPct val="100000"/>
              </a:lnSpc>
              <a:spcBef>
                <a:spcPts val="0"/>
              </a:spcBef>
              <a:spcAft>
                <a:spcPts val="0"/>
              </a:spcAft>
              <a:buClr>
                <a:srgbClr val="000000"/>
              </a:buClr>
              <a:buSzPts val="3200"/>
              <a:buFont typeface="Arial"/>
              <a:buNone/>
            </a:pPr>
            <a:endParaRPr sz="3200" b="1" i="0" u="none" strike="noStrike" cap="none">
              <a:solidFill>
                <a:srgbClr val="3D3935"/>
              </a:solidFill>
              <a:latin typeface="Arial"/>
              <a:ea typeface="Arial"/>
              <a:cs typeface="Arial"/>
              <a:sym typeface="Arial"/>
            </a:endParaRPr>
          </a:p>
        </p:txBody>
      </p:sp>
      <p:sp>
        <p:nvSpPr>
          <p:cNvPr id="2658" name="Google Shape;2658;g805494e7d0_2_302"/>
          <p:cNvSpPr txBox="1"/>
          <p:nvPr/>
        </p:nvSpPr>
        <p:spPr>
          <a:xfrm>
            <a:off x="2847821" y="3549707"/>
            <a:ext cx="2057700" cy="410400"/>
          </a:xfrm>
          <a:prstGeom prst="rect">
            <a:avLst/>
          </a:prstGeom>
          <a:noFill/>
          <a:ln>
            <a:noFill/>
          </a:ln>
        </p:spPr>
        <p:txBody>
          <a:bodyPr spcFirstLastPara="1" wrap="square" lIns="121900" tIns="60925" rIns="121900" bIns="60925" anchor="t" anchorCtr="0">
            <a:noAutofit/>
          </a:bodyPr>
          <a:lstStyle/>
          <a:p>
            <a:pPr marL="0" marR="0" lvl="0" indent="0" algn="ctr" rtl="0">
              <a:lnSpc>
                <a:spcPct val="100000"/>
              </a:lnSpc>
              <a:spcBef>
                <a:spcPts val="0"/>
              </a:spcBef>
              <a:spcAft>
                <a:spcPts val="0"/>
              </a:spcAft>
              <a:buClr>
                <a:srgbClr val="000000"/>
              </a:buClr>
              <a:buSzPts val="1900"/>
              <a:buFont typeface="Arial"/>
              <a:buNone/>
            </a:pPr>
            <a:r>
              <a:rPr lang="es-ES" sz="1900" b="0" i="0" u="none" strike="noStrike" cap="none">
                <a:solidFill>
                  <a:srgbClr val="3D3935"/>
                </a:solidFill>
                <a:latin typeface="Georgia"/>
                <a:ea typeface="Georgia"/>
                <a:cs typeface="Georgia"/>
                <a:sym typeface="Georgia"/>
              </a:rPr>
              <a:t>Perfil de negocio</a:t>
            </a:r>
            <a:endParaRPr sz="1900" b="0" i="0" u="none" strike="noStrike" cap="none">
              <a:solidFill>
                <a:srgbClr val="000000"/>
              </a:solidFill>
              <a:latin typeface="Arial"/>
              <a:ea typeface="Arial"/>
              <a:cs typeface="Arial"/>
              <a:sym typeface="Arial"/>
            </a:endParaRPr>
          </a:p>
        </p:txBody>
      </p:sp>
      <p:sp>
        <p:nvSpPr>
          <p:cNvPr id="2659" name="Google Shape;2659;g805494e7d0_2_302"/>
          <p:cNvSpPr txBox="1"/>
          <p:nvPr/>
        </p:nvSpPr>
        <p:spPr>
          <a:xfrm>
            <a:off x="1680404" y="5102749"/>
            <a:ext cx="2057700" cy="697500"/>
          </a:xfrm>
          <a:prstGeom prst="rect">
            <a:avLst/>
          </a:prstGeom>
          <a:noFill/>
          <a:ln>
            <a:noFill/>
          </a:ln>
        </p:spPr>
        <p:txBody>
          <a:bodyPr spcFirstLastPara="1" wrap="square" lIns="121900" tIns="60925" rIns="121900" bIns="60925" anchor="t" anchorCtr="0">
            <a:noAutofit/>
          </a:bodyPr>
          <a:lstStyle/>
          <a:p>
            <a:pPr marL="0" marR="0" lvl="0" indent="0" algn="ctr" rtl="0">
              <a:lnSpc>
                <a:spcPct val="100000"/>
              </a:lnSpc>
              <a:spcBef>
                <a:spcPts val="0"/>
              </a:spcBef>
              <a:spcAft>
                <a:spcPts val="0"/>
              </a:spcAft>
              <a:buClr>
                <a:srgbClr val="000000"/>
              </a:buClr>
              <a:buSzPts val="1900"/>
              <a:buFont typeface="Arial"/>
              <a:buNone/>
            </a:pPr>
            <a:r>
              <a:rPr lang="es-ES" sz="1900" b="0" i="0" u="none" strike="noStrike" cap="none">
                <a:solidFill>
                  <a:srgbClr val="3D3935"/>
                </a:solidFill>
                <a:latin typeface="Georgia"/>
                <a:ea typeface="Georgia"/>
                <a:cs typeface="Georgia"/>
                <a:sym typeface="Georgia"/>
              </a:rPr>
              <a:t>Manipulación de datos</a:t>
            </a:r>
            <a:endParaRPr sz="1900" b="0" i="0" u="none" strike="noStrike" cap="none">
              <a:solidFill>
                <a:srgbClr val="000000"/>
              </a:solidFill>
              <a:latin typeface="Arial"/>
              <a:ea typeface="Arial"/>
              <a:cs typeface="Arial"/>
              <a:sym typeface="Arial"/>
            </a:endParaRPr>
          </a:p>
        </p:txBody>
      </p:sp>
      <p:sp>
        <p:nvSpPr>
          <p:cNvPr id="2660" name="Google Shape;2660;g805494e7d0_2_302"/>
          <p:cNvSpPr txBox="1"/>
          <p:nvPr/>
        </p:nvSpPr>
        <p:spPr>
          <a:xfrm>
            <a:off x="3968775" y="4956250"/>
            <a:ext cx="2057700" cy="697500"/>
          </a:xfrm>
          <a:prstGeom prst="rect">
            <a:avLst/>
          </a:prstGeom>
          <a:noFill/>
          <a:ln>
            <a:noFill/>
          </a:ln>
        </p:spPr>
        <p:txBody>
          <a:bodyPr spcFirstLastPara="1" wrap="square" lIns="121900" tIns="60925" rIns="121900" bIns="60925" anchor="t" anchorCtr="0">
            <a:noAutofit/>
          </a:bodyPr>
          <a:lstStyle/>
          <a:p>
            <a:pPr marL="0" marR="0" lvl="0" indent="0" algn="ctr" rtl="0">
              <a:lnSpc>
                <a:spcPct val="100000"/>
              </a:lnSpc>
              <a:spcBef>
                <a:spcPts val="0"/>
              </a:spcBef>
              <a:spcAft>
                <a:spcPts val="0"/>
              </a:spcAft>
              <a:buClr>
                <a:srgbClr val="000000"/>
              </a:buClr>
              <a:buSzPts val="1900"/>
              <a:buFont typeface="Arial"/>
              <a:buNone/>
            </a:pPr>
            <a:r>
              <a:rPr lang="es-ES" sz="1900" b="0" i="0" u="none" strike="noStrike" cap="none">
                <a:solidFill>
                  <a:srgbClr val="3D3935"/>
                </a:solidFill>
                <a:latin typeface="Georgia"/>
                <a:ea typeface="Georgia"/>
                <a:cs typeface="Georgia"/>
                <a:sym typeface="Georgia"/>
              </a:rPr>
              <a:t>Técnicas Prescriptivas</a:t>
            </a:r>
            <a:endParaRPr sz="1900" b="0" i="0" u="none" strike="noStrike" cap="none">
              <a:solidFill>
                <a:srgbClr val="000000"/>
              </a:solidFill>
              <a:latin typeface="Arial"/>
              <a:ea typeface="Arial"/>
              <a:cs typeface="Arial"/>
              <a:sym typeface="Arial"/>
            </a:endParaRPr>
          </a:p>
        </p:txBody>
      </p:sp>
      <p:sp>
        <p:nvSpPr>
          <p:cNvPr id="2661" name="Google Shape;2661;g805494e7d0_2_302"/>
          <p:cNvSpPr/>
          <p:nvPr/>
        </p:nvSpPr>
        <p:spPr>
          <a:xfrm>
            <a:off x="7375160" y="1776361"/>
            <a:ext cx="4816800" cy="4770900"/>
          </a:xfrm>
          <a:prstGeom prst="rect">
            <a:avLst/>
          </a:prstGeom>
          <a:solidFill>
            <a:srgbClr val="00CC99">
              <a:alpha val="48627"/>
            </a:srgbClr>
          </a:solidFill>
          <a:ln>
            <a:noFill/>
          </a:ln>
        </p:spPr>
        <p:txBody>
          <a:bodyPr spcFirstLastPara="1" wrap="square" lIns="121900" tIns="60925" rIns="121900" bIns="60925" anchor="t" anchorCtr="0">
            <a:noAutofit/>
          </a:bodyPr>
          <a:lstStyle/>
          <a:p>
            <a:pPr marL="0" marR="0" lvl="0" indent="0" algn="l" rtl="0">
              <a:lnSpc>
                <a:spcPct val="100000"/>
              </a:lnSpc>
              <a:spcBef>
                <a:spcPts val="0"/>
              </a:spcBef>
              <a:spcAft>
                <a:spcPts val="0"/>
              </a:spcAft>
              <a:buClr>
                <a:srgbClr val="000000"/>
              </a:buClr>
              <a:buSzPts val="3200"/>
              <a:buFont typeface="Arial"/>
              <a:buNone/>
            </a:pPr>
            <a:endParaRPr sz="3200" b="1" i="0" u="none" strike="noStrike" cap="none">
              <a:solidFill>
                <a:srgbClr val="3D3935"/>
              </a:solidFill>
              <a:latin typeface="Arial"/>
              <a:ea typeface="Arial"/>
              <a:cs typeface="Arial"/>
              <a:sym typeface="Arial"/>
            </a:endParaRPr>
          </a:p>
        </p:txBody>
      </p:sp>
      <p:sp>
        <p:nvSpPr>
          <p:cNvPr id="2662" name="Google Shape;2662;g805494e7d0_2_302"/>
          <p:cNvSpPr/>
          <p:nvPr/>
        </p:nvSpPr>
        <p:spPr>
          <a:xfrm>
            <a:off x="7270593" y="1492009"/>
            <a:ext cx="808520" cy="743498"/>
          </a:xfrm>
          <a:custGeom>
            <a:avLst/>
            <a:gdLst/>
            <a:ahLst/>
            <a:cxnLst/>
            <a:rect l="l" t="t" r="r" b="b"/>
            <a:pathLst>
              <a:path w="4453" h="3386" extrusionOk="0">
                <a:moveTo>
                  <a:pt x="3337" y="0"/>
                </a:moveTo>
                <a:lnTo>
                  <a:pt x="3434" y="4"/>
                </a:lnTo>
                <a:lnTo>
                  <a:pt x="3529" y="17"/>
                </a:lnTo>
                <a:lnTo>
                  <a:pt x="3621" y="36"/>
                </a:lnTo>
                <a:lnTo>
                  <a:pt x="3710" y="65"/>
                </a:lnTo>
                <a:lnTo>
                  <a:pt x="3797" y="100"/>
                </a:lnTo>
                <a:lnTo>
                  <a:pt x="3881" y="144"/>
                </a:lnTo>
                <a:lnTo>
                  <a:pt x="3962" y="195"/>
                </a:lnTo>
                <a:lnTo>
                  <a:pt x="4041" y="256"/>
                </a:lnTo>
                <a:lnTo>
                  <a:pt x="4117" y="323"/>
                </a:lnTo>
                <a:lnTo>
                  <a:pt x="4174" y="383"/>
                </a:lnTo>
                <a:lnTo>
                  <a:pt x="4228" y="449"/>
                </a:lnTo>
                <a:lnTo>
                  <a:pt x="4275" y="520"/>
                </a:lnTo>
                <a:lnTo>
                  <a:pt x="4317" y="594"/>
                </a:lnTo>
                <a:lnTo>
                  <a:pt x="4353" y="672"/>
                </a:lnTo>
                <a:lnTo>
                  <a:pt x="4383" y="755"/>
                </a:lnTo>
                <a:lnTo>
                  <a:pt x="4409" y="842"/>
                </a:lnTo>
                <a:lnTo>
                  <a:pt x="4429" y="933"/>
                </a:lnTo>
                <a:lnTo>
                  <a:pt x="4442" y="1029"/>
                </a:lnTo>
                <a:lnTo>
                  <a:pt x="4451" y="1131"/>
                </a:lnTo>
                <a:lnTo>
                  <a:pt x="4453" y="1235"/>
                </a:lnTo>
                <a:lnTo>
                  <a:pt x="4449" y="1352"/>
                </a:lnTo>
                <a:lnTo>
                  <a:pt x="4440" y="1468"/>
                </a:lnTo>
                <a:lnTo>
                  <a:pt x="4422" y="1580"/>
                </a:lnTo>
                <a:lnTo>
                  <a:pt x="4397" y="1690"/>
                </a:lnTo>
                <a:lnTo>
                  <a:pt x="4365" y="1799"/>
                </a:lnTo>
                <a:lnTo>
                  <a:pt x="4327" y="1905"/>
                </a:lnTo>
                <a:lnTo>
                  <a:pt x="4282" y="2008"/>
                </a:lnTo>
                <a:lnTo>
                  <a:pt x="4229" y="2109"/>
                </a:lnTo>
                <a:lnTo>
                  <a:pt x="4170" y="2208"/>
                </a:lnTo>
                <a:lnTo>
                  <a:pt x="4103" y="2305"/>
                </a:lnTo>
                <a:lnTo>
                  <a:pt x="4030" y="2399"/>
                </a:lnTo>
                <a:lnTo>
                  <a:pt x="3955" y="2485"/>
                </a:lnTo>
                <a:lnTo>
                  <a:pt x="3871" y="2570"/>
                </a:lnTo>
                <a:lnTo>
                  <a:pt x="3778" y="2654"/>
                </a:lnTo>
                <a:lnTo>
                  <a:pt x="3676" y="2737"/>
                </a:lnTo>
                <a:lnTo>
                  <a:pt x="3566" y="2820"/>
                </a:lnTo>
                <a:lnTo>
                  <a:pt x="3446" y="2902"/>
                </a:lnTo>
                <a:lnTo>
                  <a:pt x="3317" y="2985"/>
                </a:lnTo>
                <a:lnTo>
                  <a:pt x="3180" y="3066"/>
                </a:lnTo>
                <a:lnTo>
                  <a:pt x="3033" y="3147"/>
                </a:lnTo>
                <a:lnTo>
                  <a:pt x="2878" y="3227"/>
                </a:lnTo>
                <a:lnTo>
                  <a:pt x="2713" y="3306"/>
                </a:lnTo>
                <a:lnTo>
                  <a:pt x="2540" y="3386"/>
                </a:lnTo>
                <a:lnTo>
                  <a:pt x="2482" y="3337"/>
                </a:lnTo>
                <a:lnTo>
                  <a:pt x="2607" y="3260"/>
                </a:lnTo>
                <a:lnTo>
                  <a:pt x="2727" y="3181"/>
                </a:lnTo>
                <a:lnTo>
                  <a:pt x="2839" y="3100"/>
                </a:lnTo>
                <a:lnTo>
                  <a:pt x="2945" y="3016"/>
                </a:lnTo>
                <a:lnTo>
                  <a:pt x="3044" y="2930"/>
                </a:lnTo>
                <a:lnTo>
                  <a:pt x="3137" y="2842"/>
                </a:lnTo>
                <a:lnTo>
                  <a:pt x="3224" y="2750"/>
                </a:lnTo>
                <a:lnTo>
                  <a:pt x="3305" y="2656"/>
                </a:lnTo>
                <a:lnTo>
                  <a:pt x="3378" y="2560"/>
                </a:lnTo>
                <a:lnTo>
                  <a:pt x="3445" y="2461"/>
                </a:lnTo>
                <a:lnTo>
                  <a:pt x="3521" y="2336"/>
                </a:lnTo>
                <a:lnTo>
                  <a:pt x="3585" y="2212"/>
                </a:lnTo>
                <a:lnTo>
                  <a:pt x="3642" y="2090"/>
                </a:lnTo>
                <a:lnTo>
                  <a:pt x="3687" y="1968"/>
                </a:lnTo>
                <a:lnTo>
                  <a:pt x="3721" y="1846"/>
                </a:lnTo>
                <a:lnTo>
                  <a:pt x="3746" y="1726"/>
                </a:lnTo>
                <a:lnTo>
                  <a:pt x="3761" y="1606"/>
                </a:lnTo>
                <a:lnTo>
                  <a:pt x="3767" y="1487"/>
                </a:lnTo>
                <a:lnTo>
                  <a:pt x="3765" y="1436"/>
                </a:lnTo>
                <a:lnTo>
                  <a:pt x="3760" y="1392"/>
                </a:lnTo>
                <a:lnTo>
                  <a:pt x="3750" y="1354"/>
                </a:lnTo>
                <a:lnTo>
                  <a:pt x="3736" y="1322"/>
                </a:lnTo>
                <a:lnTo>
                  <a:pt x="3720" y="1295"/>
                </a:lnTo>
                <a:lnTo>
                  <a:pt x="3699" y="1274"/>
                </a:lnTo>
                <a:lnTo>
                  <a:pt x="3674" y="1260"/>
                </a:lnTo>
                <a:lnTo>
                  <a:pt x="3646" y="1251"/>
                </a:lnTo>
                <a:lnTo>
                  <a:pt x="3614" y="1248"/>
                </a:lnTo>
                <a:lnTo>
                  <a:pt x="3599" y="1249"/>
                </a:lnTo>
                <a:lnTo>
                  <a:pt x="3580" y="1252"/>
                </a:lnTo>
                <a:lnTo>
                  <a:pt x="3552" y="1256"/>
                </a:lnTo>
                <a:lnTo>
                  <a:pt x="3521" y="1264"/>
                </a:lnTo>
                <a:lnTo>
                  <a:pt x="3482" y="1273"/>
                </a:lnTo>
                <a:lnTo>
                  <a:pt x="3433" y="1284"/>
                </a:lnTo>
                <a:lnTo>
                  <a:pt x="3385" y="1290"/>
                </a:lnTo>
                <a:lnTo>
                  <a:pt x="3341" y="1296"/>
                </a:lnTo>
                <a:lnTo>
                  <a:pt x="3299" y="1297"/>
                </a:lnTo>
                <a:lnTo>
                  <a:pt x="3221" y="1295"/>
                </a:lnTo>
                <a:lnTo>
                  <a:pt x="3144" y="1286"/>
                </a:lnTo>
                <a:lnTo>
                  <a:pt x="3071" y="1271"/>
                </a:lnTo>
                <a:lnTo>
                  <a:pt x="3000" y="1251"/>
                </a:lnTo>
                <a:lnTo>
                  <a:pt x="2933" y="1226"/>
                </a:lnTo>
                <a:lnTo>
                  <a:pt x="2867" y="1193"/>
                </a:lnTo>
                <a:lnTo>
                  <a:pt x="2805" y="1156"/>
                </a:lnTo>
                <a:lnTo>
                  <a:pt x="2745" y="1113"/>
                </a:lnTo>
                <a:lnTo>
                  <a:pt x="2690" y="1065"/>
                </a:lnTo>
                <a:lnTo>
                  <a:pt x="2643" y="1016"/>
                </a:lnTo>
                <a:lnTo>
                  <a:pt x="2603" y="965"/>
                </a:lnTo>
                <a:lnTo>
                  <a:pt x="2570" y="910"/>
                </a:lnTo>
                <a:lnTo>
                  <a:pt x="2544" y="853"/>
                </a:lnTo>
                <a:lnTo>
                  <a:pt x="2526" y="794"/>
                </a:lnTo>
                <a:lnTo>
                  <a:pt x="2515" y="734"/>
                </a:lnTo>
                <a:lnTo>
                  <a:pt x="2511" y="671"/>
                </a:lnTo>
                <a:lnTo>
                  <a:pt x="2515" y="606"/>
                </a:lnTo>
                <a:lnTo>
                  <a:pt x="2525" y="543"/>
                </a:lnTo>
                <a:lnTo>
                  <a:pt x="2543" y="481"/>
                </a:lnTo>
                <a:lnTo>
                  <a:pt x="2567" y="422"/>
                </a:lnTo>
                <a:lnTo>
                  <a:pt x="2598" y="364"/>
                </a:lnTo>
                <a:lnTo>
                  <a:pt x="2636" y="308"/>
                </a:lnTo>
                <a:lnTo>
                  <a:pt x="2681" y="254"/>
                </a:lnTo>
                <a:lnTo>
                  <a:pt x="2734" y="203"/>
                </a:lnTo>
                <a:lnTo>
                  <a:pt x="2784" y="161"/>
                </a:lnTo>
                <a:lnTo>
                  <a:pt x="2841" y="124"/>
                </a:lnTo>
                <a:lnTo>
                  <a:pt x="2900" y="91"/>
                </a:lnTo>
                <a:lnTo>
                  <a:pt x="2963" y="63"/>
                </a:lnTo>
                <a:lnTo>
                  <a:pt x="3029" y="40"/>
                </a:lnTo>
                <a:lnTo>
                  <a:pt x="3100" y="23"/>
                </a:lnTo>
                <a:lnTo>
                  <a:pt x="3174" y="10"/>
                </a:lnTo>
                <a:lnTo>
                  <a:pt x="3254" y="3"/>
                </a:lnTo>
                <a:lnTo>
                  <a:pt x="3337" y="0"/>
                </a:lnTo>
                <a:close/>
                <a:moveTo>
                  <a:pt x="839" y="0"/>
                </a:moveTo>
                <a:lnTo>
                  <a:pt x="929" y="3"/>
                </a:lnTo>
                <a:lnTo>
                  <a:pt x="1015" y="12"/>
                </a:lnTo>
                <a:lnTo>
                  <a:pt x="1100" y="29"/>
                </a:lnTo>
                <a:lnTo>
                  <a:pt x="1183" y="52"/>
                </a:lnTo>
                <a:lnTo>
                  <a:pt x="1262" y="81"/>
                </a:lnTo>
                <a:lnTo>
                  <a:pt x="1339" y="117"/>
                </a:lnTo>
                <a:lnTo>
                  <a:pt x="1413" y="160"/>
                </a:lnTo>
                <a:lnTo>
                  <a:pt x="1486" y="209"/>
                </a:lnTo>
                <a:lnTo>
                  <a:pt x="1556" y="264"/>
                </a:lnTo>
                <a:lnTo>
                  <a:pt x="1624" y="326"/>
                </a:lnTo>
                <a:lnTo>
                  <a:pt x="1681" y="388"/>
                </a:lnTo>
                <a:lnTo>
                  <a:pt x="1734" y="452"/>
                </a:lnTo>
                <a:lnTo>
                  <a:pt x="1780" y="522"/>
                </a:lnTo>
                <a:lnTo>
                  <a:pt x="1821" y="596"/>
                </a:lnTo>
                <a:lnTo>
                  <a:pt x="1857" y="675"/>
                </a:lnTo>
                <a:lnTo>
                  <a:pt x="1887" y="759"/>
                </a:lnTo>
                <a:lnTo>
                  <a:pt x="1912" y="845"/>
                </a:lnTo>
                <a:lnTo>
                  <a:pt x="1931" y="936"/>
                </a:lnTo>
                <a:lnTo>
                  <a:pt x="1945" y="1032"/>
                </a:lnTo>
                <a:lnTo>
                  <a:pt x="1953" y="1131"/>
                </a:lnTo>
                <a:lnTo>
                  <a:pt x="1956" y="1235"/>
                </a:lnTo>
                <a:lnTo>
                  <a:pt x="1952" y="1352"/>
                </a:lnTo>
                <a:lnTo>
                  <a:pt x="1942" y="1468"/>
                </a:lnTo>
                <a:lnTo>
                  <a:pt x="1924" y="1580"/>
                </a:lnTo>
                <a:lnTo>
                  <a:pt x="1900" y="1690"/>
                </a:lnTo>
                <a:lnTo>
                  <a:pt x="1870" y="1799"/>
                </a:lnTo>
                <a:lnTo>
                  <a:pt x="1831" y="1905"/>
                </a:lnTo>
                <a:lnTo>
                  <a:pt x="1786" y="2008"/>
                </a:lnTo>
                <a:lnTo>
                  <a:pt x="1732" y="2109"/>
                </a:lnTo>
                <a:lnTo>
                  <a:pt x="1673" y="2208"/>
                </a:lnTo>
                <a:lnTo>
                  <a:pt x="1607" y="2305"/>
                </a:lnTo>
                <a:lnTo>
                  <a:pt x="1533" y="2399"/>
                </a:lnTo>
                <a:lnTo>
                  <a:pt x="1457" y="2485"/>
                </a:lnTo>
                <a:lnTo>
                  <a:pt x="1374" y="2570"/>
                </a:lnTo>
                <a:lnTo>
                  <a:pt x="1282" y="2654"/>
                </a:lnTo>
                <a:lnTo>
                  <a:pt x="1180" y="2737"/>
                </a:lnTo>
                <a:lnTo>
                  <a:pt x="1069" y="2820"/>
                </a:lnTo>
                <a:lnTo>
                  <a:pt x="949" y="2902"/>
                </a:lnTo>
                <a:lnTo>
                  <a:pt x="820" y="2985"/>
                </a:lnTo>
                <a:lnTo>
                  <a:pt x="683" y="3066"/>
                </a:lnTo>
                <a:lnTo>
                  <a:pt x="537" y="3147"/>
                </a:lnTo>
                <a:lnTo>
                  <a:pt x="382" y="3227"/>
                </a:lnTo>
                <a:lnTo>
                  <a:pt x="217" y="3306"/>
                </a:lnTo>
                <a:lnTo>
                  <a:pt x="44" y="3386"/>
                </a:lnTo>
                <a:lnTo>
                  <a:pt x="0" y="3337"/>
                </a:lnTo>
                <a:lnTo>
                  <a:pt x="141" y="3246"/>
                </a:lnTo>
                <a:lnTo>
                  <a:pt x="273" y="3155"/>
                </a:lnTo>
                <a:lnTo>
                  <a:pt x="397" y="3066"/>
                </a:lnTo>
                <a:lnTo>
                  <a:pt x="510" y="2975"/>
                </a:lnTo>
                <a:lnTo>
                  <a:pt x="614" y="2884"/>
                </a:lnTo>
                <a:lnTo>
                  <a:pt x="709" y="2794"/>
                </a:lnTo>
                <a:lnTo>
                  <a:pt x="794" y="2703"/>
                </a:lnTo>
                <a:lnTo>
                  <a:pt x="871" y="2612"/>
                </a:lnTo>
                <a:lnTo>
                  <a:pt x="938" y="2520"/>
                </a:lnTo>
                <a:lnTo>
                  <a:pt x="996" y="2430"/>
                </a:lnTo>
                <a:lnTo>
                  <a:pt x="1044" y="2339"/>
                </a:lnTo>
                <a:lnTo>
                  <a:pt x="1095" y="2229"/>
                </a:lnTo>
                <a:lnTo>
                  <a:pt x="1139" y="2123"/>
                </a:lnTo>
                <a:lnTo>
                  <a:pt x="1177" y="2021"/>
                </a:lnTo>
                <a:lnTo>
                  <a:pt x="1210" y="1923"/>
                </a:lnTo>
                <a:lnTo>
                  <a:pt x="1238" y="1829"/>
                </a:lnTo>
                <a:lnTo>
                  <a:pt x="1258" y="1737"/>
                </a:lnTo>
                <a:lnTo>
                  <a:pt x="1272" y="1650"/>
                </a:lnTo>
                <a:lnTo>
                  <a:pt x="1282" y="1567"/>
                </a:lnTo>
                <a:lnTo>
                  <a:pt x="1284" y="1487"/>
                </a:lnTo>
                <a:lnTo>
                  <a:pt x="1283" y="1436"/>
                </a:lnTo>
                <a:lnTo>
                  <a:pt x="1276" y="1392"/>
                </a:lnTo>
                <a:lnTo>
                  <a:pt x="1266" y="1354"/>
                </a:lnTo>
                <a:lnTo>
                  <a:pt x="1251" y="1322"/>
                </a:lnTo>
                <a:lnTo>
                  <a:pt x="1234" y="1295"/>
                </a:lnTo>
                <a:lnTo>
                  <a:pt x="1210" y="1274"/>
                </a:lnTo>
                <a:lnTo>
                  <a:pt x="1183" y="1260"/>
                </a:lnTo>
                <a:lnTo>
                  <a:pt x="1152" y="1251"/>
                </a:lnTo>
                <a:lnTo>
                  <a:pt x="1117" y="1248"/>
                </a:lnTo>
                <a:lnTo>
                  <a:pt x="1102" y="1249"/>
                </a:lnTo>
                <a:lnTo>
                  <a:pt x="1082" y="1252"/>
                </a:lnTo>
                <a:lnTo>
                  <a:pt x="1055" y="1256"/>
                </a:lnTo>
                <a:lnTo>
                  <a:pt x="1023" y="1264"/>
                </a:lnTo>
                <a:lnTo>
                  <a:pt x="985" y="1273"/>
                </a:lnTo>
                <a:lnTo>
                  <a:pt x="920" y="1286"/>
                </a:lnTo>
                <a:lnTo>
                  <a:pt x="860" y="1295"/>
                </a:lnTo>
                <a:lnTo>
                  <a:pt x="804" y="1297"/>
                </a:lnTo>
                <a:lnTo>
                  <a:pt x="724" y="1295"/>
                </a:lnTo>
                <a:lnTo>
                  <a:pt x="648" y="1286"/>
                </a:lnTo>
                <a:lnTo>
                  <a:pt x="574" y="1271"/>
                </a:lnTo>
                <a:lnTo>
                  <a:pt x="504" y="1251"/>
                </a:lnTo>
                <a:lnTo>
                  <a:pt x="435" y="1226"/>
                </a:lnTo>
                <a:lnTo>
                  <a:pt x="371" y="1193"/>
                </a:lnTo>
                <a:lnTo>
                  <a:pt x="308" y="1156"/>
                </a:lnTo>
                <a:lnTo>
                  <a:pt x="249" y="1113"/>
                </a:lnTo>
                <a:lnTo>
                  <a:pt x="194" y="1065"/>
                </a:lnTo>
                <a:lnTo>
                  <a:pt x="146" y="1016"/>
                </a:lnTo>
                <a:lnTo>
                  <a:pt x="106" y="965"/>
                </a:lnTo>
                <a:lnTo>
                  <a:pt x="73" y="910"/>
                </a:lnTo>
                <a:lnTo>
                  <a:pt x="48" y="853"/>
                </a:lnTo>
                <a:lnTo>
                  <a:pt x="30" y="794"/>
                </a:lnTo>
                <a:lnTo>
                  <a:pt x="19" y="734"/>
                </a:lnTo>
                <a:lnTo>
                  <a:pt x="15" y="671"/>
                </a:lnTo>
                <a:lnTo>
                  <a:pt x="19" y="606"/>
                </a:lnTo>
                <a:lnTo>
                  <a:pt x="29" y="543"/>
                </a:lnTo>
                <a:lnTo>
                  <a:pt x="47" y="481"/>
                </a:lnTo>
                <a:lnTo>
                  <a:pt x="70" y="422"/>
                </a:lnTo>
                <a:lnTo>
                  <a:pt x="102" y="364"/>
                </a:lnTo>
                <a:lnTo>
                  <a:pt x="140" y="308"/>
                </a:lnTo>
                <a:lnTo>
                  <a:pt x="185" y="254"/>
                </a:lnTo>
                <a:lnTo>
                  <a:pt x="238" y="203"/>
                </a:lnTo>
                <a:lnTo>
                  <a:pt x="288" y="161"/>
                </a:lnTo>
                <a:lnTo>
                  <a:pt x="345" y="124"/>
                </a:lnTo>
                <a:lnTo>
                  <a:pt x="404" y="91"/>
                </a:lnTo>
                <a:lnTo>
                  <a:pt x="467" y="63"/>
                </a:lnTo>
                <a:lnTo>
                  <a:pt x="533" y="40"/>
                </a:lnTo>
                <a:lnTo>
                  <a:pt x="604" y="23"/>
                </a:lnTo>
                <a:lnTo>
                  <a:pt x="679" y="10"/>
                </a:lnTo>
                <a:lnTo>
                  <a:pt x="757" y="3"/>
                </a:lnTo>
                <a:lnTo>
                  <a:pt x="839" y="0"/>
                </a:lnTo>
                <a:close/>
              </a:path>
            </a:pathLst>
          </a:custGeom>
          <a:solidFill>
            <a:srgbClr val="00306D">
              <a:alpha val="21568"/>
            </a:srgbClr>
          </a:solidFill>
          <a:ln>
            <a:noFill/>
          </a:ln>
        </p:spPr>
        <p:txBody>
          <a:bodyPr spcFirstLastPara="1" wrap="square" lIns="121900" tIns="60925" rIns="121900" bIns="60925" anchor="t" anchorCtr="0">
            <a:noAutofit/>
          </a:bodyPr>
          <a:lstStyle/>
          <a:p>
            <a:pPr marL="0" marR="0" lvl="0" indent="0" algn="l" rtl="0">
              <a:lnSpc>
                <a:spcPct val="100000"/>
              </a:lnSpc>
              <a:spcBef>
                <a:spcPts val="0"/>
              </a:spcBef>
              <a:spcAft>
                <a:spcPts val="0"/>
              </a:spcAft>
              <a:buClr>
                <a:srgbClr val="000000"/>
              </a:buClr>
              <a:buSzPts val="2000"/>
              <a:buFont typeface="Arial"/>
              <a:buNone/>
            </a:pPr>
            <a:endParaRPr sz="2000" b="0" i="0" u="none" strike="noStrike" cap="none">
              <a:solidFill>
                <a:srgbClr val="3D3935"/>
              </a:solidFill>
              <a:latin typeface="Arial"/>
              <a:ea typeface="Arial"/>
              <a:cs typeface="Arial"/>
              <a:sym typeface="Arial"/>
            </a:endParaRPr>
          </a:p>
        </p:txBody>
      </p:sp>
      <p:sp>
        <p:nvSpPr>
          <p:cNvPr id="2663" name="Google Shape;2663;g805494e7d0_2_302"/>
          <p:cNvSpPr txBox="1"/>
          <p:nvPr/>
        </p:nvSpPr>
        <p:spPr>
          <a:xfrm>
            <a:off x="7508247" y="1842859"/>
            <a:ext cx="4677900" cy="1867200"/>
          </a:xfrm>
          <a:prstGeom prst="rect">
            <a:avLst/>
          </a:prstGeom>
          <a:noFill/>
          <a:ln>
            <a:noFill/>
          </a:ln>
        </p:spPr>
        <p:txBody>
          <a:bodyPr spcFirstLastPara="1" wrap="square" lIns="121900" tIns="60925" rIns="121900" bIns="60925" anchor="t" anchorCtr="0">
            <a:noAutofit/>
          </a:bodyPr>
          <a:lstStyle/>
          <a:p>
            <a:pPr marL="0" marR="0" lvl="0" indent="0" algn="l" rtl="0">
              <a:lnSpc>
                <a:spcPct val="100000"/>
              </a:lnSpc>
              <a:spcBef>
                <a:spcPts val="0"/>
              </a:spcBef>
              <a:spcAft>
                <a:spcPts val="0"/>
              </a:spcAft>
              <a:buClr>
                <a:srgbClr val="000000"/>
              </a:buClr>
              <a:buSzPts val="2300"/>
              <a:buFont typeface="Arial"/>
              <a:buNone/>
            </a:pPr>
            <a:r>
              <a:rPr lang="es-ES" sz="2300" b="0" i="0" u="none" strike="noStrike" cap="none">
                <a:solidFill>
                  <a:srgbClr val="FFFFFF"/>
                </a:solidFill>
                <a:latin typeface="Georgia"/>
                <a:ea typeface="Georgia"/>
                <a:cs typeface="Georgia"/>
                <a:sym typeface="Georgia"/>
              </a:rPr>
              <a:t>Data Science empieza con una pregunta de negocio y acaba con la respuesta que mejor se adecúa a los objetivos estratégicos</a:t>
            </a:r>
            <a:endParaRPr sz="19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endParaRPr sz="800" b="0" i="0" u="none" strike="noStrike" cap="none">
              <a:solidFill>
                <a:srgbClr val="FFFFFF"/>
              </a:solidFill>
              <a:latin typeface="Georgia"/>
              <a:ea typeface="Georgia"/>
              <a:cs typeface="Georgia"/>
              <a:sym typeface="Georgia"/>
            </a:endParaRPr>
          </a:p>
          <a:p>
            <a:pPr marL="0" marR="0" lvl="0" indent="0" algn="l" rtl="0">
              <a:lnSpc>
                <a:spcPct val="100000"/>
              </a:lnSpc>
              <a:spcBef>
                <a:spcPts val="0"/>
              </a:spcBef>
              <a:spcAft>
                <a:spcPts val="0"/>
              </a:spcAft>
              <a:buClr>
                <a:srgbClr val="000000"/>
              </a:buClr>
              <a:buSzPts val="1300"/>
              <a:buFont typeface="Arial"/>
              <a:buNone/>
            </a:pPr>
            <a:r>
              <a:rPr lang="es-ES" sz="1300" b="0" i="0" u="none" strike="noStrike" cap="none">
                <a:solidFill>
                  <a:srgbClr val="1A3B47"/>
                </a:solidFill>
                <a:latin typeface="Georgia"/>
                <a:ea typeface="Georgia"/>
                <a:cs typeface="Georgia"/>
                <a:sym typeface="Georgia"/>
              </a:rPr>
              <a:t>Para ello integramos datos de todo tipo de fuentes</a:t>
            </a:r>
            <a:endParaRPr sz="1300" b="0" i="0" u="none" strike="noStrike" cap="none">
              <a:solidFill>
                <a:srgbClr val="1A3B47"/>
              </a:solidFill>
              <a:latin typeface="Georgia"/>
              <a:ea typeface="Georgia"/>
              <a:cs typeface="Georgia"/>
              <a:sym typeface="Georgia"/>
            </a:endParaRPr>
          </a:p>
        </p:txBody>
      </p:sp>
      <p:pic>
        <p:nvPicPr>
          <p:cNvPr id="2664" name="Google Shape;2664;g805494e7d0_2_302"/>
          <p:cNvPicPr preferRelativeResize="0"/>
          <p:nvPr/>
        </p:nvPicPr>
        <p:blipFill rotWithShape="1">
          <a:blip r:embed="rId3">
            <a:alphaModFix/>
          </a:blip>
          <a:srcRect/>
          <a:stretch/>
        </p:blipFill>
        <p:spPr>
          <a:xfrm>
            <a:off x="8559953" y="3678719"/>
            <a:ext cx="2686458" cy="2668947"/>
          </a:xfrm>
          <a:prstGeom prst="rect">
            <a:avLst/>
          </a:prstGeom>
          <a:noFill/>
          <a:ln>
            <a:noFill/>
          </a:ln>
        </p:spPr>
      </p:pic>
      <p:grpSp>
        <p:nvGrpSpPr>
          <p:cNvPr id="2665" name="Google Shape;2665;g805494e7d0_2_302"/>
          <p:cNvGrpSpPr/>
          <p:nvPr/>
        </p:nvGrpSpPr>
        <p:grpSpPr>
          <a:xfrm>
            <a:off x="949527" y="1486872"/>
            <a:ext cx="902487" cy="1602992"/>
            <a:chOff x="4707134" y="1022350"/>
            <a:chExt cx="1561666" cy="2775263"/>
          </a:xfrm>
        </p:grpSpPr>
        <p:sp>
          <p:nvSpPr>
            <p:cNvPr id="2666" name="Google Shape;2666;g805494e7d0_2_302"/>
            <p:cNvSpPr/>
            <p:nvPr/>
          </p:nvSpPr>
          <p:spPr>
            <a:xfrm>
              <a:off x="4707731" y="1022350"/>
              <a:ext cx="171450" cy="2775263"/>
            </a:xfrm>
            <a:custGeom>
              <a:avLst/>
              <a:gdLst/>
              <a:ahLst/>
              <a:cxnLst/>
              <a:rect l="l" t="t" r="r" b="b"/>
              <a:pathLst>
                <a:path w="171450" h="2761456" extrusionOk="0">
                  <a:moveTo>
                    <a:pt x="0" y="0"/>
                  </a:moveTo>
                  <a:lnTo>
                    <a:pt x="168275" y="47393"/>
                  </a:lnTo>
                  <a:cubicBezTo>
                    <a:pt x="169333" y="934089"/>
                    <a:pt x="170392" y="1820785"/>
                    <a:pt x="171450" y="2707481"/>
                  </a:cubicBezTo>
                  <a:lnTo>
                    <a:pt x="0" y="2761456"/>
                  </a:lnTo>
                  <a:lnTo>
                    <a:pt x="0" y="0"/>
                  </a:lnTo>
                  <a:close/>
                </a:path>
              </a:pathLst>
            </a:custGeom>
            <a:solidFill>
              <a:srgbClr val="7874B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rgbClr val="FFFFFF"/>
                </a:solidFill>
                <a:latin typeface="Arial"/>
                <a:ea typeface="Arial"/>
                <a:cs typeface="Arial"/>
                <a:sym typeface="Arial"/>
              </a:endParaRPr>
            </a:p>
          </p:txBody>
        </p:sp>
        <p:sp>
          <p:nvSpPr>
            <p:cNvPr id="2667" name="Google Shape;2667;g805494e7d0_2_302"/>
            <p:cNvSpPr/>
            <p:nvPr/>
          </p:nvSpPr>
          <p:spPr>
            <a:xfrm>
              <a:off x="6096000" y="1470024"/>
              <a:ext cx="172800" cy="1879500"/>
            </a:xfrm>
            <a:prstGeom prst="rect">
              <a:avLst/>
            </a:prstGeom>
            <a:solidFill>
              <a:srgbClr val="7874B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rgbClr val="FFFFFF"/>
                </a:solidFill>
                <a:latin typeface="Arial"/>
                <a:ea typeface="Arial"/>
                <a:cs typeface="Arial"/>
                <a:sym typeface="Arial"/>
              </a:endParaRPr>
            </a:p>
          </p:txBody>
        </p:sp>
        <p:sp>
          <p:nvSpPr>
            <p:cNvPr id="2668" name="Google Shape;2668;g805494e7d0_2_302"/>
            <p:cNvSpPr/>
            <p:nvPr/>
          </p:nvSpPr>
          <p:spPr>
            <a:xfrm rot="6360820">
              <a:off x="5398687" y="549929"/>
              <a:ext cx="172910" cy="1569208"/>
            </a:xfrm>
            <a:prstGeom prst="rect">
              <a:avLst/>
            </a:prstGeom>
            <a:solidFill>
              <a:srgbClr val="7874B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rgbClr val="FFFFFF"/>
                </a:solidFill>
                <a:latin typeface="Arial"/>
                <a:ea typeface="Arial"/>
                <a:cs typeface="Arial"/>
                <a:sym typeface="Arial"/>
              </a:endParaRPr>
            </a:p>
          </p:txBody>
        </p:sp>
        <p:sp>
          <p:nvSpPr>
            <p:cNvPr id="2669" name="Google Shape;2669;g805494e7d0_2_302"/>
            <p:cNvSpPr/>
            <p:nvPr/>
          </p:nvSpPr>
          <p:spPr>
            <a:xfrm rot="4439180">
              <a:off x="5430300" y="2717031"/>
              <a:ext cx="172910" cy="1507684"/>
            </a:xfrm>
            <a:prstGeom prst="rect">
              <a:avLst/>
            </a:prstGeom>
            <a:solidFill>
              <a:srgbClr val="7874B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397"/>
                <a:buFont typeface="Arial"/>
                <a:buNone/>
              </a:pPr>
              <a:endParaRPr sz="2397" b="0" i="0" u="none" strike="noStrike" cap="none">
                <a:solidFill>
                  <a:srgbClr val="FFFFFF"/>
                </a:solidFill>
                <a:latin typeface="Arial"/>
                <a:ea typeface="Arial"/>
                <a:cs typeface="Arial"/>
                <a:sym typeface="Arial"/>
              </a:endParaRPr>
            </a:p>
          </p:txBody>
        </p:sp>
      </p:grpSp>
      <p:sp>
        <p:nvSpPr>
          <p:cNvPr id="2670" name="Google Shape;2670;g805494e7d0_2_302"/>
          <p:cNvSpPr txBox="1"/>
          <p:nvPr/>
        </p:nvSpPr>
        <p:spPr>
          <a:xfrm>
            <a:off x="1307220" y="1881191"/>
            <a:ext cx="5497500" cy="814200"/>
          </a:xfrm>
          <a:prstGeom prst="rect">
            <a:avLst/>
          </a:prstGeom>
          <a:solidFill>
            <a:srgbClr val="FFFFFF"/>
          </a:solidFill>
          <a:ln>
            <a:noFill/>
          </a:ln>
        </p:spPr>
        <p:txBody>
          <a:bodyPr spcFirstLastPara="1" wrap="square" lIns="121900" tIns="60925" rIns="121900" bIns="60925" anchor="t" anchorCtr="0">
            <a:noAutofit/>
          </a:bodyPr>
          <a:lstStyle/>
          <a:p>
            <a:pPr marL="0" marR="0" lvl="0" indent="0" algn="just" rtl="0">
              <a:lnSpc>
                <a:spcPct val="100000"/>
              </a:lnSpc>
              <a:spcBef>
                <a:spcPts val="0"/>
              </a:spcBef>
              <a:spcAft>
                <a:spcPts val="0"/>
              </a:spcAft>
              <a:buClr>
                <a:srgbClr val="000000"/>
              </a:buClr>
              <a:buSzPts val="1600"/>
              <a:buFont typeface="Arial"/>
              <a:buNone/>
            </a:pPr>
            <a:r>
              <a:rPr lang="es-ES" sz="1600" b="0" i="1" u="none" strike="noStrike" cap="none">
                <a:solidFill>
                  <a:srgbClr val="3D3935"/>
                </a:solidFill>
                <a:latin typeface="Arial"/>
                <a:ea typeface="Arial"/>
                <a:cs typeface="Arial"/>
                <a:sym typeface="Arial"/>
              </a:rPr>
              <a:t>El objetivo de Data Science es mejorar las decisiones de negocio mediante el uso de métodos cuantitativos aplicados a los datos y a través de la tecnología</a:t>
            </a:r>
            <a:endParaRPr sz="1600" b="0" i="0" u="none" strike="noStrike" cap="none">
              <a:solidFill>
                <a:srgbClr val="3D3935"/>
              </a:solidFill>
              <a:latin typeface="Georgia"/>
              <a:ea typeface="Georgia"/>
              <a:cs typeface="Georgia"/>
              <a:sym typeface="Georgia"/>
            </a:endParaRPr>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2674"/>
        <p:cNvGrpSpPr/>
        <p:nvPr/>
      </p:nvGrpSpPr>
      <p:grpSpPr>
        <a:xfrm>
          <a:off x="0" y="0"/>
          <a:ext cx="0" cy="0"/>
          <a:chOff x="0" y="0"/>
          <a:chExt cx="0" cy="0"/>
        </a:xfrm>
      </p:grpSpPr>
      <p:sp>
        <p:nvSpPr>
          <p:cNvPr id="2" name="Marcador de texto 1"/>
          <p:cNvSpPr>
            <a:spLocks noGrp="1"/>
          </p:cNvSpPr>
          <p:nvPr>
            <p:ph type="body" idx="1"/>
          </p:nvPr>
        </p:nvSpPr>
        <p:spPr/>
        <p:txBody>
          <a:bodyPr/>
          <a:lstStyle/>
          <a:p>
            <a:endParaRPr lang="es-ES"/>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2733"/>
        <p:cNvGrpSpPr/>
        <p:nvPr/>
      </p:nvGrpSpPr>
      <p:grpSpPr>
        <a:xfrm>
          <a:off x="0" y="0"/>
          <a:ext cx="0" cy="0"/>
          <a:chOff x="0" y="0"/>
          <a:chExt cx="0" cy="0"/>
        </a:xfrm>
      </p:grpSpPr>
      <p:sp>
        <p:nvSpPr>
          <p:cNvPr id="2" name="Marcador de texto 1"/>
          <p:cNvSpPr>
            <a:spLocks noGrp="1"/>
          </p:cNvSpPr>
          <p:nvPr>
            <p:ph type="body" idx="1"/>
          </p:nvPr>
        </p:nvSpPr>
        <p:spPr/>
        <p:txBody>
          <a:bodyPr/>
          <a:lstStyle/>
          <a:p>
            <a:endParaRPr lang="es-ES"/>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2762"/>
        <p:cNvGrpSpPr/>
        <p:nvPr/>
      </p:nvGrpSpPr>
      <p:grpSpPr>
        <a:xfrm>
          <a:off x="0" y="0"/>
          <a:ext cx="0" cy="0"/>
          <a:chOff x="0" y="0"/>
          <a:chExt cx="0" cy="0"/>
        </a:xfrm>
      </p:grpSpPr>
      <p:sp>
        <p:nvSpPr>
          <p:cNvPr id="2" name="Marcador de texto 1"/>
          <p:cNvSpPr>
            <a:spLocks noGrp="1"/>
          </p:cNvSpPr>
          <p:nvPr>
            <p:ph type="body" idx="1"/>
          </p:nvPr>
        </p:nvSpPr>
        <p:spPr/>
        <p:txBody>
          <a:bodyPr/>
          <a:lstStyle/>
          <a:p>
            <a:endParaRPr lang="es-ES"/>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2810"/>
        <p:cNvGrpSpPr/>
        <p:nvPr/>
      </p:nvGrpSpPr>
      <p:grpSpPr>
        <a:xfrm>
          <a:off x="0" y="0"/>
          <a:ext cx="0" cy="0"/>
          <a:chOff x="0" y="0"/>
          <a:chExt cx="0" cy="0"/>
        </a:xfrm>
      </p:grpSpPr>
      <p:sp>
        <p:nvSpPr>
          <p:cNvPr id="2" name="Marcador de texto 1"/>
          <p:cNvSpPr>
            <a:spLocks noGrp="1"/>
          </p:cNvSpPr>
          <p:nvPr>
            <p:ph type="body" idx="1"/>
          </p:nvPr>
        </p:nvSpPr>
        <p:spPr/>
        <p:txBody>
          <a:bodyPr/>
          <a:lstStyle/>
          <a:p>
            <a:endParaRPr lang="es-ES"/>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2836"/>
        <p:cNvGrpSpPr/>
        <p:nvPr/>
      </p:nvGrpSpPr>
      <p:grpSpPr>
        <a:xfrm>
          <a:off x="0" y="0"/>
          <a:ext cx="0" cy="0"/>
          <a:chOff x="0" y="0"/>
          <a:chExt cx="0" cy="0"/>
        </a:xfrm>
      </p:grpSpPr>
      <p:sp>
        <p:nvSpPr>
          <p:cNvPr id="2837" name="Google Shape;2837;g805494e7d0_2_86"/>
          <p:cNvSpPr txBox="1"/>
          <p:nvPr/>
        </p:nvSpPr>
        <p:spPr>
          <a:xfrm>
            <a:off x="335998" y="649092"/>
            <a:ext cx="11232600" cy="7221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2400"/>
              <a:buFont typeface="Playfair Display"/>
              <a:buNone/>
            </a:pPr>
            <a:r>
              <a:rPr lang="es-ES" sz="2400" b="0" i="0" u="none" strike="noStrike" cap="none">
                <a:solidFill>
                  <a:schemeClr val="dk1"/>
                </a:solidFill>
                <a:latin typeface="Playfair Display"/>
                <a:ea typeface="Playfair Display"/>
                <a:cs typeface="Playfair Display"/>
                <a:sym typeface="Playfair Display"/>
              </a:rPr>
              <a:t>Recientemente, Minsait refuerza sus capacidades tecnológicas con la creación de Plaiground, su marca especialista en IA con un modelo de </a:t>
            </a:r>
            <a:r>
              <a:rPr lang="es-ES" sz="2400" b="0" i="1" u="none" strike="noStrike" cap="none">
                <a:solidFill>
                  <a:schemeClr val="dk1"/>
                </a:solidFill>
                <a:latin typeface="Playfair Display"/>
                <a:ea typeface="Playfair Display"/>
                <a:cs typeface="Playfair Display"/>
                <a:sym typeface="Playfair Display"/>
              </a:rPr>
              <a:t>delivery </a:t>
            </a:r>
            <a:r>
              <a:rPr lang="es-ES" sz="2400" b="0" i="0" u="none" strike="noStrike" cap="none">
                <a:solidFill>
                  <a:schemeClr val="dk1"/>
                </a:solidFill>
                <a:latin typeface="Playfair Display"/>
                <a:ea typeface="Playfair Display"/>
                <a:cs typeface="Playfair Display"/>
                <a:sym typeface="Playfair Display"/>
              </a:rPr>
              <a:t>abierto</a:t>
            </a:r>
            <a:endParaRPr sz="2400" b="0" i="0" u="none" strike="noStrike" cap="none">
              <a:solidFill>
                <a:schemeClr val="dk1"/>
              </a:solidFill>
              <a:latin typeface="Playfair Display"/>
              <a:ea typeface="Playfair Display"/>
              <a:cs typeface="Playfair Display"/>
              <a:sym typeface="Playfair Display"/>
            </a:endParaRPr>
          </a:p>
        </p:txBody>
      </p:sp>
      <p:sp>
        <p:nvSpPr>
          <p:cNvPr id="2838" name="Google Shape;2838;g805494e7d0_2_86"/>
          <p:cNvSpPr txBox="1">
            <a:spLocks noGrp="1"/>
          </p:cNvSpPr>
          <p:nvPr>
            <p:ph type="body" idx="1"/>
          </p:nvPr>
        </p:nvSpPr>
        <p:spPr>
          <a:xfrm>
            <a:off x="336000" y="128400"/>
            <a:ext cx="11519400" cy="251400"/>
          </a:xfrm>
          <a:prstGeom prst="rect">
            <a:avLst/>
          </a:prstGeom>
          <a:noFill/>
          <a:ln>
            <a:noFill/>
          </a:ln>
        </p:spPr>
        <p:txBody>
          <a:bodyPr spcFirstLastPara="1" wrap="square" lIns="0" tIns="45700" rIns="91425" bIns="45700" anchor="t" anchorCtr="0">
            <a:noAutofit/>
          </a:bodyPr>
          <a:lstStyle/>
          <a:p>
            <a:pPr marL="0" lvl="0" indent="0" algn="l" rtl="0">
              <a:lnSpc>
                <a:spcPct val="90000"/>
              </a:lnSpc>
              <a:spcBef>
                <a:spcPts val="0"/>
              </a:spcBef>
              <a:spcAft>
                <a:spcPts val="0"/>
              </a:spcAft>
              <a:buClr>
                <a:srgbClr val="1A3B47"/>
              </a:buClr>
              <a:buSzPts val="1400"/>
              <a:buNone/>
            </a:pPr>
            <a:r>
              <a:rPr lang="es-ES" sz="1400">
                <a:latin typeface="Playfair Display"/>
                <a:ea typeface="Playfair Display"/>
                <a:cs typeface="Playfair Display"/>
                <a:sym typeface="Playfair Display"/>
              </a:rPr>
              <a:t>Covid-19 app - Por qué Minsait</a:t>
            </a:r>
            <a:endParaRPr/>
          </a:p>
        </p:txBody>
      </p:sp>
      <p:grpSp>
        <p:nvGrpSpPr>
          <p:cNvPr id="2839" name="Google Shape;2839;g805494e7d0_2_86"/>
          <p:cNvGrpSpPr/>
          <p:nvPr/>
        </p:nvGrpSpPr>
        <p:grpSpPr>
          <a:xfrm>
            <a:off x="398990" y="1576247"/>
            <a:ext cx="11341652" cy="4729533"/>
            <a:chOff x="746296" y="1921524"/>
            <a:chExt cx="8572677" cy="3566767"/>
          </a:xfrm>
        </p:grpSpPr>
        <p:pic>
          <p:nvPicPr>
            <p:cNvPr id="2840" name="Google Shape;2840;g805494e7d0_2_86"/>
            <p:cNvPicPr preferRelativeResize="0"/>
            <p:nvPr/>
          </p:nvPicPr>
          <p:blipFill rotWithShape="1">
            <a:blip r:embed="rId3">
              <a:alphaModFix/>
            </a:blip>
            <a:srcRect/>
            <a:stretch/>
          </p:blipFill>
          <p:spPr>
            <a:xfrm>
              <a:off x="746296" y="1921524"/>
              <a:ext cx="1856071" cy="942766"/>
            </a:xfrm>
            <a:prstGeom prst="rect">
              <a:avLst/>
            </a:prstGeom>
            <a:noFill/>
            <a:ln>
              <a:noFill/>
            </a:ln>
          </p:spPr>
        </p:pic>
        <p:sp>
          <p:nvSpPr>
            <p:cNvPr id="2841" name="Google Shape;2841;g805494e7d0_2_86"/>
            <p:cNvSpPr txBox="1"/>
            <p:nvPr/>
          </p:nvSpPr>
          <p:spPr>
            <a:xfrm>
              <a:off x="941552" y="2869932"/>
              <a:ext cx="2921100" cy="1835100"/>
            </a:xfrm>
            <a:prstGeom prst="rect">
              <a:avLst/>
            </a:prstGeom>
            <a:noFill/>
            <a:ln>
              <a:noFill/>
            </a:ln>
          </p:spPr>
          <p:txBody>
            <a:bodyPr spcFirstLastPara="1" wrap="square" lIns="91425" tIns="91425" rIns="91425" bIns="91425" anchor="t" anchorCtr="0">
              <a:noAutofit/>
            </a:bodyPr>
            <a:lstStyle/>
            <a:p>
              <a:pPr marL="171450" marR="0" lvl="0" indent="-171450" algn="l" rtl="0">
                <a:lnSpc>
                  <a:spcPct val="115000"/>
                </a:lnSpc>
                <a:spcBef>
                  <a:spcPts val="1200"/>
                </a:spcBef>
                <a:spcAft>
                  <a:spcPts val="0"/>
                </a:spcAft>
                <a:buClr>
                  <a:srgbClr val="000000"/>
                </a:buClr>
                <a:buSzPts val="1400"/>
                <a:buFont typeface="Arial"/>
                <a:buChar char="•"/>
              </a:pPr>
              <a:r>
                <a:rPr lang="es-ES" sz="1400" b="1" i="0" u="none" strike="noStrike" cap="none">
                  <a:solidFill>
                    <a:srgbClr val="000000"/>
                  </a:solidFill>
                  <a:latin typeface="Arial"/>
                  <a:ea typeface="Arial"/>
                  <a:cs typeface="Arial"/>
                  <a:sym typeface="Arial"/>
                </a:rPr>
                <a:t>Presencia</a:t>
              </a:r>
              <a:r>
                <a:rPr lang="es-ES" sz="1400" b="0" i="0" u="none" strike="noStrike" cap="none">
                  <a:solidFill>
                    <a:srgbClr val="000000"/>
                  </a:solidFill>
                  <a:latin typeface="Arial"/>
                  <a:ea typeface="Arial"/>
                  <a:cs typeface="Arial"/>
                  <a:sym typeface="Arial"/>
                </a:rPr>
                <a:t> en +140 países</a:t>
              </a:r>
              <a:endParaRPr sz="1400" b="0" i="0" u="none" strike="noStrike" cap="none">
                <a:solidFill>
                  <a:srgbClr val="000000"/>
                </a:solidFill>
                <a:latin typeface="Arial"/>
                <a:ea typeface="Arial"/>
                <a:cs typeface="Arial"/>
                <a:sym typeface="Arial"/>
              </a:endParaRPr>
            </a:p>
            <a:p>
              <a:pPr marL="171450" marR="0" lvl="0" indent="-171450" algn="l" rtl="0">
                <a:lnSpc>
                  <a:spcPct val="115000"/>
                </a:lnSpc>
                <a:spcBef>
                  <a:spcPts val="1200"/>
                </a:spcBef>
                <a:spcAft>
                  <a:spcPts val="0"/>
                </a:spcAft>
                <a:buClr>
                  <a:srgbClr val="000000"/>
                </a:buClr>
                <a:buSzPts val="1400"/>
                <a:buFont typeface="Arial"/>
                <a:buChar char="•"/>
              </a:pPr>
              <a:r>
                <a:rPr lang="es-ES" sz="1400" b="1" i="0" u="none" strike="noStrike" cap="none">
                  <a:solidFill>
                    <a:srgbClr val="000000"/>
                  </a:solidFill>
                  <a:latin typeface="Arial"/>
                  <a:ea typeface="Arial"/>
                  <a:cs typeface="Arial"/>
                  <a:sym typeface="Arial"/>
                </a:rPr>
                <a:t>Posicionamiento</a:t>
              </a:r>
              <a:r>
                <a:rPr lang="es-ES" sz="1400" b="0" i="0" u="none" strike="noStrike" cap="none">
                  <a:solidFill>
                    <a:srgbClr val="000000"/>
                  </a:solidFill>
                  <a:latin typeface="Arial"/>
                  <a:ea typeface="Arial"/>
                  <a:cs typeface="Arial"/>
                  <a:sym typeface="Arial"/>
                </a:rPr>
                <a:t> como socio de transformación digital</a:t>
              </a:r>
              <a:endParaRPr sz="1700" b="0" i="0" u="none" strike="noStrike" cap="none">
                <a:solidFill>
                  <a:srgbClr val="000000"/>
                </a:solidFill>
                <a:latin typeface="Arial"/>
                <a:ea typeface="Arial"/>
                <a:cs typeface="Arial"/>
                <a:sym typeface="Arial"/>
              </a:endParaRPr>
            </a:p>
            <a:p>
              <a:pPr marL="171450" marR="0" lvl="0" indent="-171450" algn="l" rtl="0">
                <a:lnSpc>
                  <a:spcPct val="115000"/>
                </a:lnSpc>
                <a:spcBef>
                  <a:spcPts val="1200"/>
                </a:spcBef>
                <a:spcAft>
                  <a:spcPts val="0"/>
                </a:spcAft>
                <a:buClr>
                  <a:srgbClr val="000000"/>
                </a:buClr>
                <a:buSzPts val="1400"/>
                <a:buFont typeface="Arial"/>
                <a:buChar char="•"/>
              </a:pPr>
              <a:r>
                <a:rPr lang="es-ES" sz="1400" b="1" i="0" u="none" strike="noStrike" cap="none">
                  <a:solidFill>
                    <a:srgbClr val="000000"/>
                  </a:solidFill>
                  <a:latin typeface="Arial"/>
                  <a:ea typeface="Arial"/>
                  <a:cs typeface="Arial"/>
                  <a:sym typeface="Arial"/>
                </a:rPr>
                <a:t>Soluciones</a:t>
              </a:r>
              <a:r>
                <a:rPr lang="es-ES" sz="1400" b="0" i="0" u="none" strike="noStrike" cap="none">
                  <a:solidFill>
                    <a:srgbClr val="000000"/>
                  </a:solidFill>
                  <a:latin typeface="Arial"/>
                  <a:ea typeface="Arial"/>
                  <a:cs typeface="Arial"/>
                  <a:sym typeface="Arial"/>
                </a:rPr>
                <a:t> tecnológicas propias</a:t>
              </a:r>
              <a:endParaRPr sz="1400" b="0" i="0" u="none" strike="noStrike" cap="none">
                <a:solidFill>
                  <a:srgbClr val="000000"/>
                </a:solidFill>
                <a:latin typeface="Arial"/>
                <a:ea typeface="Arial"/>
                <a:cs typeface="Arial"/>
                <a:sym typeface="Arial"/>
              </a:endParaRPr>
            </a:p>
          </p:txBody>
        </p:sp>
        <p:sp>
          <p:nvSpPr>
            <p:cNvPr id="2842" name="Google Shape;2842;g805494e7d0_2_86"/>
            <p:cNvSpPr/>
            <p:nvPr/>
          </p:nvSpPr>
          <p:spPr>
            <a:xfrm>
              <a:off x="4032534" y="3135530"/>
              <a:ext cx="1951800" cy="1930800"/>
            </a:xfrm>
            <a:prstGeom prst="ellipse">
              <a:avLst/>
            </a:prstGeom>
            <a:solidFill>
              <a:schemeClr val="accent4"/>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300"/>
                <a:buFont typeface="Arial"/>
                <a:buNone/>
              </a:pPr>
              <a:endParaRPr sz="1300" b="0" i="0" u="none" strike="noStrike" cap="none">
                <a:solidFill>
                  <a:srgbClr val="000000"/>
                </a:solidFill>
                <a:latin typeface="Arial"/>
                <a:ea typeface="Arial"/>
                <a:cs typeface="Arial"/>
                <a:sym typeface="Arial"/>
              </a:endParaRPr>
            </a:p>
          </p:txBody>
        </p:sp>
        <p:sp>
          <p:nvSpPr>
            <p:cNvPr id="2843" name="Google Shape;2843;g805494e7d0_2_86"/>
            <p:cNvSpPr/>
            <p:nvPr/>
          </p:nvSpPr>
          <p:spPr>
            <a:xfrm flipH="1">
              <a:off x="5660004" y="2747583"/>
              <a:ext cx="3512320" cy="2740708"/>
            </a:xfrm>
            <a:custGeom>
              <a:avLst/>
              <a:gdLst/>
              <a:ahLst/>
              <a:cxnLst/>
              <a:rect l="l" t="t" r="r" b="b"/>
              <a:pathLst>
                <a:path w="795" h="375" extrusionOk="0">
                  <a:moveTo>
                    <a:pt x="0" y="0"/>
                  </a:moveTo>
                  <a:lnTo>
                    <a:pt x="649" y="0"/>
                  </a:lnTo>
                  <a:lnTo>
                    <a:pt x="795" y="189"/>
                  </a:lnTo>
                  <a:lnTo>
                    <a:pt x="649" y="375"/>
                  </a:lnTo>
                </a:path>
              </a:pathLst>
            </a:custGeom>
            <a:noFill/>
            <a:ln w="22225" cap="flat" cmpd="sng">
              <a:solidFill>
                <a:schemeClr val="accent4"/>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44" name="Google Shape;2844;g805494e7d0_2_86"/>
            <p:cNvSpPr/>
            <p:nvPr/>
          </p:nvSpPr>
          <p:spPr>
            <a:xfrm>
              <a:off x="844051" y="2743924"/>
              <a:ext cx="3471443" cy="2740708"/>
            </a:xfrm>
            <a:custGeom>
              <a:avLst/>
              <a:gdLst/>
              <a:ahLst/>
              <a:cxnLst/>
              <a:rect l="l" t="t" r="r" b="b"/>
              <a:pathLst>
                <a:path w="795" h="375" extrusionOk="0">
                  <a:moveTo>
                    <a:pt x="0" y="0"/>
                  </a:moveTo>
                  <a:lnTo>
                    <a:pt x="649" y="0"/>
                  </a:lnTo>
                  <a:lnTo>
                    <a:pt x="795" y="189"/>
                  </a:lnTo>
                  <a:lnTo>
                    <a:pt x="649" y="375"/>
                  </a:lnTo>
                </a:path>
              </a:pathLst>
            </a:custGeom>
            <a:noFill/>
            <a:ln w="22225" cap="flat" cmpd="sng">
              <a:solidFill>
                <a:schemeClr val="accent4"/>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45" name="Google Shape;2845;g805494e7d0_2_86"/>
            <p:cNvSpPr/>
            <p:nvPr/>
          </p:nvSpPr>
          <p:spPr>
            <a:xfrm>
              <a:off x="4115604" y="3692978"/>
              <a:ext cx="179100" cy="821700"/>
            </a:xfrm>
            <a:prstGeom prst="chevron">
              <a:avLst>
                <a:gd name="adj" fmla="val 100000"/>
              </a:avLst>
            </a:prstGeom>
            <a:solidFill>
              <a:srgbClr val="FFAB40"/>
            </a:solidFill>
            <a:ln w="25400" cap="flat" cmpd="sng">
              <a:solidFill>
                <a:srgbClr val="FFFFFF"/>
              </a:solidFill>
              <a:prstDash val="solid"/>
              <a:miter lim="8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300"/>
                <a:buFont typeface="Arial"/>
                <a:buNone/>
              </a:pPr>
              <a:endParaRPr sz="1300" b="0" i="0" u="none" strike="noStrike" cap="none">
                <a:solidFill>
                  <a:srgbClr val="000000"/>
                </a:solidFill>
                <a:latin typeface="Arial"/>
                <a:ea typeface="Arial"/>
                <a:cs typeface="Arial"/>
                <a:sym typeface="Arial"/>
              </a:endParaRPr>
            </a:p>
          </p:txBody>
        </p:sp>
        <p:sp>
          <p:nvSpPr>
            <p:cNvPr id="2846" name="Google Shape;2846;g805494e7d0_2_86"/>
            <p:cNvSpPr/>
            <p:nvPr/>
          </p:nvSpPr>
          <p:spPr>
            <a:xfrm>
              <a:off x="4293462" y="3662985"/>
              <a:ext cx="1411800" cy="1107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2000"/>
                <a:buFont typeface="Arial"/>
                <a:buNone/>
              </a:pPr>
              <a:r>
                <a:rPr lang="es-ES" sz="2000" b="0" i="0" u="none" strike="noStrike" cap="none">
                  <a:solidFill>
                    <a:srgbClr val="FFFFFF"/>
                  </a:solidFill>
                  <a:latin typeface="Arial"/>
                  <a:ea typeface="Arial"/>
                  <a:cs typeface="Arial"/>
                  <a:sym typeface="Arial"/>
                </a:rPr>
                <a:t>Acercar el </a:t>
              </a:r>
              <a:r>
                <a:rPr lang="es-ES" sz="2000" b="1" i="0" u="none" strike="noStrike" cap="none">
                  <a:solidFill>
                    <a:srgbClr val="FFFFFF"/>
                  </a:solidFill>
                  <a:latin typeface="Arial"/>
                  <a:ea typeface="Arial"/>
                  <a:cs typeface="Arial"/>
                  <a:sym typeface="Arial"/>
                </a:rPr>
                <a:t>negocio </a:t>
              </a:r>
              <a:r>
                <a:rPr lang="es-ES" sz="2000" b="0" i="0" u="none" strike="noStrike" cap="none">
                  <a:solidFill>
                    <a:srgbClr val="FFFFFF"/>
                  </a:solidFill>
                  <a:latin typeface="Arial"/>
                  <a:ea typeface="Arial"/>
                  <a:cs typeface="Arial"/>
                  <a:sym typeface="Arial"/>
                </a:rPr>
                <a:t>a la </a:t>
              </a:r>
              <a:r>
                <a:rPr lang="es-ES" sz="2000" b="1" i="0" u="none" strike="noStrike" cap="none">
                  <a:solidFill>
                    <a:srgbClr val="FFFFFF"/>
                  </a:solidFill>
                  <a:latin typeface="Arial"/>
                  <a:ea typeface="Arial"/>
                  <a:cs typeface="Arial"/>
                  <a:sym typeface="Arial"/>
                </a:rPr>
                <a:t>tecnología</a:t>
              </a:r>
              <a:endParaRPr sz="2000" b="1" i="0" u="none" strike="noStrike" cap="none">
                <a:solidFill>
                  <a:srgbClr val="FFFFFF"/>
                </a:solidFill>
                <a:latin typeface="Arial"/>
                <a:ea typeface="Arial"/>
                <a:cs typeface="Arial"/>
                <a:sym typeface="Arial"/>
              </a:endParaRPr>
            </a:p>
          </p:txBody>
        </p:sp>
        <p:grpSp>
          <p:nvGrpSpPr>
            <p:cNvPr id="2847" name="Google Shape;2847;g805494e7d0_2_86"/>
            <p:cNvGrpSpPr/>
            <p:nvPr/>
          </p:nvGrpSpPr>
          <p:grpSpPr>
            <a:xfrm>
              <a:off x="1244094" y="4327877"/>
              <a:ext cx="2155231" cy="1126854"/>
              <a:chOff x="2853" y="324"/>
              <a:chExt cx="1987" cy="1039"/>
            </a:xfrm>
          </p:grpSpPr>
          <p:sp>
            <p:nvSpPr>
              <p:cNvPr id="2848" name="Google Shape;2848;g805494e7d0_2_86"/>
              <p:cNvSpPr/>
              <p:nvPr/>
            </p:nvSpPr>
            <p:spPr>
              <a:xfrm>
                <a:off x="4601" y="1325"/>
                <a:ext cx="7" cy="9"/>
              </a:xfrm>
              <a:custGeom>
                <a:avLst/>
                <a:gdLst/>
                <a:ahLst/>
                <a:cxnLst/>
                <a:rect l="l" t="t" r="r" b="b"/>
                <a:pathLst>
                  <a:path w="64" h="98" extrusionOk="0">
                    <a:moveTo>
                      <a:pt x="58" y="28"/>
                    </a:moveTo>
                    <a:lnTo>
                      <a:pt x="64" y="0"/>
                    </a:lnTo>
                    <a:lnTo>
                      <a:pt x="41" y="5"/>
                    </a:lnTo>
                    <a:lnTo>
                      <a:pt x="0" y="70"/>
                    </a:lnTo>
                    <a:lnTo>
                      <a:pt x="24" y="98"/>
                    </a:lnTo>
                    <a:lnTo>
                      <a:pt x="35" y="87"/>
                    </a:lnTo>
                    <a:lnTo>
                      <a:pt x="41" y="63"/>
                    </a:lnTo>
                    <a:lnTo>
                      <a:pt x="58" y="28"/>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49" name="Google Shape;2849;g805494e7d0_2_86"/>
              <p:cNvSpPr/>
              <p:nvPr/>
            </p:nvSpPr>
            <p:spPr>
              <a:xfrm>
                <a:off x="4530" y="1309"/>
                <a:ext cx="4" cy="6"/>
              </a:xfrm>
              <a:custGeom>
                <a:avLst/>
                <a:gdLst/>
                <a:ahLst/>
                <a:cxnLst/>
                <a:rect l="l" t="t" r="r" b="b"/>
                <a:pathLst>
                  <a:path w="29" h="63" extrusionOk="0">
                    <a:moveTo>
                      <a:pt x="17" y="0"/>
                    </a:moveTo>
                    <a:lnTo>
                      <a:pt x="0" y="0"/>
                    </a:lnTo>
                    <a:lnTo>
                      <a:pt x="0" y="63"/>
                    </a:lnTo>
                    <a:lnTo>
                      <a:pt x="24" y="40"/>
                    </a:lnTo>
                    <a:lnTo>
                      <a:pt x="24" y="17"/>
                    </a:lnTo>
                    <a:lnTo>
                      <a:pt x="29" y="0"/>
                    </a:lnTo>
                    <a:lnTo>
                      <a:pt x="17"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50" name="Google Shape;2850;g805494e7d0_2_86"/>
              <p:cNvSpPr/>
              <p:nvPr/>
            </p:nvSpPr>
            <p:spPr>
              <a:xfrm>
                <a:off x="4536" y="1332"/>
                <a:ext cx="5" cy="5"/>
              </a:xfrm>
              <a:custGeom>
                <a:avLst/>
                <a:gdLst/>
                <a:ahLst/>
                <a:cxnLst/>
                <a:rect l="l" t="t" r="r" b="b"/>
                <a:pathLst>
                  <a:path w="35" h="46" extrusionOk="0">
                    <a:moveTo>
                      <a:pt x="29" y="17"/>
                    </a:moveTo>
                    <a:lnTo>
                      <a:pt x="6" y="0"/>
                    </a:lnTo>
                    <a:lnTo>
                      <a:pt x="0" y="29"/>
                    </a:lnTo>
                    <a:lnTo>
                      <a:pt x="24" y="46"/>
                    </a:lnTo>
                    <a:lnTo>
                      <a:pt x="35" y="23"/>
                    </a:lnTo>
                    <a:lnTo>
                      <a:pt x="29" y="17"/>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51" name="Google Shape;2851;g805494e7d0_2_86"/>
              <p:cNvSpPr/>
              <p:nvPr/>
            </p:nvSpPr>
            <p:spPr>
              <a:xfrm>
                <a:off x="4546" y="1344"/>
                <a:ext cx="8" cy="5"/>
              </a:xfrm>
              <a:custGeom>
                <a:avLst/>
                <a:gdLst/>
                <a:ahLst/>
                <a:cxnLst/>
                <a:rect l="l" t="t" r="r" b="b"/>
                <a:pathLst>
                  <a:path w="70" h="34" extrusionOk="0">
                    <a:moveTo>
                      <a:pt x="41" y="5"/>
                    </a:moveTo>
                    <a:lnTo>
                      <a:pt x="6" y="0"/>
                    </a:lnTo>
                    <a:lnTo>
                      <a:pt x="0" y="12"/>
                    </a:lnTo>
                    <a:lnTo>
                      <a:pt x="17" y="34"/>
                    </a:lnTo>
                    <a:lnTo>
                      <a:pt x="52" y="29"/>
                    </a:lnTo>
                    <a:lnTo>
                      <a:pt x="70" y="29"/>
                    </a:lnTo>
                    <a:lnTo>
                      <a:pt x="70" y="17"/>
                    </a:lnTo>
                    <a:lnTo>
                      <a:pt x="41" y="5"/>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52" name="Google Shape;2852;g805494e7d0_2_86"/>
              <p:cNvSpPr/>
              <p:nvPr/>
            </p:nvSpPr>
            <p:spPr>
              <a:xfrm>
                <a:off x="4728" y="1019"/>
                <a:ext cx="3" cy="2"/>
              </a:xfrm>
              <a:custGeom>
                <a:avLst/>
                <a:gdLst/>
                <a:ahLst/>
                <a:cxnLst/>
                <a:rect l="l" t="t" r="r" b="b"/>
                <a:pathLst>
                  <a:path w="30" h="18" extrusionOk="0">
                    <a:moveTo>
                      <a:pt x="12" y="0"/>
                    </a:moveTo>
                    <a:lnTo>
                      <a:pt x="6" y="0"/>
                    </a:lnTo>
                    <a:lnTo>
                      <a:pt x="0" y="11"/>
                    </a:lnTo>
                    <a:lnTo>
                      <a:pt x="12" y="18"/>
                    </a:lnTo>
                    <a:lnTo>
                      <a:pt x="30" y="6"/>
                    </a:lnTo>
                    <a:lnTo>
                      <a:pt x="12"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53" name="Google Shape;2853;g805494e7d0_2_86"/>
              <p:cNvSpPr/>
              <p:nvPr/>
            </p:nvSpPr>
            <p:spPr>
              <a:xfrm>
                <a:off x="4736" y="1015"/>
                <a:ext cx="6" cy="4"/>
              </a:xfrm>
              <a:custGeom>
                <a:avLst/>
                <a:gdLst/>
                <a:ahLst/>
                <a:cxnLst/>
                <a:rect l="l" t="t" r="r" b="b"/>
                <a:pathLst>
                  <a:path w="53" h="47" extrusionOk="0">
                    <a:moveTo>
                      <a:pt x="18" y="0"/>
                    </a:moveTo>
                    <a:lnTo>
                      <a:pt x="0" y="18"/>
                    </a:lnTo>
                    <a:lnTo>
                      <a:pt x="0" y="41"/>
                    </a:lnTo>
                    <a:lnTo>
                      <a:pt x="35" y="47"/>
                    </a:lnTo>
                    <a:lnTo>
                      <a:pt x="35" y="35"/>
                    </a:lnTo>
                    <a:lnTo>
                      <a:pt x="53" y="23"/>
                    </a:lnTo>
                    <a:lnTo>
                      <a:pt x="42" y="6"/>
                    </a:lnTo>
                    <a:lnTo>
                      <a:pt x="18"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54" name="Google Shape;2854;g805494e7d0_2_86"/>
              <p:cNvSpPr/>
              <p:nvPr/>
            </p:nvSpPr>
            <p:spPr>
              <a:xfrm>
                <a:off x="4511" y="920"/>
                <a:ext cx="92" cy="106"/>
              </a:xfrm>
              <a:custGeom>
                <a:avLst/>
                <a:gdLst/>
                <a:ahLst/>
                <a:cxnLst/>
                <a:rect l="l" t="t" r="r" b="b"/>
                <a:pathLst>
                  <a:path w="860" h="1116" extrusionOk="0">
                    <a:moveTo>
                      <a:pt x="157" y="570"/>
                    </a:moveTo>
                    <a:lnTo>
                      <a:pt x="0" y="687"/>
                    </a:lnTo>
                    <a:lnTo>
                      <a:pt x="105" y="744"/>
                    </a:lnTo>
                    <a:lnTo>
                      <a:pt x="99" y="785"/>
                    </a:lnTo>
                    <a:lnTo>
                      <a:pt x="244" y="797"/>
                    </a:lnTo>
                    <a:lnTo>
                      <a:pt x="285" y="802"/>
                    </a:lnTo>
                    <a:lnTo>
                      <a:pt x="354" y="936"/>
                    </a:lnTo>
                    <a:lnTo>
                      <a:pt x="482" y="954"/>
                    </a:lnTo>
                    <a:lnTo>
                      <a:pt x="569" y="994"/>
                    </a:lnTo>
                    <a:lnTo>
                      <a:pt x="558" y="1111"/>
                    </a:lnTo>
                    <a:lnTo>
                      <a:pt x="581" y="1116"/>
                    </a:lnTo>
                    <a:lnTo>
                      <a:pt x="674" y="919"/>
                    </a:lnTo>
                    <a:lnTo>
                      <a:pt x="633" y="872"/>
                    </a:lnTo>
                    <a:lnTo>
                      <a:pt x="639" y="832"/>
                    </a:lnTo>
                    <a:lnTo>
                      <a:pt x="698" y="785"/>
                    </a:lnTo>
                    <a:lnTo>
                      <a:pt x="656" y="767"/>
                    </a:lnTo>
                    <a:lnTo>
                      <a:pt x="663" y="739"/>
                    </a:lnTo>
                    <a:lnTo>
                      <a:pt x="698" y="744"/>
                    </a:lnTo>
                    <a:lnTo>
                      <a:pt x="743" y="779"/>
                    </a:lnTo>
                    <a:lnTo>
                      <a:pt x="796" y="779"/>
                    </a:lnTo>
                    <a:lnTo>
                      <a:pt x="825" y="832"/>
                    </a:lnTo>
                    <a:lnTo>
                      <a:pt x="860" y="837"/>
                    </a:lnTo>
                    <a:lnTo>
                      <a:pt x="848" y="797"/>
                    </a:lnTo>
                    <a:lnTo>
                      <a:pt x="855" y="756"/>
                    </a:lnTo>
                    <a:lnTo>
                      <a:pt x="808" y="669"/>
                    </a:lnTo>
                    <a:lnTo>
                      <a:pt x="831" y="605"/>
                    </a:lnTo>
                    <a:lnTo>
                      <a:pt x="813" y="576"/>
                    </a:lnTo>
                    <a:lnTo>
                      <a:pt x="843" y="478"/>
                    </a:lnTo>
                    <a:lnTo>
                      <a:pt x="721" y="471"/>
                    </a:lnTo>
                    <a:lnTo>
                      <a:pt x="541" y="361"/>
                    </a:lnTo>
                    <a:lnTo>
                      <a:pt x="499" y="274"/>
                    </a:lnTo>
                    <a:lnTo>
                      <a:pt x="453" y="279"/>
                    </a:lnTo>
                    <a:lnTo>
                      <a:pt x="511" y="192"/>
                    </a:lnTo>
                    <a:lnTo>
                      <a:pt x="494" y="122"/>
                    </a:lnTo>
                    <a:lnTo>
                      <a:pt x="541" y="105"/>
                    </a:lnTo>
                    <a:lnTo>
                      <a:pt x="593" y="18"/>
                    </a:lnTo>
                    <a:lnTo>
                      <a:pt x="552" y="0"/>
                    </a:lnTo>
                    <a:lnTo>
                      <a:pt x="523" y="24"/>
                    </a:lnTo>
                    <a:lnTo>
                      <a:pt x="302" y="94"/>
                    </a:lnTo>
                    <a:lnTo>
                      <a:pt x="290" y="134"/>
                    </a:lnTo>
                    <a:lnTo>
                      <a:pt x="232" y="244"/>
                    </a:lnTo>
                    <a:lnTo>
                      <a:pt x="180" y="262"/>
                    </a:lnTo>
                    <a:lnTo>
                      <a:pt x="157" y="326"/>
                    </a:lnTo>
                    <a:lnTo>
                      <a:pt x="174" y="478"/>
                    </a:lnTo>
                    <a:lnTo>
                      <a:pt x="140" y="500"/>
                    </a:lnTo>
                    <a:lnTo>
                      <a:pt x="157" y="57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55" name="Google Shape;2855;g805494e7d0_2_86"/>
              <p:cNvSpPr/>
              <p:nvPr/>
            </p:nvSpPr>
            <p:spPr>
              <a:xfrm>
                <a:off x="4498" y="986"/>
                <a:ext cx="39" cy="39"/>
              </a:xfrm>
              <a:custGeom>
                <a:avLst/>
                <a:gdLst/>
                <a:ahLst/>
                <a:cxnLst/>
                <a:rect l="l" t="t" r="r" b="b"/>
                <a:pathLst>
                  <a:path w="361" h="412" extrusionOk="0">
                    <a:moveTo>
                      <a:pt x="123" y="0"/>
                    </a:moveTo>
                    <a:lnTo>
                      <a:pt x="59" y="45"/>
                    </a:lnTo>
                    <a:lnTo>
                      <a:pt x="0" y="197"/>
                    </a:lnTo>
                    <a:lnTo>
                      <a:pt x="0" y="267"/>
                    </a:lnTo>
                    <a:lnTo>
                      <a:pt x="24" y="272"/>
                    </a:lnTo>
                    <a:lnTo>
                      <a:pt x="65" y="220"/>
                    </a:lnTo>
                    <a:lnTo>
                      <a:pt x="70" y="237"/>
                    </a:lnTo>
                    <a:lnTo>
                      <a:pt x="42" y="336"/>
                    </a:lnTo>
                    <a:lnTo>
                      <a:pt x="100" y="412"/>
                    </a:lnTo>
                    <a:lnTo>
                      <a:pt x="216" y="324"/>
                    </a:lnTo>
                    <a:lnTo>
                      <a:pt x="227" y="272"/>
                    </a:lnTo>
                    <a:lnTo>
                      <a:pt x="309" y="249"/>
                    </a:lnTo>
                    <a:lnTo>
                      <a:pt x="361" y="110"/>
                    </a:lnTo>
                    <a:lnTo>
                      <a:pt x="216" y="98"/>
                    </a:lnTo>
                    <a:lnTo>
                      <a:pt x="222" y="57"/>
                    </a:lnTo>
                    <a:lnTo>
                      <a:pt x="123"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56" name="Google Shape;2856;g805494e7d0_2_86"/>
              <p:cNvSpPr/>
              <p:nvPr/>
            </p:nvSpPr>
            <p:spPr>
              <a:xfrm>
                <a:off x="4561" y="924"/>
                <a:ext cx="105" cy="79"/>
              </a:xfrm>
              <a:custGeom>
                <a:avLst/>
                <a:gdLst/>
                <a:ahLst/>
                <a:cxnLst/>
                <a:rect l="l" t="t" r="r" b="b"/>
                <a:pathLst>
                  <a:path w="977" h="808" extrusionOk="0">
                    <a:moveTo>
                      <a:pt x="75" y="52"/>
                    </a:moveTo>
                    <a:lnTo>
                      <a:pt x="93" y="134"/>
                    </a:lnTo>
                    <a:lnTo>
                      <a:pt x="139" y="180"/>
                    </a:lnTo>
                    <a:lnTo>
                      <a:pt x="145" y="146"/>
                    </a:lnTo>
                    <a:lnTo>
                      <a:pt x="127" y="87"/>
                    </a:lnTo>
                    <a:lnTo>
                      <a:pt x="174" y="64"/>
                    </a:lnTo>
                    <a:lnTo>
                      <a:pt x="197" y="0"/>
                    </a:lnTo>
                    <a:lnTo>
                      <a:pt x="319" y="52"/>
                    </a:lnTo>
                    <a:lnTo>
                      <a:pt x="354" y="111"/>
                    </a:lnTo>
                    <a:lnTo>
                      <a:pt x="750" y="146"/>
                    </a:lnTo>
                    <a:lnTo>
                      <a:pt x="750" y="174"/>
                    </a:lnTo>
                    <a:lnTo>
                      <a:pt x="855" y="238"/>
                    </a:lnTo>
                    <a:lnTo>
                      <a:pt x="849" y="290"/>
                    </a:lnTo>
                    <a:lnTo>
                      <a:pt x="977" y="372"/>
                    </a:lnTo>
                    <a:lnTo>
                      <a:pt x="872" y="395"/>
                    </a:lnTo>
                    <a:lnTo>
                      <a:pt x="901" y="442"/>
                    </a:lnTo>
                    <a:lnTo>
                      <a:pt x="872" y="470"/>
                    </a:lnTo>
                    <a:lnTo>
                      <a:pt x="849" y="470"/>
                    </a:lnTo>
                    <a:lnTo>
                      <a:pt x="855" y="564"/>
                    </a:lnTo>
                    <a:lnTo>
                      <a:pt x="820" y="639"/>
                    </a:lnTo>
                    <a:lnTo>
                      <a:pt x="727" y="627"/>
                    </a:lnTo>
                    <a:lnTo>
                      <a:pt x="698" y="645"/>
                    </a:lnTo>
                    <a:lnTo>
                      <a:pt x="570" y="569"/>
                    </a:lnTo>
                    <a:lnTo>
                      <a:pt x="546" y="592"/>
                    </a:lnTo>
                    <a:lnTo>
                      <a:pt x="633" y="714"/>
                    </a:lnTo>
                    <a:lnTo>
                      <a:pt x="511" y="808"/>
                    </a:lnTo>
                    <a:lnTo>
                      <a:pt x="401" y="784"/>
                    </a:lnTo>
                    <a:lnTo>
                      <a:pt x="389" y="744"/>
                    </a:lnTo>
                    <a:lnTo>
                      <a:pt x="396" y="703"/>
                    </a:lnTo>
                    <a:lnTo>
                      <a:pt x="354" y="622"/>
                    </a:lnTo>
                    <a:lnTo>
                      <a:pt x="372" y="552"/>
                    </a:lnTo>
                    <a:lnTo>
                      <a:pt x="354" y="523"/>
                    </a:lnTo>
                    <a:lnTo>
                      <a:pt x="384" y="425"/>
                    </a:lnTo>
                    <a:lnTo>
                      <a:pt x="250" y="413"/>
                    </a:lnTo>
                    <a:lnTo>
                      <a:pt x="70" y="308"/>
                    </a:lnTo>
                    <a:lnTo>
                      <a:pt x="40" y="221"/>
                    </a:lnTo>
                    <a:lnTo>
                      <a:pt x="0" y="226"/>
                    </a:lnTo>
                    <a:lnTo>
                      <a:pt x="52" y="139"/>
                    </a:lnTo>
                    <a:lnTo>
                      <a:pt x="35" y="69"/>
                    </a:lnTo>
                    <a:lnTo>
                      <a:pt x="75" y="52"/>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57" name="Google Shape;2857;g805494e7d0_2_86"/>
              <p:cNvSpPr/>
              <p:nvPr/>
            </p:nvSpPr>
            <p:spPr>
              <a:xfrm>
                <a:off x="4493" y="996"/>
                <a:ext cx="91" cy="125"/>
              </a:xfrm>
              <a:custGeom>
                <a:avLst/>
                <a:gdLst/>
                <a:ahLst/>
                <a:cxnLst/>
                <a:rect l="l" t="t" r="r" b="b"/>
                <a:pathLst>
                  <a:path w="825" h="1283" extrusionOk="0">
                    <a:moveTo>
                      <a:pt x="87" y="226"/>
                    </a:moveTo>
                    <a:lnTo>
                      <a:pt x="0" y="291"/>
                    </a:lnTo>
                    <a:lnTo>
                      <a:pt x="5" y="406"/>
                    </a:lnTo>
                    <a:lnTo>
                      <a:pt x="92" y="470"/>
                    </a:lnTo>
                    <a:lnTo>
                      <a:pt x="104" y="551"/>
                    </a:lnTo>
                    <a:lnTo>
                      <a:pt x="157" y="575"/>
                    </a:lnTo>
                    <a:lnTo>
                      <a:pt x="168" y="725"/>
                    </a:lnTo>
                    <a:lnTo>
                      <a:pt x="284" y="854"/>
                    </a:lnTo>
                    <a:lnTo>
                      <a:pt x="284" y="952"/>
                    </a:lnTo>
                    <a:lnTo>
                      <a:pt x="417" y="1115"/>
                    </a:lnTo>
                    <a:lnTo>
                      <a:pt x="604" y="1179"/>
                    </a:lnTo>
                    <a:lnTo>
                      <a:pt x="650" y="1283"/>
                    </a:lnTo>
                    <a:lnTo>
                      <a:pt x="766" y="1168"/>
                    </a:lnTo>
                    <a:lnTo>
                      <a:pt x="772" y="1086"/>
                    </a:lnTo>
                    <a:lnTo>
                      <a:pt x="825" y="976"/>
                    </a:lnTo>
                    <a:lnTo>
                      <a:pt x="755" y="819"/>
                    </a:lnTo>
                    <a:lnTo>
                      <a:pt x="696" y="778"/>
                    </a:lnTo>
                    <a:lnTo>
                      <a:pt x="708" y="714"/>
                    </a:lnTo>
                    <a:lnTo>
                      <a:pt x="673" y="680"/>
                    </a:lnTo>
                    <a:lnTo>
                      <a:pt x="598" y="714"/>
                    </a:lnTo>
                    <a:lnTo>
                      <a:pt x="551" y="650"/>
                    </a:lnTo>
                    <a:lnTo>
                      <a:pt x="493" y="697"/>
                    </a:lnTo>
                    <a:lnTo>
                      <a:pt x="469" y="586"/>
                    </a:lnTo>
                    <a:lnTo>
                      <a:pt x="528" y="488"/>
                    </a:lnTo>
                    <a:lnTo>
                      <a:pt x="534" y="436"/>
                    </a:lnTo>
                    <a:lnTo>
                      <a:pt x="743" y="319"/>
                    </a:lnTo>
                    <a:lnTo>
                      <a:pt x="720" y="314"/>
                    </a:lnTo>
                    <a:lnTo>
                      <a:pt x="731" y="197"/>
                    </a:lnTo>
                    <a:lnTo>
                      <a:pt x="650" y="157"/>
                    </a:lnTo>
                    <a:lnTo>
                      <a:pt x="516" y="139"/>
                    </a:lnTo>
                    <a:lnTo>
                      <a:pt x="447" y="5"/>
                    </a:lnTo>
                    <a:lnTo>
                      <a:pt x="406" y="0"/>
                    </a:lnTo>
                    <a:lnTo>
                      <a:pt x="354" y="139"/>
                    </a:lnTo>
                    <a:lnTo>
                      <a:pt x="272" y="162"/>
                    </a:lnTo>
                    <a:lnTo>
                      <a:pt x="261" y="226"/>
                    </a:lnTo>
                    <a:lnTo>
                      <a:pt x="139" y="308"/>
                    </a:lnTo>
                    <a:lnTo>
                      <a:pt x="87" y="226"/>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58" name="Google Shape;2858;g805494e7d0_2_86"/>
              <p:cNvSpPr/>
              <p:nvPr/>
            </p:nvSpPr>
            <p:spPr>
              <a:xfrm>
                <a:off x="4536" y="1114"/>
                <a:ext cx="52" cy="228"/>
              </a:xfrm>
              <a:custGeom>
                <a:avLst/>
                <a:gdLst/>
                <a:ahLst/>
                <a:cxnLst/>
                <a:rect l="l" t="t" r="r" b="b"/>
                <a:pathLst>
                  <a:path w="471" h="2399" extrusionOk="0">
                    <a:moveTo>
                      <a:pt x="250" y="63"/>
                    </a:moveTo>
                    <a:lnTo>
                      <a:pt x="285" y="133"/>
                    </a:lnTo>
                    <a:lnTo>
                      <a:pt x="233" y="558"/>
                    </a:lnTo>
                    <a:lnTo>
                      <a:pt x="268" y="586"/>
                    </a:lnTo>
                    <a:lnTo>
                      <a:pt x="204" y="650"/>
                    </a:lnTo>
                    <a:lnTo>
                      <a:pt x="163" y="830"/>
                    </a:lnTo>
                    <a:lnTo>
                      <a:pt x="204" y="929"/>
                    </a:lnTo>
                    <a:lnTo>
                      <a:pt x="128" y="1208"/>
                    </a:lnTo>
                    <a:lnTo>
                      <a:pt x="69" y="1324"/>
                    </a:lnTo>
                    <a:lnTo>
                      <a:pt x="93" y="1417"/>
                    </a:lnTo>
                    <a:lnTo>
                      <a:pt x="87" y="1550"/>
                    </a:lnTo>
                    <a:lnTo>
                      <a:pt x="128" y="1632"/>
                    </a:lnTo>
                    <a:lnTo>
                      <a:pt x="139" y="1679"/>
                    </a:lnTo>
                    <a:lnTo>
                      <a:pt x="93" y="1719"/>
                    </a:lnTo>
                    <a:lnTo>
                      <a:pt x="128" y="1812"/>
                    </a:lnTo>
                    <a:lnTo>
                      <a:pt x="104" y="1864"/>
                    </a:lnTo>
                    <a:lnTo>
                      <a:pt x="6" y="1899"/>
                    </a:lnTo>
                    <a:lnTo>
                      <a:pt x="0" y="1928"/>
                    </a:lnTo>
                    <a:lnTo>
                      <a:pt x="52" y="1946"/>
                    </a:lnTo>
                    <a:lnTo>
                      <a:pt x="41" y="1998"/>
                    </a:lnTo>
                    <a:lnTo>
                      <a:pt x="81" y="2021"/>
                    </a:lnTo>
                    <a:lnTo>
                      <a:pt x="59" y="2068"/>
                    </a:lnTo>
                    <a:lnTo>
                      <a:pt x="41" y="2172"/>
                    </a:lnTo>
                    <a:lnTo>
                      <a:pt x="69" y="2260"/>
                    </a:lnTo>
                    <a:lnTo>
                      <a:pt x="93" y="2282"/>
                    </a:lnTo>
                    <a:lnTo>
                      <a:pt x="104" y="2358"/>
                    </a:lnTo>
                    <a:lnTo>
                      <a:pt x="134" y="2364"/>
                    </a:lnTo>
                    <a:lnTo>
                      <a:pt x="151" y="2352"/>
                    </a:lnTo>
                    <a:lnTo>
                      <a:pt x="163" y="2329"/>
                    </a:lnTo>
                    <a:lnTo>
                      <a:pt x="174" y="2340"/>
                    </a:lnTo>
                    <a:lnTo>
                      <a:pt x="157" y="2382"/>
                    </a:lnTo>
                    <a:lnTo>
                      <a:pt x="192" y="2399"/>
                    </a:lnTo>
                    <a:lnTo>
                      <a:pt x="256" y="2364"/>
                    </a:lnTo>
                    <a:lnTo>
                      <a:pt x="279" y="2329"/>
                    </a:lnTo>
                    <a:lnTo>
                      <a:pt x="238" y="2317"/>
                    </a:lnTo>
                    <a:lnTo>
                      <a:pt x="221" y="2335"/>
                    </a:lnTo>
                    <a:lnTo>
                      <a:pt x="169" y="2312"/>
                    </a:lnTo>
                    <a:lnTo>
                      <a:pt x="157" y="2271"/>
                    </a:lnTo>
                    <a:lnTo>
                      <a:pt x="93" y="2248"/>
                    </a:lnTo>
                    <a:lnTo>
                      <a:pt x="93" y="2166"/>
                    </a:lnTo>
                    <a:lnTo>
                      <a:pt x="146" y="2114"/>
                    </a:lnTo>
                    <a:lnTo>
                      <a:pt x="157" y="2045"/>
                    </a:lnTo>
                    <a:lnTo>
                      <a:pt x="122" y="2010"/>
                    </a:lnTo>
                    <a:lnTo>
                      <a:pt x="122" y="1998"/>
                    </a:lnTo>
                    <a:lnTo>
                      <a:pt x="157" y="1963"/>
                    </a:lnTo>
                    <a:lnTo>
                      <a:pt x="163" y="1911"/>
                    </a:lnTo>
                    <a:lnTo>
                      <a:pt x="181" y="1888"/>
                    </a:lnTo>
                    <a:lnTo>
                      <a:pt x="204" y="1836"/>
                    </a:lnTo>
                    <a:lnTo>
                      <a:pt x="198" y="1801"/>
                    </a:lnTo>
                    <a:lnTo>
                      <a:pt x="221" y="1306"/>
                    </a:lnTo>
                    <a:lnTo>
                      <a:pt x="308" y="1278"/>
                    </a:lnTo>
                    <a:lnTo>
                      <a:pt x="314" y="1243"/>
                    </a:lnTo>
                    <a:lnTo>
                      <a:pt x="261" y="1214"/>
                    </a:lnTo>
                    <a:lnTo>
                      <a:pt x="291" y="1092"/>
                    </a:lnTo>
                    <a:lnTo>
                      <a:pt x="261" y="900"/>
                    </a:lnTo>
                    <a:lnTo>
                      <a:pt x="383" y="621"/>
                    </a:lnTo>
                    <a:lnTo>
                      <a:pt x="383" y="511"/>
                    </a:lnTo>
                    <a:lnTo>
                      <a:pt x="418" y="471"/>
                    </a:lnTo>
                    <a:lnTo>
                      <a:pt x="460" y="488"/>
                    </a:lnTo>
                    <a:lnTo>
                      <a:pt x="471" y="464"/>
                    </a:lnTo>
                    <a:lnTo>
                      <a:pt x="471" y="394"/>
                    </a:lnTo>
                    <a:lnTo>
                      <a:pt x="425" y="354"/>
                    </a:lnTo>
                    <a:lnTo>
                      <a:pt x="372" y="11"/>
                    </a:lnTo>
                    <a:lnTo>
                      <a:pt x="314" y="0"/>
                    </a:lnTo>
                    <a:lnTo>
                      <a:pt x="250" y="63"/>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59" name="Google Shape;2859;g805494e7d0_2_86"/>
              <p:cNvSpPr/>
              <p:nvPr/>
            </p:nvSpPr>
            <p:spPr>
              <a:xfrm>
                <a:off x="4536" y="1288"/>
                <a:ext cx="4" cy="3"/>
              </a:xfrm>
              <a:custGeom>
                <a:avLst/>
                <a:gdLst/>
                <a:ahLst/>
                <a:cxnLst/>
                <a:rect l="l" t="t" r="r" b="b"/>
                <a:pathLst>
                  <a:path w="29" h="29" extrusionOk="0">
                    <a:moveTo>
                      <a:pt x="6" y="0"/>
                    </a:moveTo>
                    <a:lnTo>
                      <a:pt x="0" y="11"/>
                    </a:lnTo>
                    <a:lnTo>
                      <a:pt x="6" y="29"/>
                    </a:lnTo>
                    <a:lnTo>
                      <a:pt x="29" y="18"/>
                    </a:lnTo>
                    <a:lnTo>
                      <a:pt x="17" y="6"/>
                    </a:lnTo>
                    <a:lnTo>
                      <a:pt x="6"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60" name="Google Shape;2860;g805494e7d0_2_86"/>
              <p:cNvSpPr/>
              <p:nvPr/>
            </p:nvSpPr>
            <p:spPr>
              <a:xfrm>
                <a:off x="4540" y="1268"/>
                <a:ext cx="4" cy="10"/>
              </a:xfrm>
              <a:custGeom>
                <a:avLst/>
                <a:gdLst/>
                <a:ahLst/>
                <a:cxnLst/>
                <a:rect l="l" t="t" r="r" b="b"/>
                <a:pathLst>
                  <a:path w="40" h="111" extrusionOk="0">
                    <a:moveTo>
                      <a:pt x="23" y="0"/>
                    </a:moveTo>
                    <a:lnTo>
                      <a:pt x="0" y="24"/>
                    </a:lnTo>
                    <a:lnTo>
                      <a:pt x="6" y="52"/>
                    </a:lnTo>
                    <a:lnTo>
                      <a:pt x="0" y="93"/>
                    </a:lnTo>
                    <a:lnTo>
                      <a:pt x="23" y="111"/>
                    </a:lnTo>
                    <a:lnTo>
                      <a:pt x="40" y="99"/>
                    </a:lnTo>
                    <a:lnTo>
                      <a:pt x="30" y="69"/>
                    </a:lnTo>
                    <a:lnTo>
                      <a:pt x="40" y="29"/>
                    </a:lnTo>
                    <a:lnTo>
                      <a:pt x="23"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61" name="Google Shape;2861;g805494e7d0_2_86"/>
              <p:cNvSpPr/>
              <p:nvPr/>
            </p:nvSpPr>
            <p:spPr>
              <a:xfrm>
                <a:off x="4555" y="1343"/>
                <a:ext cx="20" cy="20"/>
              </a:xfrm>
              <a:custGeom>
                <a:avLst/>
                <a:gdLst/>
                <a:ahLst/>
                <a:cxnLst/>
                <a:rect l="l" t="t" r="r" b="b"/>
                <a:pathLst>
                  <a:path w="179" h="198" extrusionOk="0">
                    <a:moveTo>
                      <a:pt x="139" y="0"/>
                    </a:moveTo>
                    <a:lnTo>
                      <a:pt x="87" y="29"/>
                    </a:lnTo>
                    <a:lnTo>
                      <a:pt x="92" y="81"/>
                    </a:lnTo>
                    <a:lnTo>
                      <a:pt x="23" y="99"/>
                    </a:lnTo>
                    <a:lnTo>
                      <a:pt x="0" y="134"/>
                    </a:lnTo>
                    <a:lnTo>
                      <a:pt x="81" y="134"/>
                    </a:lnTo>
                    <a:lnTo>
                      <a:pt x="104" y="180"/>
                    </a:lnTo>
                    <a:lnTo>
                      <a:pt x="139" y="198"/>
                    </a:lnTo>
                    <a:lnTo>
                      <a:pt x="179" y="168"/>
                    </a:lnTo>
                    <a:lnTo>
                      <a:pt x="157" y="104"/>
                    </a:lnTo>
                    <a:lnTo>
                      <a:pt x="139"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62" name="Google Shape;2862;g805494e7d0_2_86"/>
              <p:cNvSpPr/>
              <p:nvPr/>
            </p:nvSpPr>
            <p:spPr>
              <a:xfrm>
                <a:off x="4570" y="1343"/>
                <a:ext cx="18" cy="19"/>
              </a:xfrm>
              <a:custGeom>
                <a:avLst/>
                <a:gdLst/>
                <a:ahLst/>
                <a:cxnLst/>
                <a:rect l="l" t="t" r="r" b="b"/>
                <a:pathLst>
                  <a:path w="169" h="186" extrusionOk="0">
                    <a:moveTo>
                      <a:pt x="0" y="0"/>
                    </a:moveTo>
                    <a:lnTo>
                      <a:pt x="18" y="104"/>
                    </a:lnTo>
                    <a:lnTo>
                      <a:pt x="40" y="168"/>
                    </a:lnTo>
                    <a:lnTo>
                      <a:pt x="99" y="186"/>
                    </a:lnTo>
                    <a:lnTo>
                      <a:pt x="169" y="174"/>
                    </a:lnTo>
                    <a:lnTo>
                      <a:pt x="134" y="122"/>
                    </a:lnTo>
                    <a:lnTo>
                      <a:pt x="110" y="122"/>
                    </a:lnTo>
                    <a:lnTo>
                      <a:pt x="70" y="99"/>
                    </a:lnTo>
                    <a:lnTo>
                      <a:pt x="30" y="12"/>
                    </a:lnTo>
                    <a:lnTo>
                      <a:pt x="0"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63" name="Google Shape;2863;g805494e7d0_2_86"/>
              <p:cNvSpPr/>
              <p:nvPr/>
            </p:nvSpPr>
            <p:spPr>
              <a:xfrm>
                <a:off x="4547" y="1144"/>
                <a:ext cx="130" cy="196"/>
              </a:xfrm>
              <a:custGeom>
                <a:avLst/>
                <a:gdLst/>
                <a:ahLst/>
                <a:cxnLst/>
                <a:rect l="l" t="t" r="r" b="b"/>
                <a:pathLst>
                  <a:path w="1209" h="2010" extrusionOk="0">
                    <a:moveTo>
                      <a:pt x="372" y="69"/>
                    </a:moveTo>
                    <a:lnTo>
                      <a:pt x="384" y="134"/>
                    </a:lnTo>
                    <a:lnTo>
                      <a:pt x="367" y="163"/>
                    </a:lnTo>
                    <a:lnTo>
                      <a:pt x="325" y="146"/>
                    </a:lnTo>
                    <a:lnTo>
                      <a:pt x="290" y="186"/>
                    </a:lnTo>
                    <a:lnTo>
                      <a:pt x="290" y="285"/>
                    </a:lnTo>
                    <a:lnTo>
                      <a:pt x="168" y="575"/>
                    </a:lnTo>
                    <a:lnTo>
                      <a:pt x="203" y="767"/>
                    </a:lnTo>
                    <a:lnTo>
                      <a:pt x="168" y="889"/>
                    </a:lnTo>
                    <a:lnTo>
                      <a:pt x="221" y="918"/>
                    </a:lnTo>
                    <a:lnTo>
                      <a:pt x="215" y="953"/>
                    </a:lnTo>
                    <a:lnTo>
                      <a:pt x="128" y="981"/>
                    </a:lnTo>
                    <a:lnTo>
                      <a:pt x="105" y="1476"/>
                    </a:lnTo>
                    <a:lnTo>
                      <a:pt x="111" y="1511"/>
                    </a:lnTo>
                    <a:lnTo>
                      <a:pt x="93" y="1563"/>
                    </a:lnTo>
                    <a:lnTo>
                      <a:pt x="64" y="1598"/>
                    </a:lnTo>
                    <a:lnTo>
                      <a:pt x="64" y="1644"/>
                    </a:lnTo>
                    <a:lnTo>
                      <a:pt x="29" y="1668"/>
                    </a:lnTo>
                    <a:lnTo>
                      <a:pt x="29" y="1685"/>
                    </a:lnTo>
                    <a:lnTo>
                      <a:pt x="64" y="1720"/>
                    </a:lnTo>
                    <a:lnTo>
                      <a:pt x="58" y="1783"/>
                    </a:lnTo>
                    <a:lnTo>
                      <a:pt x="0" y="1841"/>
                    </a:lnTo>
                    <a:lnTo>
                      <a:pt x="6" y="1923"/>
                    </a:lnTo>
                    <a:lnTo>
                      <a:pt x="70" y="1957"/>
                    </a:lnTo>
                    <a:lnTo>
                      <a:pt x="76" y="1987"/>
                    </a:lnTo>
                    <a:lnTo>
                      <a:pt x="128" y="2010"/>
                    </a:lnTo>
                    <a:lnTo>
                      <a:pt x="140" y="1998"/>
                    </a:lnTo>
                    <a:lnTo>
                      <a:pt x="186" y="2004"/>
                    </a:lnTo>
                    <a:lnTo>
                      <a:pt x="198" y="1980"/>
                    </a:lnTo>
                    <a:lnTo>
                      <a:pt x="186" y="1940"/>
                    </a:lnTo>
                    <a:lnTo>
                      <a:pt x="198" y="1905"/>
                    </a:lnTo>
                    <a:lnTo>
                      <a:pt x="349" y="1778"/>
                    </a:lnTo>
                    <a:lnTo>
                      <a:pt x="337" y="1691"/>
                    </a:lnTo>
                    <a:lnTo>
                      <a:pt x="285" y="1673"/>
                    </a:lnTo>
                    <a:lnTo>
                      <a:pt x="302" y="1598"/>
                    </a:lnTo>
                    <a:lnTo>
                      <a:pt x="378" y="1569"/>
                    </a:lnTo>
                    <a:lnTo>
                      <a:pt x="419" y="1435"/>
                    </a:lnTo>
                    <a:lnTo>
                      <a:pt x="500" y="1417"/>
                    </a:lnTo>
                    <a:lnTo>
                      <a:pt x="494" y="1389"/>
                    </a:lnTo>
                    <a:lnTo>
                      <a:pt x="459" y="1377"/>
                    </a:lnTo>
                    <a:lnTo>
                      <a:pt x="482" y="1342"/>
                    </a:lnTo>
                    <a:lnTo>
                      <a:pt x="587" y="1302"/>
                    </a:lnTo>
                    <a:lnTo>
                      <a:pt x="611" y="1232"/>
                    </a:lnTo>
                    <a:lnTo>
                      <a:pt x="604" y="1208"/>
                    </a:lnTo>
                    <a:lnTo>
                      <a:pt x="791" y="1185"/>
                    </a:lnTo>
                    <a:lnTo>
                      <a:pt x="883" y="1127"/>
                    </a:lnTo>
                    <a:lnTo>
                      <a:pt x="907" y="999"/>
                    </a:lnTo>
                    <a:lnTo>
                      <a:pt x="843" y="866"/>
                    </a:lnTo>
                    <a:lnTo>
                      <a:pt x="860" y="709"/>
                    </a:lnTo>
                    <a:lnTo>
                      <a:pt x="960" y="575"/>
                    </a:lnTo>
                    <a:lnTo>
                      <a:pt x="1204" y="453"/>
                    </a:lnTo>
                    <a:lnTo>
                      <a:pt x="1209" y="348"/>
                    </a:lnTo>
                    <a:lnTo>
                      <a:pt x="1169" y="343"/>
                    </a:lnTo>
                    <a:lnTo>
                      <a:pt x="1117" y="401"/>
                    </a:lnTo>
                    <a:lnTo>
                      <a:pt x="1005" y="465"/>
                    </a:lnTo>
                    <a:lnTo>
                      <a:pt x="883" y="441"/>
                    </a:lnTo>
                    <a:lnTo>
                      <a:pt x="872" y="401"/>
                    </a:lnTo>
                    <a:lnTo>
                      <a:pt x="960" y="308"/>
                    </a:lnTo>
                    <a:lnTo>
                      <a:pt x="878" y="226"/>
                    </a:lnTo>
                    <a:lnTo>
                      <a:pt x="826" y="221"/>
                    </a:lnTo>
                    <a:lnTo>
                      <a:pt x="808" y="163"/>
                    </a:lnTo>
                    <a:lnTo>
                      <a:pt x="726" y="151"/>
                    </a:lnTo>
                    <a:lnTo>
                      <a:pt x="674" y="41"/>
                    </a:lnTo>
                    <a:lnTo>
                      <a:pt x="611" y="29"/>
                    </a:lnTo>
                    <a:lnTo>
                      <a:pt x="581" y="76"/>
                    </a:lnTo>
                    <a:lnTo>
                      <a:pt x="564" y="69"/>
                    </a:lnTo>
                    <a:lnTo>
                      <a:pt x="512" y="6"/>
                    </a:lnTo>
                    <a:lnTo>
                      <a:pt x="459" y="0"/>
                    </a:lnTo>
                    <a:lnTo>
                      <a:pt x="407" y="58"/>
                    </a:lnTo>
                    <a:lnTo>
                      <a:pt x="372" y="69"/>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64" name="Google Shape;2864;g805494e7d0_2_86"/>
              <p:cNvSpPr/>
              <p:nvPr/>
            </p:nvSpPr>
            <p:spPr>
              <a:xfrm>
                <a:off x="4638" y="1200"/>
                <a:ext cx="38" cy="36"/>
              </a:xfrm>
              <a:custGeom>
                <a:avLst/>
                <a:gdLst/>
                <a:ahLst/>
                <a:cxnLst/>
                <a:rect l="l" t="t" r="r" b="b"/>
                <a:pathLst>
                  <a:path w="343" h="371" extrusionOk="0">
                    <a:moveTo>
                      <a:pt x="117" y="0"/>
                    </a:moveTo>
                    <a:lnTo>
                      <a:pt x="162" y="35"/>
                    </a:lnTo>
                    <a:lnTo>
                      <a:pt x="169" y="93"/>
                    </a:lnTo>
                    <a:lnTo>
                      <a:pt x="221" y="99"/>
                    </a:lnTo>
                    <a:lnTo>
                      <a:pt x="291" y="162"/>
                    </a:lnTo>
                    <a:lnTo>
                      <a:pt x="284" y="204"/>
                    </a:lnTo>
                    <a:lnTo>
                      <a:pt x="343" y="279"/>
                    </a:lnTo>
                    <a:lnTo>
                      <a:pt x="244" y="371"/>
                    </a:lnTo>
                    <a:lnTo>
                      <a:pt x="87" y="343"/>
                    </a:lnTo>
                    <a:lnTo>
                      <a:pt x="0" y="291"/>
                    </a:lnTo>
                    <a:lnTo>
                      <a:pt x="17" y="134"/>
                    </a:lnTo>
                    <a:lnTo>
                      <a:pt x="117"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65" name="Google Shape;2865;g805494e7d0_2_86"/>
              <p:cNvSpPr/>
              <p:nvPr/>
            </p:nvSpPr>
            <p:spPr>
              <a:xfrm>
                <a:off x="4570" y="1069"/>
                <a:ext cx="88" cy="81"/>
              </a:xfrm>
              <a:custGeom>
                <a:avLst/>
                <a:gdLst/>
                <a:ahLst/>
                <a:cxnLst/>
                <a:rect l="l" t="t" r="r" b="b"/>
                <a:pathLst>
                  <a:path w="820" h="854" extrusionOk="0">
                    <a:moveTo>
                      <a:pt x="0" y="460"/>
                    </a:moveTo>
                    <a:lnTo>
                      <a:pt x="58" y="471"/>
                    </a:lnTo>
                    <a:lnTo>
                      <a:pt x="117" y="809"/>
                    </a:lnTo>
                    <a:lnTo>
                      <a:pt x="157" y="854"/>
                    </a:lnTo>
                    <a:lnTo>
                      <a:pt x="197" y="843"/>
                    </a:lnTo>
                    <a:lnTo>
                      <a:pt x="244" y="779"/>
                    </a:lnTo>
                    <a:lnTo>
                      <a:pt x="297" y="785"/>
                    </a:lnTo>
                    <a:lnTo>
                      <a:pt x="349" y="854"/>
                    </a:lnTo>
                    <a:lnTo>
                      <a:pt x="366" y="854"/>
                    </a:lnTo>
                    <a:lnTo>
                      <a:pt x="396" y="814"/>
                    </a:lnTo>
                    <a:lnTo>
                      <a:pt x="466" y="826"/>
                    </a:lnTo>
                    <a:lnTo>
                      <a:pt x="506" y="727"/>
                    </a:lnTo>
                    <a:lnTo>
                      <a:pt x="611" y="687"/>
                    </a:lnTo>
                    <a:lnTo>
                      <a:pt x="750" y="687"/>
                    </a:lnTo>
                    <a:lnTo>
                      <a:pt x="750" y="727"/>
                    </a:lnTo>
                    <a:lnTo>
                      <a:pt x="785" y="744"/>
                    </a:lnTo>
                    <a:lnTo>
                      <a:pt x="790" y="704"/>
                    </a:lnTo>
                    <a:lnTo>
                      <a:pt x="820" y="669"/>
                    </a:lnTo>
                    <a:lnTo>
                      <a:pt x="779" y="512"/>
                    </a:lnTo>
                    <a:lnTo>
                      <a:pt x="686" y="483"/>
                    </a:lnTo>
                    <a:lnTo>
                      <a:pt x="668" y="413"/>
                    </a:lnTo>
                    <a:lnTo>
                      <a:pt x="640" y="396"/>
                    </a:lnTo>
                    <a:lnTo>
                      <a:pt x="645" y="373"/>
                    </a:lnTo>
                    <a:lnTo>
                      <a:pt x="675" y="349"/>
                    </a:lnTo>
                    <a:lnTo>
                      <a:pt x="500" y="198"/>
                    </a:lnTo>
                    <a:lnTo>
                      <a:pt x="407" y="181"/>
                    </a:lnTo>
                    <a:lnTo>
                      <a:pt x="349" y="111"/>
                    </a:lnTo>
                    <a:lnTo>
                      <a:pt x="396" y="87"/>
                    </a:lnTo>
                    <a:lnTo>
                      <a:pt x="407" y="7"/>
                    </a:lnTo>
                    <a:lnTo>
                      <a:pt x="366" y="0"/>
                    </a:lnTo>
                    <a:lnTo>
                      <a:pt x="197" y="30"/>
                    </a:lnTo>
                    <a:lnTo>
                      <a:pt x="192" y="18"/>
                    </a:lnTo>
                    <a:lnTo>
                      <a:pt x="134" y="18"/>
                    </a:lnTo>
                    <a:lnTo>
                      <a:pt x="110" y="70"/>
                    </a:lnTo>
                    <a:lnTo>
                      <a:pt x="47" y="59"/>
                    </a:lnTo>
                    <a:lnTo>
                      <a:pt x="117" y="221"/>
                    </a:lnTo>
                    <a:lnTo>
                      <a:pt x="58" y="331"/>
                    </a:lnTo>
                    <a:lnTo>
                      <a:pt x="58" y="408"/>
                    </a:lnTo>
                    <a:lnTo>
                      <a:pt x="0" y="46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66" name="Google Shape;2866;g805494e7d0_2_86"/>
              <p:cNvSpPr/>
              <p:nvPr/>
            </p:nvSpPr>
            <p:spPr>
              <a:xfrm>
                <a:off x="4620" y="1135"/>
                <a:ext cx="58" cy="55"/>
              </a:xfrm>
              <a:custGeom>
                <a:avLst/>
                <a:gdLst/>
                <a:ahLst/>
                <a:cxnLst/>
                <a:rect l="l" t="t" r="r" b="b"/>
                <a:pathLst>
                  <a:path w="535" h="563" extrusionOk="0">
                    <a:moveTo>
                      <a:pt x="326" y="57"/>
                    </a:moveTo>
                    <a:lnTo>
                      <a:pt x="309" y="162"/>
                    </a:lnTo>
                    <a:lnTo>
                      <a:pt x="343" y="202"/>
                    </a:lnTo>
                    <a:lnTo>
                      <a:pt x="384" y="191"/>
                    </a:lnTo>
                    <a:lnTo>
                      <a:pt x="495" y="267"/>
                    </a:lnTo>
                    <a:lnTo>
                      <a:pt x="483" y="331"/>
                    </a:lnTo>
                    <a:lnTo>
                      <a:pt x="535" y="366"/>
                    </a:lnTo>
                    <a:lnTo>
                      <a:pt x="523" y="446"/>
                    </a:lnTo>
                    <a:lnTo>
                      <a:pt x="495" y="441"/>
                    </a:lnTo>
                    <a:lnTo>
                      <a:pt x="443" y="499"/>
                    </a:lnTo>
                    <a:lnTo>
                      <a:pt x="331" y="563"/>
                    </a:lnTo>
                    <a:lnTo>
                      <a:pt x="209" y="539"/>
                    </a:lnTo>
                    <a:lnTo>
                      <a:pt x="198" y="499"/>
                    </a:lnTo>
                    <a:lnTo>
                      <a:pt x="286" y="411"/>
                    </a:lnTo>
                    <a:lnTo>
                      <a:pt x="209" y="331"/>
                    </a:lnTo>
                    <a:lnTo>
                      <a:pt x="152" y="319"/>
                    </a:lnTo>
                    <a:lnTo>
                      <a:pt x="134" y="267"/>
                    </a:lnTo>
                    <a:lnTo>
                      <a:pt x="52" y="255"/>
                    </a:lnTo>
                    <a:lnTo>
                      <a:pt x="0" y="139"/>
                    </a:lnTo>
                    <a:lnTo>
                      <a:pt x="47" y="40"/>
                    </a:lnTo>
                    <a:lnTo>
                      <a:pt x="152" y="0"/>
                    </a:lnTo>
                    <a:lnTo>
                      <a:pt x="291" y="0"/>
                    </a:lnTo>
                    <a:lnTo>
                      <a:pt x="291" y="40"/>
                    </a:lnTo>
                    <a:lnTo>
                      <a:pt x="326" y="57"/>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67" name="Google Shape;2867;g805494e7d0_2_86"/>
              <p:cNvSpPr/>
              <p:nvPr/>
            </p:nvSpPr>
            <p:spPr>
              <a:xfrm>
                <a:off x="4652" y="961"/>
                <a:ext cx="39" cy="45"/>
              </a:xfrm>
              <a:custGeom>
                <a:avLst/>
                <a:gdLst/>
                <a:ahLst/>
                <a:cxnLst/>
                <a:rect l="l" t="t" r="r" b="b"/>
                <a:pathLst>
                  <a:path w="354" h="471" extrusionOk="0">
                    <a:moveTo>
                      <a:pt x="134" y="0"/>
                    </a:moveTo>
                    <a:lnTo>
                      <a:pt x="69" y="6"/>
                    </a:lnTo>
                    <a:lnTo>
                      <a:pt x="34" y="23"/>
                    </a:lnTo>
                    <a:lnTo>
                      <a:pt x="58" y="70"/>
                    </a:lnTo>
                    <a:lnTo>
                      <a:pt x="29" y="98"/>
                    </a:lnTo>
                    <a:lnTo>
                      <a:pt x="0" y="98"/>
                    </a:lnTo>
                    <a:lnTo>
                      <a:pt x="12" y="168"/>
                    </a:lnTo>
                    <a:lnTo>
                      <a:pt x="69" y="192"/>
                    </a:lnTo>
                    <a:lnTo>
                      <a:pt x="64" y="232"/>
                    </a:lnTo>
                    <a:lnTo>
                      <a:pt x="87" y="250"/>
                    </a:lnTo>
                    <a:lnTo>
                      <a:pt x="87" y="424"/>
                    </a:lnTo>
                    <a:lnTo>
                      <a:pt x="111" y="471"/>
                    </a:lnTo>
                    <a:lnTo>
                      <a:pt x="308" y="436"/>
                    </a:lnTo>
                    <a:lnTo>
                      <a:pt x="285" y="360"/>
                    </a:lnTo>
                    <a:lnTo>
                      <a:pt x="221" y="325"/>
                    </a:lnTo>
                    <a:lnTo>
                      <a:pt x="233" y="244"/>
                    </a:lnTo>
                    <a:lnTo>
                      <a:pt x="354" y="151"/>
                    </a:lnTo>
                    <a:lnTo>
                      <a:pt x="238" y="145"/>
                    </a:lnTo>
                    <a:lnTo>
                      <a:pt x="134"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68" name="Google Shape;2868;g805494e7d0_2_86"/>
              <p:cNvSpPr/>
              <p:nvPr/>
            </p:nvSpPr>
            <p:spPr>
              <a:xfrm>
                <a:off x="4676" y="975"/>
                <a:ext cx="33" cy="27"/>
              </a:xfrm>
              <a:custGeom>
                <a:avLst/>
                <a:gdLst/>
                <a:ahLst/>
                <a:cxnLst/>
                <a:rect l="l" t="t" r="r" b="b"/>
                <a:pathLst>
                  <a:path w="302" h="285" extrusionOk="0">
                    <a:moveTo>
                      <a:pt x="133" y="0"/>
                    </a:moveTo>
                    <a:lnTo>
                      <a:pt x="12" y="93"/>
                    </a:lnTo>
                    <a:lnTo>
                      <a:pt x="0" y="174"/>
                    </a:lnTo>
                    <a:lnTo>
                      <a:pt x="64" y="209"/>
                    </a:lnTo>
                    <a:lnTo>
                      <a:pt x="87" y="285"/>
                    </a:lnTo>
                    <a:lnTo>
                      <a:pt x="133" y="250"/>
                    </a:lnTo>
                    <a:lnTo>
                      <a:pt x="185" y="285"/>
                    </a:lnTo>
                    <a:lnTo>
                      <a:pt x="255" y="285"/>
                    </a:lnTo>
                    <a:lnTo>
                      <a:pt x="296" y="180"/>
                    </a:lnTo>
                    <a:lnTo>
                      <a:pt x="272" y="134"/>
                    </a:lnTo>
                    <a:lnTo>
                      <a:pt x="302" y="87"/>
                    </a:lnTo>
                    <a:lnTo>
                      <a:pt x="244" y="76"/>
                    </a:lnTo>
                    <a:lnTo>
                      <a:pt x="162" y="6"/>
                    </a:lnTo>
                    <a:lnTo>
                      <a:pt x="133"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69" name="Google Shape;2869;g805494e7d0_2_86"/>
              <p:cNvSpPr/>
              <p:nvPr/>
            </p:nvSpPr>
            <p:spPr>
              <a:xfrm>
                <a:off x="4704" y="984"/>
                <a:ext cx="17" cy="21"/>
              </a:xfrm>
              <a:custGeom>
                <a:avLst/>
                <a:gdLst/>
                <a:ahLst/>
                <a:cxnLst/>
                <a:rect l="l" t="t" r="r" b="b"/>
                <a:pathLst>
                  <a:path w="163" h="226" extrusionOk="0">
                    <a:moveTo>
                      <a:pt x="47" y="0"/>
                    </a:moveTo>
                    <a:lnTo>
                      <a:pt x="17" y="47"/>
                    </a:lnTo>
                    <a:lnTo>
                      <a:pt x="41" y="93"/>
                    </a:lnTo>
                    <a:lnTo>
                      <a:pt x="0" y="198"/>
                    </a:lnTo>
                    <a:lnTo>
                      <a:pt x="35" y="226"/>
                    </a:lnTo>
                    <a:lnTo>
                      <a:pt x="76" y="221"/>
                    </a:lnTo>
                    <a:lnTo>
                      <a:pt x="163" y="93"/>
                    </a:lnTo>
                    <a:lnTo>
                      <a:pt x="82" y="12"/>
                    </a:lnTo>
                    <a:lnTo>
                      <a:pt x="47"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70" name="Google Shape;2870;g805494e7d0_2_86"/>
              <p:cNvSpPr/>
              <p:nvPr/>
            </p:nvSpPr>
            <p:spPr>
              <a:xfrm>
                <a:off x="4545" y="976"/>
                <a:ext cx="295" cy="254"/>
              </a:xfrm>
              <a:custGeom>
                <a:avLst/>
                <a:gdLst/>
                <a:ahLst/>
                <a:cxnLst/>
                <a:rect l="l" t="t" r="r" b="b"/>
                <a:pathLst>
                  <a:path w="2685" h="2603" extrusionOk="0">
                    <a:moveTo>
                      <a:pt x="1633" y="163"/>
                    </a:moveTo>
                    <a:lnTo>
                      <a:pt x="1662" y="192"/>
                    </a:lnTo>
                    <a:lnTo>
                      <a:pt x="1715" y="308"/>
                    </a:lnTo>
                    <a:lnTo>
                      <a:pt x="1760" y="343"/>
                    </a:lnTo>
                    <a:lnTo>
                      <a:pt x="1580" y="523"/>
                    </a:lnTo>
                    <a:lnTo>
                      <a:pt x="1673" y="512"/>
                    </a:lnTo>
                    <a:lnTo>
                      <a:pt x="1737" y="477"/>
                    </a:lnTo>
                    <a:lnTo>
                      <a:pt x="1790" y="488"/>
                    </a:lnTo>
                    <a:lnTo>
                      <a:pt x="1772" y="535"/>
                    </a:lnTo>
                    <a:lnTo>
                      <a:pt x="1703" y="540"/>
                    </a:lnTo>
                    <a:lnTo>
                      <a:pt x="1778" y="582"/>
                    </a:lnTo>
                    <a:lnTo>
                      <a:pt x="1854" y="523"/>
                    </a:lnTo>
                    <a:lnTo>
                      <a:pt x="2022" y="535"/>
                    </a:lnTo>
                    <a:lnTo>
                      <a:pt x="2028" y="570"/>
                    </a:lnTo>
                    <a:lnTo>
                      <a:pt x="2057" y="570"/>
                    </a:lnTo>
                    <a:lnTo>
                      <a:pt x="2046" y="622"/>
                    </a:lnTo>
                    <a:lnTo>
                      <a:pt x="2086" y="640"/>
                    </a:lnTo>
                    <a:lnTo>
                      <a:pt x="2069" y="662"/>
                    </a:lnTo>
                    <a:lnTo>
                      <a:pt x="2191" y="669"/>
                    </a:lnTo>
                    <a:lnTo>
                      <a:pt x="2284" y="721"/>
                    </a:lnTo>
                    <a:lnTo>
                      <a:pt x="2348" y="680"/>
                    </a:lnTo>
                    <a:lnTo>
                      <a:pt x="2395" y="704"/>
                    </a:lnTo>
                    <a:lnTo>
                      <a:pt x="2545" y="872"/>
                    </a:lnTo>
                    <a:lnTo>
                      <a:pt x="2587" y="884"/>
                    </a:lnTo>
                    <a:lnTo>
                      <a:pt x="2644" y="860"/>
                    </a:lnTo>
                    <a:lnTo>
                      <a:pt x="2679" y="894"/>
                    </a:lnTo>
                    <a:lnTo>
                      <a:pt x="2685" y="1081"/>
                    </a:lnTo>
                    <a:lnTo>
                      <a:pt x="2644" y="1156"/>
                    </a:lnTo>
                    <a:lnTo>
                      <a:pt x="2580" y="1180"/>
                    </a:lnTo>
                    <a:lnTo>
                      <a:pt x="2400" y="1342"/>
                    </a:lnTo>
                    <a:lnTo>
                      <a:pt x="2348" y="1372"/>
                    </a:lnTo>
                    <a:lnTo>
                      <a:pt x="2336" y="1494"/>
                    </a:lnTo>
                    <a:lnTo>
                      <a:pt x="2290" y="1592"/>
                    </a:lnTo>
                    <a:lnTo>
                      <a:pt x="2266" y="1703"/>
                    </a:lnTo>
                    <a:lnTo>
                      <a:pt x="2051" y="1975"/>
                    </a:lnTo>
                    <a:lnTo>
                      <a:pt x="2004" y="1993"/>
                    </a:lnTo>
                    <a:lnTo>
                      <a:pt x="1917" y="1982"/>
                    </a:lnTo>
                    <a:lnTo>
                      <a:pt x="1795" y="2045"/>
                    </a:lnTo>
                    <a:lnTo>
                      <a:pt x="1743" y="2034"/>
                    </a:lnTo>
                    <a:lnTo>
                      <a:pt x="1558" y="2127"/>
                    </a:lnTo>
                    <a:lnTo>
                      <a:pt x="1516" y="2306"/>
                    </a:lnTo>
                    <a:lnTo>
                      <a:pt x="1319" y="2521"/>
                    </a:lnTo>
                    <a:lnTo>
                      <a:pt x="1279" y="2521"/>
                    </a:lnTo>
                    <a:lnTo>
                      <a:pt x="1342" y="2382"/>
                    </a:lnTo>
                    <a:lnTo>
                      <a:pt x="1313" y="2394"/>
                    </a:lnTo>
                    <a:lnTo>
                      <a:pt x="1203" y="2603"/>
                    </a:lnTo>
                    <a:lnTo>
                      <a:pt x="1144" y="2528"/>
                    </a:lnTo>
                    <a:lnTo>
                      <a:pt x="1151" y="2486"/>
                    </a:lnTo>
                    <a:lnTo>
                      <a:pt x="1081" y="2423"/>
                    </a:lnTo>
                    <a:lnTo>
                      <a:pt x="1034" y="2417"/>
                    </a:lnTo>
                    <a:lnTo>
                      <a:pt x="1029" y="2359"/>
                    </a:lnTo>
                    <a:lnTo>
                      <a:pt x="977" y="2324"/>
                    </a:lnTo>
                    <a:lnTo>
                      <a:pt x="1226" y="2196"/>
                    </a:lnTo>
                    <a:lnTo>
                      <a:pt x="1226" y="2104"/>
                    </a:lnTo>
                    <a:lnTo>
                      <a:pt x="1214" y="2097"/>
                    </a:lnTo>
                    <a:lnTo>
                      <a:pt x="1226" y="2017"/>
                    </a:lnTo>
                    <a:lnTo>
                      <a:pt x="1174" y="1982"/>
                    </a:lnTo>
                    <a:lnTo>
                      <a:pt x="1186" y="1918"/>
                    </a:lnTo>
                    <a:lnTo>
                      <a:pt x="1075" y="1842"/>
                    </a:lnTo>
                    <a:lnTo>
                      <a:pt x="1034" y="1853"/>
                    </a:lnTo>
                    <a:lnTo>
                      <a:pt x="1000" y="1825"/>
                    </a:lnTo>
                    <a:lnTo>
                      <a:pt x="1022" y="1668"/>
                    </a:lnTo>
                    <a:lnTo>
                      <a:pt x="1052" y="1633"/>
                    </a:lnTo>
                    <a:lnTo>
                      <a:pt x="1011" y="1476"/>
                    </a:lnTo>
                    <a:lnTo>
                      <a:pt x="918" y="1447"/>
                    </a:lnTo>
                    <a:lnTo>
                      <a:pt x="900" y="1383"/>
                    </a:lnTo>
                    <a:lnTo>
                      <a:pt x="877" y="1360"/>
                    </a:lnTo>
                    <a:lnTo>
                      <a:pt x="877" y="1342"/>
                    </a:lnTo>
                    <a:lnTo>
                      <a:pt x="918" y="1313"/>
                    </a:lnTo>
                    <a:lnTo>
                      <a:pt x="726" y="1156"/>
                    </a:lnTo>
                    <a:lnTo>
                      <a:pt x="639" y="1145"/>
                    </a:lnTo>
                    <a:lnTo>
                      <a:pt x="581" y="1069"/>
                    </a:lnTo>
                    <a:lnTo>
                      <a:pt x="628" y="1051"/>
                    </a:lnTo>
                    <a:lnTo>
                      <a:pt x="639" y="971"/>
                    </a:lnTo>
                    <a:lnTo>
                      <a:pt x="598" y="964"/>
                    </a:lnTo>
                    <a:lnTo>
                      <a:pt x="429" y="994"/>
                    </a:lnTo>
                    <a:lnTo>
                      <a:pt x="424" y="976"/>
                    </a:lnTo>
                    <a:lnTo>
                      <a:pt x="366" y="982"/>
                    </a:lnTo>
                    <a:lnTo>
                      <a:pt x="342" y="1034"/>
                    </a:lnTo>
                    <a:lnTo>
                      <a:pt x="284" y="1023"/>
                    </a:lnTo>
                    <a:lnTo>
                      <a:pt x="215" y="988"/>
                    </a:lnTo>
                    <a:lnTo>
                      <a:pt x="232" y="918"/>
                    </a:lnTo>
                    <a:lnTo>
                      <a:pt x="203" y="889"/>
                    </a:lnTo>
                    <a:lnTo>
                      <a:pt x="122" y="918"/>
                    </a:lnTo>
                    <a:lnTo>
                      <a:pt x="87" y="860"/>
                    </a:lnTo>
                    <a:lnTo>
                      <a:pt x="23" y="901"/>
                    </a:lnTo>
                    <a:lnTo>
                      <a:pt x="0" y="784"/>
                    </a:lnTo>
                    <a:lnTo>
                      <a:pt x="52" y="692"/>
                    </a:lnTo>
                    <a:lnTo>
                      <a:pt x="58" y="640"/>
                    </a:lnTo>
                    <a:lnTo>
                      <a:pt x="262" y="529"/>
                    </a:lnTo>
                    <a:lnTo>
                      <a:pt x="360" y="326"/>
                    </a:lnTo>
                    <a:lnTo>
                      <a:pt x="314" y="285"/>
                    </a:lnTo>
                    <a:lnTo>
                      <a:pt x="319" y="239"/>
                    </a:lnTo>
                    <a:lnTo>
                      <a:pt x="384" y="192"/>
                    </a:lnTo>
                    <a:lnTo>
                      <a:pt x="360" y="186"/>
                    </a:lnTo>
                    <a:lnTo>
                      <a:pt x="342" y="174"/>
                    </a:lnTo>
                    <a:lnTo>
                      <a:pt x="349" y="146"/>
                    </a:lnTo>
                    <a:lnTo>
                      <a:pt x="377" y="151"/>
                    </a:lnTo>
                    <a:lnTo>
                      <a:pt x="429" y="186"/>
                    </a:lnTo>
                    <a:lnTo>
                      <a:pt x="476" y="186"/>
                    </a:lnTo>
                    <a:lnTo>
                      <a:pt x="511" y="239"/>
                    </a:lnTo>
                    <a:lnTo>
                      <a:pt x="656" y="268"/>
                    </a:lnTo>
                    <a:lnTo>
                      <a:pt x="778" y="174"/>
                    </a:lnTo>
                    <a:lnTo>
                      <a:pt x="691" y="52"/>
                    </a:lnTo>
                    <a:lnTo>
                      <a:pt x="720" y="29"/>
                    </a:lnTo>
                    <a:lnTo>
                      <a:pt x="843" y="105"/>
                    </a:lnTo>
                    <a:lnTo>
                      <a:pt x="872" y="87"/>
                    </a:lnTo>
                    <a:lnTo>
                      <a:pt x="965" y="99"/>
                    </a:lnTo>
                    <a:lnTo>
                      <a:pt x="1000" y="24"/>
                    </a:lnTo>
                    <a:lnTo>
                      <a:pt x="1000" y="0"/>
                    </a:lnTo>
                    <a:lnTo>
                      <a:pt x="1057" y="24"/>
                    </a:lnTo>
                    <a:lnTo>
                      <a:pt x="1052" y="59"/>
                    </a:lnTo>
                    <a:lnTo>
                      <a:pt x="1075" y="82"/>
                    </a:lnTo>
                    <a:lnTo>
                      <a:pt x="1075" y="256"/>
                    </a:lnTo>
                    <a:lnTo>
                      <a:pt x="1099" y="303"/>
                    </a:lnTo>
                    <a:lnTo>
                      <a:pt x="1296" y="268"/>
                    </a:lnTo>
                    <a:lnTo>
                      <a:pt x="1342" y="233"/>
                    </a:lnTo>
                    <a:lnTo>
                      <a:pt x="1401" y="268"/>
                    </a:lnTo>
                    <a:lnTo>
                      <a:pt x="1470" y="268"/>
                    </a:lnTo>
                    <a:lnTo>
                      <a:pt x="1499" y="296"/>
                    </a:lnTo>
                    <a:lnTo>
                      <a:pt x="1540" y="291"/>
                    </a:lnTo>
                    <a:lnTo>
                      <a:pt x="1633" y="163"/>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71" name="Google Shape;2871;g805494e7d0_2_86"/>
              <p:cNvSpPr/>
              <p:nvPr/>
            </p:nvSpPr>
            <p:spPr>
              <a:xfrm rot="-860960">
                <a:off x="4116" y="398"/>
                <a:ext cx="11" cy="4"/>
              </a:xfrm>
              <a:custGeom>
                <a:avLst/>
                <a:gdLst/>
                <a:ahLst/>
                <a:cxnLst/>
                <a:rect l="l" t="t" r="r" b="b"/>
                <a:pathLst>
                  <a:path w="99" h="46" extrusionOk="0">
                    <a:moveTo>
                      <a:pt x="64" y="11"/>
                    </a:moveTo>
                    <a:lnTo>
                      <a:pt x="12" y="0"/>
                    </a:lnTo>
                    <a:lnTo>
                      <a:pt x="0" y="11"/>
                    </a:lnTo>
                    <a:lnTo>
                      <a:pt x="12" y="40"/>
                    </a:lnTo>
                    <a:lnTo>
                      <a:pt x="64" y="46"/>
                    </a:lnTo>
                    <a:lnTo>
                      <a:pt x="99" y="17"/>
                    </a:lnTo>
                    <a:lnTo>
                      <a:pt x="64" y="11"/>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72" name="Google Shape;2872;g805494e7d0_2_86"/>
              <p:cNvSpPr/>
              <p:nvPr/>
            </p:nvSpPr>
            <p:spPr>
              <a:xfrm rot="-880584">
                <a:off x="4098" y="439"/>
                <a:ext cx="12" cy="5"/>
              </a:xfrm>
              <a:custGeom>
                <a:avLst/>
                <a:gdLst/>
                <a:ahLst/>
                <a:cxnLst/>
                <a:rect l="l" t="t" r="r" b="b"/>
                <a:pathLst>
                  <a:path w="110" h="52" extrusionOk="0">
                    <a:moveTo>
                      <a:pt x="58" y="0"/>
                    </a:moveTo>
                    <a:lnTo>
                      <a:pt x="0" y="24"/>
                    </a:lnTo>
                    <a:lnTo>
                      <a:pt x="23" y="41"/>
                    </a:lnTo>
                    <a:lnTo>
                      <a:pt x="105" y="52"/>
                    </a:lnTo>
                    <a:lnTo>
                      <a:pt x="110" y="17"/>
                    </a:lnTo>
                    <a:lnTo>
                      <a:pt x="81" y="0"/>
                    </a:lnTo>
                    <a:lnTo>
                      <a:pt x="58"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73" name="Google Shape;2873;g805494e7d0_2_86"/>
              <p:cNvSpPr/>
              <p:nvPr/>
            </p:nvSpPr>
            <p:spPr>
              <a:xfrm rot="-880584">
                <a:off x="4623" y="532"/>
                <a:ext cx="47" cy="39"/>
              </a:xfrm>
              <a:custGeom>
                <a:avLst/>
                <a:gdLst/>
                <a:ahLst/>
                <a:cxnLst/>
                <a:rect l="l" t="t" r="r" b="b"/>
                <a:pathLst>
                  <a:path w="436" h="424" extrusionOk="0">
                    <a:moveTo>
                      <a:pt x="180" y="0"/>
                    </a:moveTo>
                    <a:lnTo>
                      <a:pt x="105" y="198"/>
                    </a:lnTo>
                    <a:lnTo>
                      <a:pt x="0" y="250"/>
                    </a:lnTo>
                    <a:lnTo>
                      <a:pt x="81" y="255"/>
                    </a:lnTo>
                    <a:lnTo>
                      <a:pt x="81" y="360"/>
                    </a:lnTo>
                    <a:lnTo>
                      <a:pt x="162" y="389"/>
                    </a:lnTo>
                    <a:lnTo>
                      <a:pt x="255" y="342"/>
                    </a:lnTo>
                    <a:lnTo>
                      <a:pt x="279" y="354"/>
                    </a:lnTo>
                    <a:lnTo>
                      <a:pt x="337" y="401"/>
                    </a:lnTo>
                    <a:lnTo>
                      <a:pt x="394" y="372"/>
                    </a:lnTo>
                    <a:lnTo>
                      <a:pt x="412" y="424"/>
                    </a:lnTo>
                    <a:lnTo>
                      <a:pt x="436" y="255"/>
                    </a:lnTo>
                    <a:lnTo>
                      <a:pt x="384" y="273"/>
                    </a:lnTo>
                    <a:lnTo>
                      <a:pt x="412" y="203"/>
                    </a:lnTo>
                    <a:lnTo>
                      <a:pt x="360" y="163"/>
                    </a:lnTo>
                    <a:lnTo>
                      <a:pt x="366" y="145"/>
                    </a:lnTo>
                    <a:lnTo>
                      <a:pt x="255" y="122"/>
                    </a:lnTo>
                    <a:lnTo>
                      <a:pt x="197" y="151"/>
                    </a:lnTo>
                    <a:lnTo>
                      <a:pt x="227" y="35"/>
                    </a:lnTo>
                    <a:lnTo>
                      <a:pt x="180"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74" name="Google Shape;2874;g805494e7d0_2_86"/>
              <p:cNvSpPr/>
              <p:nvPr/>
            </p:nvSpPr>
            <p:spPr>
              <a:xfrm rot="-901102">
                <a:off x="4600" y="562"/>
                <a:ext cx="13" cy="5"/>
              </a:xfrm>
              <a:custGeom>
                <a:avLst/>
                <a:gdLst/>
                <a:ahLst/>
                <a:cxnLst/>
                <a:rect l="l" t="t" r="r" b="b"/>
                <a:pathLst>
                  <a:path w="122" h="53" extrusionOk="0">
                    <a:moveTo>
                      <a:pt x="93" y="0"/>
                    </a:moveTo>
                    <a:lnTo>
                      <a:pt x="30" y="7"/>
                    </a:lnTo>
                    <a:lnTo>
                      <a:pt x="0" y="7"/>
                    </a:lnTo>
                    <a:lnTo>
                      <a:pt x="0" y="24"/>
                    </a:lnTo>
                    <a:lnTo>
                      <a:pt x="82" y="35"/>
                    </a:lnTo>
                    <a:lnTo>
                      <a:pt x="99" y="53"/>
                    </a:lnTo>
                    <a:lnTo>
                      <a:pt x="122" y="30"/>
                    </a:lnTo>
                    <a:lnTo>
                      <a:pt x="93"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75" name="Google Shape;2875;g805494e7d0_2_86"/>
              <p:cNvSpPr/>
              <p:nvPr/>
            </p:nvSpPr>
            <p:spPr>
              <a:xfrm rot="-842175">
                <a:off x="4610" y="584"/>
                <a:ext cx="7" cy="5"/>
              </a:xfrm>
              <a:custGeom>
                <a:avLst/>
                <a:gdLst/>
                <a:ahLst/>
                <a:cxnLst/>
                <a:rect l="l" t="t" r="r" b="b"/>
                <a:pathLst>
                  <a:path w="75" h="47" extrusionOk="0">
                    <a:moveTo>
                      <a:pt x="40" y="0"/>
                    </a:moveTo>
                    <a:lnTo>
                      <a:pt x="0" y="24"/>
                    </a:lnTo>
                    <a:lnTo>
                      <a:pt x="17" y="42"/>
                    </a:lnTo>
                    <a:lnTo>
                      <a:pt x="75" y="47"/>
                    </a:lnTo>
                    <a:lnTo>
                      <a:pt x="69" y="12"/>
                    </a:lnTo>
                    <a:lnTo>
                      <a:pt x="40"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76" name="Google Shape;2876;g805494e7d0_2_86"/>
              <p:cNvSpPr/>
              <p:nvPr/>
            </p:nvSpPr>
            <p:spPr>
              <a:xfrm rot="-915307">
                <a:off x="4627" y="580"/>
                <a:ext cx="10" cy="10"/>
              </a:xfrm>
              <a:custGeom>
                <a:avLst/>
                <a:gdLst/>
                <a:ahLst/>
                <a:cxnLst/>
                <a:rect l="l" t="t" r="r" b="b"/>
                <a:pathLst>
                  <a:path w="87" h="105" extrusionOk="0">
                    <a:moveTo>
                      <a:pt x="17" y="100"/>
                    </a:moveTo>
                    <a:lnTo>
                      <a:pt x="0" y="59"/>
                    </a:lnTo>
                    <a:lnTo>
                      <a:pt x="28" y="0"/>
                    </a:lnTo>
                    <a:lnTo>
                      <a:pt x="52" y="12"/>
                    </a:lnTo>
                    <a:lnTo>
                      <a:pt x="40" y="47"/>
                    </a:lnTo>
                    <a:lnTo>
                      <a:pt x="87" y="70"/>
                    </a:lnTo>
                    <a:lnTo>
                      <a:pt x="75" y="105"/>
                    </a:lnTo>
                    <a:lnTo>
                      <a:pt x="28" y="100"/>
                    </a:lnTo>
                    <a:lnTo>
                      <a:pt x="17" y="10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77" name="Google Shape;2877;g805494e7d0_2_86"/>
              <p:cNvSpPr/>
              <p:nvPr/>
            </p:nvSpPr>
            <p:spPr>
              <a:xfrm rot="-877252">
                <a:off x="4206" y="560"/>
                <a:ext cx="9" cy="21"/>
              </a:xfrm>
              <a:custGeom>
                <a:avLst/>
                <a:gdLst/>
                <a:ahLst/>
                <a:cxnLst/>
                <a:rect l="l" t="t" r="r" b="b"/>
                <a:pathLst>
                  <a:path w="76" h="232" extrusionOk="0">
                    <a:moveTo>
                      <a:pt x="70" y="214"/>
                    </a:moveTo>
                    <a:lnTo>
                      <a:pt x="59" y="157"/>
                    </a:lnTo>
                    <a:lnTo>
                      <a:pt x="76" y="58"/>
                    </a:lnTo>
                    <a:lnTo>
                      <a:pt x="59" y="0"/>
                    </a:lnTo>
                    <a:lnTo>
                      <a:pt x="0" y="0"/>
                    </a:lnTo>
                    <a:lnTo>
                      <a:pt x="47" y="46"/>
                    </a:lnTo>
                    <a:lnTo>
                      <a:pt x="0" y="127"/>
                    </a:lnTo>
                    <a:lnTo>
                      <a:pt x="29" y="174"/>
                    </a:lnTo>
                    <a:lnTo>
                      <a:pt x="41" y="220"/>
                    </a:lnTo>
                    <a:lnTo>
                      <a:pt x="64" y="232"/>
                    </a:lnTo>
                    <a:lnTo>
                      <a:pt x="70" y="214"/>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78" name="Google Shape;2878;g805494e7d0_2_86"/>
              <p:cNvSpPr/>
              <p:nvPr/>
            </p:nvSpPr>
            <p:spPr>
              <a:xfrm rot="-880584">
                <a:off x="4449" y="469"/>
                <a:ext cx="28" cy="17"/>
              </a:xfrm>
              <a:custGeom>
                <a:avLst/>
                <a:gdLst/>
                <a:ahLst/>
                <a:cxnLst/>
                <a:rect l="l" t="t" r="r" b="b"/>
                <a:pathLst>
                  <a:path w="256" h="187" extrusionOk="0">
                    <a:moveTo>
                      <a:pt x="29" y="0"/>
                    </a:moveTo>
                    <a:lnTo>
                      <a:pt x="41" y="30"/>
                    </a:lnTo>
                    <a:lnTo>
                      <a:pt x="0" y="122"/>
                    </a:lnTo>
                    <a:lnTo>
                      <a:pt x="69" y="187"/>
                    </a:lnTo>
                    <a:lnTo>
                      <a:pt x="111" y="169"/>
                    </a:lnTo>
                    <a:lnTo>
                      <a:pt x="104" y="122"/>
                    </a:lnTo>
                    <a:lnTo>
                      <a:pt x="157" y="169"/>
                    </a:lnTo>
                    <a:lnTo>
                      <a:pt x="215" y="187"/>
                    </a:lnTo>
                    <a:lnTo>
                      <a:pt x="256" y="164"/>
                    </a:lnTo>
                    <a:lnTo>
                      <a:pt x="238" y="111"/>
                    </a:lnTo>
                    <a:lnTo>
                      <a:pt x="191" y="117"/>
                    </a:lnTo>
                    <a:lnTo>
                      <a:pt x="157" y="47"/>
                    </a:lnTo>
                    <a:lnTo>
                      <a:pt x="87" y="0"/>
                    </a:lnTo>
                    <a:lnTo>
                      <a:pt x="29"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79" name="Google Shape;2879;g805494e7d0_2_86"/>
              <p:cNvSpPr/>
              <p:nvPr/>
            </p:nvSpPr>
            <p:spPr>
              <a:xfrm rot="-895885">
                <a:off x="4459" y="492"/>
                <a:ext cx="6" cy="7"/>
              </a:xfrm>
              <a:custGeom>
                <a:avLst/>
                <a:gdLst/>
                <a:ahLst/>
                <a:cxnLst/>
                <a:rect l="l" t="t" r="r" b="b"/>
                <a:pathLst>
                  <a:path w="52" h="70" extrusionOk="0">
                    <a:moveTo>
                      <a:pt x="41" y="0"/>
                    </a:moveTo>
                    <a:lnTo>
                      <a:pt x="0" y="5"/>
                    </a:lnTo>
                    <a:lnTo>
                      <a:pt x="0" y="70"/>
                    </a:lnTo>
                    <a:lnTo>
                      <a:pt x="24" y="52"/>
                    </a:lnTo>
                    <a:lnTo>
                      <a:pt x="47" y="47"/>
                    </a:lnTo>
                    <a:lnTo>
                      <a:pt x="52" y="29"/>
                    </a:lnTo>
                    <a:lnTo>
                      <a:pt x="41"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80" name="Google Shape;2880;g805494e7d0_2_86"/>
              <p:cNvSpPr/>
              <p:nvPr/>
            </p:nvSpPr>
            <p:spPr>
              <a:xfrm rot="-901102">
                <a:off x="4321" y="393"/>
                <a:ext cx="33" cy="22"/>
              </a:xfrm>
              <a:custGeom>
                <a:avLst/>
                <a:gdLst/>
                <a:ahLst/>
                <a:cxnLst/>
                <a:rect l="l" t="t" r="r" b="b"/>
                <a:pathLst>
                  <a:path w="309" h="244" extrusionOk="0">
                    <a:moveTo>
                      <a:pt x="187" y="0"/>
                    </a:moveTo>
                    <a:lnTo>
                      <a:pt x="88" y="105"/>
                    </a:lnTo>
                    <a:lnTo>
                      <a:pt x="0" y="128"/>
                    </a:lnTo>
                    <a:lnTo>
                      <a:pt x="18" y="232"/>
                    </a:lnTo>
                    <a:lnTo>
                      <a:pt x="100" y="244"/>
                    </a:lnTo>
                    <a:lnTo>
                      <a:pt x="145" y="175"/>
                    </a:lnTo>
                    <a:lnTo>
                      <a:pt x="309" y="180"/>
                    </a:lnTo>
                    <a:lnTo>
                      <a:pt x="245" y="18"/>
                    </a:lnTo>
                    <a:lnTo>
                      <a:pt x="187"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81" name="Google Shape;2881;g805494e7d0_2_86"/>
              <p:cNvSpPr/>
              <p:nvPr/>
            </p:nvSpPr>
            <p:spPr>
              <a:xfrm rot="-880584">
                <a:off x="4341" y="406"/>
                <a:ext cx="46" cy="46"/>
              </a:xfrm>
              <a:custGeom>
                <a:avLst/>
                <a:gdLst/>
                <a:ahLst/>
                <a:cxnLst/>
                <a:rect l="l" t="t" r="r" b="b"/>
                <a:pathLst>
                  <a:path w="424" h="476" extrusionOk="0">
                    <a:moveTo>
                      <a:pt x="197" y="6"/>
                    </a:moveTo>
                    <a:lnTo>
                      <a:pt x="75" y="0"/>
                    </a:lnTo>
                    <a:lnTo>
                      <a:pt x="70" y="35"/>
                    </a:lnTo>
                    <a:lnTo>
                      <a:pt x="63" y="94"/>
                    </a:lnTo>
                    <a:lnTo>
                      <a:pt x="46" y="146"/>
                    </a:lnTo>
                    <a:lnTo>
                      <a:pt x="105" y="209"/>
                    </a:lnTo>
                    <a:lnTo>
                      <a:pt x="0" y="209"/>
                    </a:lnTo>
                    <a:lnTo>
                      <a:pt x="75" y="279"/>
                    </a:lnTo>
                    <a:lnTo>
                      <a:pt x="105" y="383"/>
                    </a:lnTo>
                    <a:lnTo>
                      <a:pt x="244" y="395"/>
                    </a:lnTo>
                    <a:lnTo>
                      <a:pt x="354" y="476"/>
                    </a:lnTo>
                    <a:lnTo>
                      <a:pt x="407" y="436"/>
                    </a:lnTo>
                    <a:lnTo>
                      <a:pt x="384" y="395"/>
                    </a:lnTo>
                    <a:lnTo>
                      <a:pt x="419" y="401"/>
                    </a:lnTo>
                    <a:lnTo>
                      <a:pt x="372" y="267"/>
                    </a:lnTo>
                    <a:lnTo>
                      <a:pt x="424" y="111"/>
                    </a:lnTo>
                    <a:lnTo>
                      <a:pt x="384" y="76"/>
                    </a:lnTo>
                    <a:lnTo>
                      <a:pt x="342" y="174"/>
                    </a:lnTo>
                    <a:lnTo>
                      <a:pt x="349" y="162"/>
                    </a:lnTo>
                    <a:lnTo>
                      <a:pt x="314" y="87"/>
                    </a:lnTo>
                    <a:lnTo>
                      <a:pt x="238" y="59"/>
                    </a:lnTo>
                    <a:lnTo>
                      <a:pt x="197" y="6"/>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82" name="Google Shape;2882;g805494e7d0_2_86"/>
              <p:cNvSpPr/>
              <p:nvPr/>
            </p:nvSpPr>
            <p:spPr>
              <a:xfrm rot="-860960">
                <a:off x="4391" y="407"/>
                <a:ext cx="18" cy="21"/>
              </a:xfrm>
              <a:custGeom>
                <a:avLst/>
                <a:gdLst/>
                <a:ahLst/>
                <a:cxnLst/>
                <a:rect l="l" t="t" r="r" b="b"/>
                <a:pathLst>
                  <a:path w="163" h="233" extrusionOk="0">
                    <a:moveTo>
                      <a:pt x="0" y="82"/>
                    </a:moveTo>
                    <a:lnTo>
                      <a:pt x="52" y="163"/>
                    </a:lnTo>
                    <a:lnTo>
                      <a:pt x="29" y="233"/>
                    </a:lnTo>
                    <a:lnTo>
                      <a:pt x="70" y="233"/>
                    </a:lnTo>
                    <a:lnTo>
                      <a:pt x="151" y="180"/>
                    </a:lnTo>
                    <a:lnTo>
                      <a:pt x="163" y="145"/>
                    </a:lnTo>
                    <a:lnTo>
                      <a:pt x="146" y="18"/>
                    </a:lnTo>
                    <a:lnTo>
                      <a:pt x="94" y="0"/>
                    </a:lnTo>
                    <a:lnTo>
                      <a:pt x="64" y="70"/>
                    </a:lnTo>
                    <a:lnTo>
                      <a:pt x="29" y="58"/>
                    </a:lnTo>
                    <a:lnTo>
                      <a:pt x="0" y="82"/>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83" name="Google Shape;2883;g805494e7d0_2_86"/>
              <p:cNvSpPr/>
              <p:nvPr/>
            </p:nvSpPr>
            <p:spPr>
              <a:xfrm rot="-860960">
                <a:off x="4412" y="404"/>
                <a:ext cx="13" cy="14"/>
              </a:xfrm>
              <a:custGeom>
                <a:avLst/>
                <a:gdLst/>
                <a:ahLst/>
                <a:cxnLst/>
                <a:rect l="l" t="t" r="r" b="b"/>
                <a:pathLst>
                  <a:path w="116" h="150" extrusionOk="0">
                    <a:moveTo>
                      <a:pt x="11" y="46"/>
                    </a:moveTo>
                    <a:lnTo>
                      <a:pt x="0" y="145"/>
                    </a:lnTo>
                    <a:lnTo>
                      <a:pt x="58" y="150"/>
                    </a:lnTo>
                    <a:lnTo>
                      <a:pt x="116" y="46"/>
                    </a:lnTo>
                    <a:lnTo>
                      <a:pt x="75" y="0"/>
                    </a:lnTo>
                    <a:lnTo>
                      <a:pt x="29" y="0"/>
                    </a:lnTo>
                    <a:lnTo>
                      <a:pt x="11" y="46"/>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84" name="Google Shape;2884;g805494e7d0_2_86"/>
              <p:cNvSpPr/>
              <p:nvPr/>
            </p:nvSpPr>
            <p:spPr>
              <a:xfrm rot="-880584">
                <a:off x="4433" y="395"/>
                <a:ext cx="107" cy="100"/>
              </a:xfrm>
              <a:custGeom>
                <a:avLst/>
                <a:gdLst/>
                <a:ahLst/>
                <a:cxnLst/>
                <a:rect l="l" t="t" r="r" b="b"/>
                <a:pathLst>
                  <a:path w="987" h="1074" extrusionOk="0">
                    <a:moveTo>
                      <a:pt x="110" y="0"/>
                    </a:moveTo>
                    <a:lnTo>
                      <a:pt x="93" y="52"/>
                    </a:lnTo>
                    <a:lnTo>
                      <a:pt x="16" y="80"/>
                    </a:lnTo>
                    <a:lnTo>
                      <a:pt x="0" y="133"/>
                    </a:lnTo>
                    <a:lnTo>
                      <a:pt x="58" y="197"/>
                    </a:lnTo>
                    <a:lnTo>
                      <a:pt x="28" y="226"/>
                    </a:lnTo>
                    <a:lnTo>
                      <a:pt x="86" y="284"/>
                    </a:lnTo>
                    <a:lnTo>
                      <a:pt x="191" y="296"/>
                    </a:lnTo>
                    <a:lnTo>
                      <a:pt x="330" y="377"/>
                    </a:lnTo>
                    <a:lnTo>
                      <a:pt x="342" y="336"/>
                    </a:lnTo>
                    <a:lnTo>
                      <a:pt x="307" y="267"/>
                    </a:lnTo>
                    <a:lnTo>
                      <a:pt x="377" y="296"/>
                    </a:lnTo>
                    <a:lnTo>
                      <a:pt x="394" y="359"/>
                    </a:lnTo>
                    <a:lnTo>
                      <a:pt x="494" y="377"/>
                    </a:lnTo>
                    <a:lnTo>
                      <a:pt x="522" y="418"/>
                    </a:lnTo>
                    <a:lnTo>
                      <a:pt x="482" y="470"/>
                    </a:lnTo>
                    <a:lnTo>
                      <a:pt x="586" y="523"/>
                    </a:lnTo>
                    <a:lnTo>
                      <a:pt x="563" y="592"/>
                    </a:lnTo>
                    <a:lnTo>
                      <a:pt x="539" y="610"/>
                    </a:lnTo>
                    <a:lnTo>
                      <a:pt x="557" y="714"/>
                    </a:lnTo>
                    <a:lnTo>
                      <a:pt x="499" y="755"/>
                    </a:lnTo>
                    <a:lnTo>
                      <a:pt x="435" y="725"/>
                    </a:lnTo>
                    <a:lnTo>
                      <a:pt x="424" y="865"/>
                    </a:lnTo>
                    <a:lnTo>
                      <a:pt x="529" y="859"/>
                    </a:lnTo>
                    <a:lnTo>
                      <a:pt x="557" y="836"/>
                    </a:lnTo>
                    <a:lnTo>
                      <a:pt x="668" y="976"/>
                    </a:lnTo>
                    <a:lnTo>
                      <a:pt x="714" y="976"/>
                    </a:lnTo>
                    <a:lnTo>
                      <a:pt x="738" y="1011"/>
                    </a:lnTo>
                    <a:lnTo>
                      <a:pt x="947" y="1074"/>
                    </a:lnTo>
                    <a:lnTo>
                      <a:pt x="941" y="1028"/>
                    </a:lnTo>
                    <a:lnTo>
                      <a:pt x="842" y="952"/>
                    </a:lnTo>
                    <a:lnTo>
                      <a:pt x="825" y="912"/>
                    </a:lnTo>
                    <a:lnTo>
                      <a:pt x="953" y="993"/>
                    </a:lnTo>
                    <a:lnTo>
                      <a:pt x="970" y="946"/>
                    </a:lnTo>
                    <a:lnTo>
                      <a:pt x="918" y="865"/>
                    </a:lnTo>
                    <a:lnTo>
                      <a:pt x="923" y="847"/>
                    </a:lnTo>
                    <a:lnTo>
                      <a:pt x="825" y="772"/>
                    </a:lnTo>
                    <a:lnTo>
                      <a:pt x="842" y="720"/>
                    </a:lnTo>
                    <a:lnTo>
                      <a:pt x="784" y="673"/>
                    </a:lnTo>
                    <a:lnTo>
                      <a:pt x="930" y="714"/>
                    </a:lnTo>
                    <a:lnTo>
                      <a:pt x="930" y="772"/>
                    </a:lnTo>
                    <a:lnTo>
                      <a:pt x="947" y="778"/>
                    </a:lnTo>
                    <a:lnTo>
                      <a:pt x="965" y="702"/>
                    </a:lnTo>
                    <a:lnTo>
                      <a:pt x="987" y="673"/>
                    </a:lnTo>
                    <a:lnTo>
                      <a:pt x="975" y="586"/>
                    </a:lnTo>
                    <a:lnTo>
                      <a:pt x="895" y="580"/>
                    </a:lnTo>
                    <a:lnTo>
                      <a:pt x="860" y="523"/>
                    </a:lnTo>
                    <a:lnTo>
                      <a:pt x="749" y="488"/>
                    </a:lnTo>
                    <a:lnTo>
                      <a:pt x="714" y="435"/>
                    </a:lnTo>
                    <a:lnTo>
                      <a:pt x="738" y="389"/>
                    </a:lnTo>
                    <a:lnTo>
                      <a:pt x="703" y="313"/>
                    </a:lnTo>
                    <a:lnTo>
                      <a:pt x="633" y="284"/>
                    </a:lnTo>
                    <a:lnTo>
                      <a:pt x="539" y="249"/>
                    </a:lnTo>
                    <a:lnTo>
                      <a:pt x="529" y="174"/>
                    </a:lnTo>
                    <a:lnTo>
                      <a:pt x="435" y="197"/>
                    </a:lnTo>
                    <a:lnTo>
                      <a:pt x="412" y="145"/>
                    </a:lnTo>
                    <a:lnTo>
                      <a:pt x="319" y="174"/>
                    </a:lnTo>
                    <a:lnTo>
                      <a:pt x="302" y="104"/>
                    </a:lnTo>
                    <a:lnTo>
                      <a:pt x="382" y="92"/>
                    </a:lnTo>
                    <a:lnTo>
                      <a:pt x="278" y="57"/>
                    </a:lnTo>
                    <a:lnTo>
                      <a:pt x="191" y="63"/>
                    </a:lnTo>
                    <a:lnTo>
                      <a:pt x="168" y="179"/>
                    </a:lnTo>
                    <a:lnTo>
                      <a:pt x="133" y="122"/>
                    </a:lnTo>
                    <a:lnTo>
                      <a:pt x="150" y="52"/>
                    </a:lnTo>
                    <a:lnTo>
                      <a:pt x="110"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85" name="Google Shape;2885;g805494e7d0_2_86"/>
              <p:cNvSpPr/>
              <p:nvPr/>
            </p:nvSpPr>
            <p:spPr>
              <a:xfrm rot="-880584">
                <a:off x="4413" y="380"/>
                <a:ext cx="38" cy="20"/>
              </a:xfrm>
              <a:custGeom>
                <a:avLst/>
                <a:gdLst/>
                <a:ahLst/>
                <a:cxnLst/>
                <a:rect l="l" t="t" r="r" b="b"/>
                <a:pathLst>
                  <a:path w="354" h="227" extrusionOk="0">
                    <a:moveTo>
                      <a:pt x="0" y="41"/>
                    </a:moveTo>
                    <a:lnTo>
                      <a:pt x="52" y="82"/>
                    </a:lnTo>
                    <a:lnTo>
                      <a:pt x="52" y="197"/>
                    </a:lnTo>
                    <a:lnTo>
                      <a:pt x="354" y="227"/>
                    </a:lnTo>
                    <a:lnTo>
                      <a:pt x="354" y="169"/>
                    </a:lnTo>
                    <a:lnTo>
                      <a:pt x="162" y="122"/>
                    </a:lnTo>
                    <a:lnTo>
                      <a:pt x="57" y="18"/>
                    </a:lnTo>
                    <a:lnTo>
                      <a:pt x="0" y="0"/>
                    </a:lnTo>
                    <a:lnTo>
                      <a:pt x="0" y="41"/>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86" name="Google Shape;2886;g805494e7d0_2_86"/>
              <p:cNvSpPr/>
              <p:nvPr/>
            </p:nvSpPr>
            <p:spPr>
              <a:xfrm rot="-901102">
                <a:off x="4360" y="382"/>
                <a:ext cx="30" cy="18"/>
              </a:xfrm>
              <a:custGeom>
                <a:avLst/>
                <a:gdLst/>
                <a:ahLst/>
                <a:cxnLst/>
                <a:rect l="l" t="t" r="r" b="b"/>
                <a:pathLst>
                  <a:path w="284" h="185" extrusionOk="0">
                    <a:moveTo>
                      <a:pt x="63" y="0"/>
                    </a:moveTo>
                    <a:lnTo>
                      <a:pt x="202" y="52"/>
                    </a:lnTo>
                    <a:lnTo>
                      <a:pt x="284" y="122"/>
                    </a:lnTo>
                    <a:lnTo>
                      <a:pt x="197" y="185"/>
                    </a:lnTo>
                    <a:lnTo>
                      <a:pt x="110" y="162"/>
                    </a:lnTo>
                    <a:lnTo>
                      <a:pt x="52" y="133"/>
                    </a:lnTo>
                    <a:lnTo>
                      <a:pt x="45" y="92"/>
                    </a:lnTo>
                    <a:lnTo>
                      <a:pt x="0" y="52"/>
                    </a:lnTo>
                    <a:lnTo>
                      <a:pt x="63"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87" name="Google Shape;2887;g805494e7d0_2_86"/>
              <p:cNvSpPr/>
              <p:nvPr/>
            </p:nvSpPr>
            <p:spPr>
              <a:xfrm rot="-842175">
                <a:off x="4392" y="386"/>
                <a:ext cx="13" cy="14"/>
              </a:xfrm>
              <a:custGeom>
                <a:avLst/>
                <a:gdLst/>
                <a:ahLst/>
                <a:cxnLst/>
                <a:rect l="l" t="t" r="r" b="b"/>
                <a:pathLst>
                  <a:path w="127" h="134" extrusionOk="0">
                    <a:moveTo>
                      <a:pt x="92" y="0"/>
                    </a:moveTo>
                    <a:lnTo>
                      <a:pt x="17" y="24"/>
                    </a:lnTo>
                    <a:lnTo>
                      <a:pt x="0" y="65"/>
                    </a:lnTo>
                    <a:lnTo>
                      <a:pt x="40" y="77"/>
                    </a:lnTo>
                    <a:lnTo>
                      <a:pt x="40" y="117"/>
                    </a:lnTo>
                    <a:lnTo>
                      <a:pt x="98" y="134"/>
                    </a:lnTo>
                    <a:lnTo>
                      <a:pt x="127" y="129"/>
                    </a:lnTo>
                    <a:lnTo>
                      <a:pt x="98" y="77"/>
                    </a:lnTo>
                    <a:lnTo>
                      <a:pt x="127" y="65"/>
                    </a:lnTo>
                    <a:lnTo>
                      <a:pt x="92"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88" name="Google Shape;2888;g805494e7d0_2_86"/>
              <p:cNvSpPr/>
              <p:nvPr/>
            </p:nvSpPr>
            <p:spPr>
              <a:xfrm rot="-901102">
                <a:off x="4348" y="385"/>
                <a:ext cx="5" cy="4"/>
              </a:xfrm>
              <a:custGeom>
                <a:avLst/>
                <a:gdLst/>
                <a:ahLst/>
                <a:cxnLst/>
                <a:rect l="l" t="t" r="r" b="b"/>
                <a:pathLst>
                  <a:path w="47" h="35" extrusionOk="0">
                    <a:moveTo>
                      <a:pt x="29" y="0"/>
                    </a:moveTo>
                    <a:lnTo>
                      <a:pt x="0" y="0"/>
                    </a:lnTo>
                    <a:lnTo>
                      <a:pt x="17" y="35"/>
                    </a:lnTo>
                    <a:lnTo>
                      <a:pt x="47" y="23"/>
                    </a:lnTo>
                    <a:lnTo>
                      <a:pt x="29"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89" name="Google Shape;2889;g805494e7d0_2_86"/>
              <p:cNvSpPr/>
              <p:nvPr/>
            </p:nvSpPr>
            <p:spPr>
              <a:xfrm rot="-842175">
                <a:off x="4413" y="393"/>
                <a:ext cx="2" cy="4"/>
              </a:xfrm>
              <a:custGeom>
                <a:avLst/>
                <a:gdLst/>
                <a:ahLst/>
                <a:cxnLst/>
                <a:rect l="l" t="t" r="r" b="b"/>
                <a:pathLst>
                  <a:path w="24" h="41" extrusionOk="0">
                    <a:moveTo>
                      <a:pt x="24" y="18"/>
                    </a:moveTo>
                    <a:lnTo>
                      <a:pt x="12" y="0"/>
                    </a:lnTo>
                    <a:lnTo>
                      <a:pt x="0" y="41"/>
                    </a:lnTo>
                    <a:lnTo>
                      <a:pt x="17" y="41"/>
                    </a:lnTo>
                    <a:lnTo>
                      <a:pt x="24" y="18"/>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90" name="Google Shape;2890;g805494e7d0_2_86"/>
              <p:cNvSpPr/>
              <p:nvPr/>
            </p:nvSpPr>
            <p:spPr>
              <a:xfrm rot="-862884">
                <a:off x="4479" y="440"/>
                <a:ext cx="7" cy="10"/>
              </a:xfrm>
              <a:custGeom>
                <a:avLst/>
                <a:gdLst/>
                <a:ahLst/>
                <a:cxnLst/>
                <a:rect l="l" t="t" r="r" b="b"/>
                <a:pathLst>
                  <a:path w="70" h="104" extrusionOk="0">
                    <a:moveTo>
                      <a:pt x="58" y="92"/>
                    </a:moveTo>
                    <a:lnTo>
                      <a:pt x="70" y="47"/>
                    </a:lnTo>
                    <a:lnTo>
                      <a:pt x="23" y="0"/>
                    </a:lnTo>
                    <a:lnTo>
                      <a:pt x="12" y="12"/>
                    </a:lnTo>
                    <a:lnTo>
                      <a:pt x="17" y="58"/>
                    </a:lnTo>
                    <a:lnTo>
                      <a:pt x="0" y="104"/>
                    </a:lnTo>
                    <a:lnTo>
                      <a:pt x="47" y="104"/>
                    </a:lnTo>
                    <a:lnTo>
                      <a:pt x="58" y="92"/>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91" name="Google Shape;2891;g805494e7d0_2_86"/>
              <p:cNvSpPr/>
              <p:nvPr/>
            </p:nvSpPr>
            <p:spPr>
              <a:xfrm rot="-880584">
                <a:off x="4112" y="368"/>
                <a:ext cx="165" cy="167"/>
              </a:xfrm>
              <a:custGeom>
                <a:avLst/>
                <a:gdLst/>
                <a:ahLst/>
                <a:cxnLst/>
                <a:rect l="l" t="t" r="r" b="b"/>
                <a:pathLst>
                  <a:path w="1518" h="1801" extrusionOk="0">
                    <a:moveTo>
                      <a:pt x="762" y="1801"/>
                    </a:moveTo>
                    <a:lnTo>
                      <a:pt x="907" y="1766"/>
                    </a:lnTo>
                    <a:lnTo>
                      <a:pt x="937" y="1301"/>
                    </a:lnTo>
                    <a:lnTo>
                      <a:pt x="872" y="1254"/>
                    </a:lnTo>
                    <a:lnTo>
                      <a:pt x="855" y="1150"/>
                    </a:lnTo>
                    <a:lnTo>
                      <a:pt x="919" y="1011"/>
                    </a:lnTo>
                    <a:lnTo>
                      <a:pt x="1518" y="604"/>
                    </a:lnTo>
                    <a:lnTo>
                      <a:pt x="1506" y="546"/>
                    </a:lnTo>
                    <a:lnTo>
                      <a:pt x="1436" y="465"/>
                    </a:lnTo>
                    <a:lnTo>
                      <a:pt x="1436" y="407"/>
                    </a:lnTo>
                    <a:lnTo>
                      <a:pt x="1378" y="325"/>
                    </a:lnTo>
                    <a:lnTo>
                      <a:pt x="1395" y="210"/>
                    </a:lnTo>
                    <a:lnTo>
                      <a:pt x="1326" y="122"/>
                    </a:lnTo>
                    <a:lnTo>
                      <a:pt x="1151" y="105"/>
                    </a:lnTo>
                    <a:lnTo>
                      <a:pt x="1047" y="0"/>
                    </a:lnTo>
                    <a:lnTo>
                      <a:pt x="907" y="151"/>
                    </a:lnTo>
                    <a:lnTo>
                      <a:pt x="919" y="180"/>
                    </a:lnTo>
                    <a:lnTo>
                      <a:pt x="867" y="215"/>
                    </a:lnTo>
                    <a:lnTo>
                      <a:pt x="843" y="175"/>
                    </a:lnTo>
                    <a:lnTo>
                      <a:pt x="849" y="110"/>
                    </a:lnTo>
                    <a:lnTo>
                      <a:pt x="803" y="29"/>
                    </a:lnTo>
                    <a:lnTo>
                      <a:pt x="703" y="58"/>
                    </a:lnTo>
                    <a:lnTo>
                      <a:pt x="663" y="180"/>
                    </a:lnTo>
                    <a:lnTo>
                      <a:pt x="698" y="255"/>
                    </a:lnTo>
                    <a:lnTo>
                      <a:pt x="651" y="267"/>
                    </a:lnTo>
                    <a:lnTo>
                      <a:pt x="471" y="163"/>
                    </a:lnTo>
                    <a:lnTo>
                      <a:pt x="267" y="279"/>
                    </a:lnTo>
                    <a:lnTo>
                      <a:pt x="256" y="372"/>
                    </a:lnTo>
                    <a:lnTo>
                      <a:pt x="291" y="384"/>
                    </a:lnTo>
                    <a:lnTo>
                      <a:pt x="198" y="447"/>
                    </a:lnTo>
                    <a:lnTo>
                      <a:pt x="262" y="477"/>
                    </a:lnTo>
                    <a:lnTo>
                      <a:pt x="232" y="541"/>
                    </a:lnTo>
                    <a:lnTo>
                      <a:pt x="297" y="628"/>
                    </a:lnTo>
                    <a:lnTo>
                      <a:pt x="7" y="611"/>
                    </a:lnTo>
                    <a:lnTo>
                      <a:pt x="0" y="639"/>
                    </a:lnTo>
                    <a:lnTo>
                      <a:pt x="344" y="721"/>
                    </a:lnTo>
                    <a:lnTo>
                      <a:pt x="546" y="738"/>
                    </a:lnTo>
                    <a:lnTo>
                      <a:pt x="454" y="802"/>
                    </a:lnTo>
                    <a:lnTo>
                      <a:pt x="511" y="872"/>
                    </a:lnTo>
                    <a:lnTo>
                      <a:pt x="623" y="872"/>
                    </a:lnTo>
                    <a:lnTo>
                      <a:pt x="640" y="808"/>
                    </a:lnTo>
                    <a:lnTo>
                      <a:pt x="686" y="843"/>
                    </a:lnTo>
                    <a:lnTo>
                      <a:pt x="668" y="912"/>
                    </a:lnTo>
                    <a:lnTo>
                      <a:pt x="698" y="924"/>
                    </a:lnTo>
                    <a:lnTo>
                      <a:pt x="698" y="994"/>
                    </a:lnTo>
                    <a:lnTo>
                      <a:pt x="762" y="1075"/>
                    </a:lnTo>
                    <a:lnTo>
                      <a:pt x="780" y="1167"/>
                    </a:lnTo>
                    <a:lnTo>
                      <a:pt x="762" y="1237"/>
                    </a:lnTo>
                    <a:lnTo>
                      <a:pt x="797" y="1336"/>
                    </a:lnTo>
                    <a:lnTo>
                      <a:pt x="843" y="1366"/>
                    </a:lnTo>
                    <a:lnTo>
                      <a:pt x="872" y="1411"/>
                    </a:lnTo>
                    <a:lnTo>
                      <a:pt x="780" y="1603"/>
                    </a:lnTo>
                    <a:lnTo>
                      <a:pt x="762" y="1801"/>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92" name="Google Shape;2892;g805494e7d0_2_86"/>
              <p:cNvSpPr/>
              <p:nvPr/>
            </p:nvSpPr>
            <p:spPr>
              <a:xfrm rot="-880584">
                <a:off x="4212" y="370"/>
                <a:ext cx="404" cy="303"/>
              </a:xfrm>
              <a:custGeom>
                <a:avLst/>
                <a:gdLst/>
                <a:ahLst/>
                <a:cxnLst/>
                <a:rect l="l" t="t" r="r" b="b"/>
                <a:pathLst>
                  <a:path w="3724" h="3264" extrusionOk="0">
                    <a:moveTo>
                      <a:pt x="3248" y="3056"/>
                    </a:moveTo>
                    <a:lnTo>
                      <a:pt x="3196" y="3049"/>
                    </a:lnTo>
                    <a:lnTo>
                      <a:pt x="3150" y="2968"/>
                    </a:lnTo>
                    <a:lnTo>
                      <a:pt x="3185" y="2904"/>
                    </a:lnTo>
                    <a:lnTo>
                      <a:pt x="3190" y="2887"/>
                    </a:lnTo>
                    <a:lnTo>
                      <a:pt x="3115" y="2881"/>
                    </a:lnTo>
                    <a:lnTo>
                      <a:pt x="2981" y="3026"/>
                    </a:lnTo>
                    <a:lnTo>
                      <a:pt x="2795" y="3061"/>
                    </a:lnTo>
                    <a:lnTo>
                      <a:pt x="2662" y="3131"/>
                    </a:lnTo>
                    <a:lnTo>
                      <a:pt x="2574" y="3096"/>
                    </a:lnTo>
                    <a:lnTo>
                      <a:pt x="2470" y="3212"/>
                    </a:lnTo>
                    <a:lnTo>
                      <a:pt x="2278" y="3264"/>
                    </a:lnTo>
                    <a:lnTo>
                      <a:pt x="2237" y="3264"/>
                    </a:lnTo>
                    <a:lnTo>
                      <a:pt x="2266" y="3212"/>
                    </a:lnTo>
                    <a:lnTo>
                      <a:pt x="2359" y="3148"/>
                    </a:lnTo>
                    <a:lnTo>
                      <a:pt x="2365" y="3078"/>
                    </a:lnTo>
                    <a:lnTo>
                      <a:pt x="2400" y="3148"/>
                    </a:lnTo>
                    <a:lnTo>
                      <a:pt x="2435" y="3166"/>
                    </a:lnTo>
                    <a:lnTo>
                      <a:pt x="2428" y="3026"/>
                    </a:lnTo>
                    <a:lnTo>
                      <a:pt x="2226" y="2916"/>
                    </a:lnTo>
                    <a:lnTo>
                      <a:pt x="2168" y="2800"/>
                    </a:lnTo>
                    <a:lnTo>
                      <a:pt x="2104" y="2695"/>
                    </a:lnTo>
                    <a:lnTo>
                      <a:pt x="2004" y="2637"/>
                    </a:lnTo>
                    <a:lnTo>
                      <a:pt x="1894" y="2678"/>
                    </a:lnTo>
                    <a:lnTo>
                      <a:pt x="1069" y="2352"/>
                    </a:lnTo>
                    <a:lnTo>
                      <a:pt x="506" y="2073"/>
                    </a:lnTo>
                    <a:lnTo>
                      <a:pt x="46" y="1823"/>
                    </a:lnTo>
                    <a:lnTo>
                      <a:pt x="17" y="1725"/>
                    </a:lnTo>
                    <a:lnTo>
                      <a:pt x="5" y="1656"/>
                    </a:lnTo>
                    <a:lnTo>
                      <a:pt x="35" y="1586"/>
                    </a:lnTo>
                    <a:lnTo>
                      <a:pt x="0" y="1551"/>
                    </a:lnTo>
                    <a:lnTo>
                      <a:pt x="70" y="1300"/>
                    </a:lnTo>
                    <a:lnTo>
                      <a:pt x="46" y="1260"/>
                    </a:lnTo>
                    <a:lnTo>
                      <a:pt x="58" y="1185"/>
                    </a:lnTo>
                    <a:lnTo>
                      <a:pt x="192" y="1173"/>
                    </a:lnTo>
                    <a:lnTo>
                      <a:pt x="227" y="708"/>
                    </a:lnTo>
                    <a:lnTo>
                      <a:pt x="162" y="650"/>
                    </a:lnTo>
                    <a:lnTo>
                      <a:pt x="145" y="545"/>
                    </a:lnTo>
                    <a:lnTo>
                      <a:pt x="209" y="418"/>
                    </a:lnTo>
                    <a:lnTo>
                      <a:pt x="808" y="0"/>
                    </a:lnTo>
                    <a:lnTo>
                      <a:pt x="848" y="151"/>
                    </a:lnTo>
                    <a:lnTo>
                      <a:pt x="1028" y="197"/>
                    </a:lnTo>
                    <a:lnTo>
                      <a:pt x="1045" y="266"/>
                    </a:lnTo>
                    <a:lnTo>
                      <a:pt x="1139" y="244"/>
                    </a:lnTo>
                    <a:lnTo>
                      <a:pt x="1156" y="273"/>
                    </a:lnTo>
                    <a:lnTo>
                      <a:pt x="1115" y="331"/>
                    </a:lnTo>
                    <a:lnTo>
                      <a:pt x="1174" y="360"/>
                    </a:lnTo>
                    <a:lnTo>
                      <a:pt x="1284" y="446"/>
                    </a:lnTo>
                    <a:lnTo>
                      <a:pt x="1301" y="540"/>
                    </a:lnTo>
                    <a:lnTo>
                      <a:pt x="1394" y="575"/>
                    </a:lnTo>
                    <a:lnTo>
                      <a:pt x="1359" y="621"/>
                    </a:lnTo>
                    <a:lnTo>
                      <a:pt x="1366" y="662"/>
                    </a:lnTo>
                    <a:lnTo>
                      <a:pt x="1534" y="743"/>
                    </a:lnTo>
                    <a:lnTo>
                      <a:pt x="1545" y="807"/>
                    </a:lnTo>
                    <a:lnTo>
                      <a:pt x="1627" y="801"/>
                    </a:lnTo>
                    <a:lnTo>
                      <a:pt x="1603" y="732"/>
                    </a:lnTo>
                    <a:lnTo>
                      <a:pt x="1697" y="767"/>
                    </a:lnTo>
                    <a:lnTo>
                      <a:pt x="1807" y="894"/>
                    </a:lnTo>
                    <a:lnTo>
                      <a:pt x="1859" y="854"/>
                    </a:lnTo>
                    <a:lnTo>
                      <a:pt x="1847" y="801"/>
                    </a:lnTo>
                    <a:lnTo>
                      <a:pt x="1859" y="767"/>
                    </a:lnTo>
                    <a:lnTo>
                      <a:pt x="1935" y="772"/>
                    </a:lnTo>
                    <a:lnTo>
                      <a:pt x="1952" y="801"/>
                    </a:lnTo>
                    <a:lnTo>
                      <a:pt x="1929" y="941"/>
                    </a:lnTo>
                    <a:lnTo>
                      <a:pt x="1947" y="946"/>
                    </a:lnTo>
                    <a:lnTo>
                      <a:pt x="1970" y="911"/>
                    </a:lnTo>
                    <a:lnTo>
                      <a:pt x="2016" y="917"/>
                    </a:lnTo>
                    <a:lnTo>
                      <a:pt x="2011" y="882"/>
                    </a:lnTo>
                    <a:lnTo>
                      <a:pt x="2051" y="836"/>
                    </a:lnTo>
                    <a:lnTo>
                      <a:pt x="1987" y="714"/>
                    </a:lnTo>
                    <a:lnTo>
                      <a:pt x="2039" y="633"/>
                    </a:lnTo>
                    <a:lnTo>
                      <a:pt x="2074" y="645"/>
                    </a:lnTo>
                    <a:lnTo>
                      <a:pt x="2126" y="737"/>
                    </a:lnTo>
                    <a:lnTo>
                      <a:pt x="2109" y="777"/>
                    </a:lnTo>
                    <a:lnTo>
                      <a:pt x="2126" y="894"/>
                    </a:lnTo>
                    <a:lnTo>
                      <a:pt x="2196" y="894"/>
                    </a:lnTo>
                    <a:lnTo>
                      <a:pt x="2226" y="911"/>
                    </a:lnTo>
                    <a:lnTo>
                      <a:pt x="2214" y="952"/>
                    </a:lnTo>
                    <a:lnTo>
                      <a:pt x="2243" y="1028"/>
                    </a:lnTo>
                    <a:lnTo>
                      <a:pt x="2341" y="941"/>
                    </a:lnTo>
                    <a:lnTo>
                      <a:pt x="2330" y="854"/>
                    </a:lnTo>
                    <a:lnTo>
                      <a:pt x="2423" y="882"/>
                    </a:lnTo>
                    <a:lnTo>
                      <a:pt x="2446" y="1045"/>
                    </a:lnTo>
                    <a:lnTo>
                      <a:pt x="2400" y="1138"/>
                    </a:lnTo>
                    <a:lnTo>
                      <a:pt x="2278" y="1121"/>
                    </a:lnTo>
                    <a:lnTo>
                      <a:pt x="2226" y="1178"/>
                    </a:lnTo>
                    <a:lnTo>
                      <a:pt x="2144" y="1178"/>
                    </a:lnTo>
                    <a:lnTo>
                      <a:pt x="2184" y="1225"/>
                    </a:lnTo>
                    <a:lnTo>
                      <a:pt x="2138" y="1300"/>
                    </a:lnTo>
                    <a:lnTo>
                      <a:pt x="2098" y="1290"/>
                    </a:lnTo>
                    <a:lnTo>
                      <a:pt x="2081" y="1318"/>
                    </a:lnTo>
                    <a:lnTo>
                      <a:pt x="2028" y="1324"/>
                    </a:lnTo>
                    <a:lnTo>
                      <a:pt x="2039" y="1370"/>
                    </a:lnTo>
                    <a:lnTo>
                      <a:pt x="1859" y="1499"/>
                    </a:lnTo>
                    <a:lnTo>
                      <a:pt x="1772" y="1644"/>
                    </a:lnTo>
                    <a:lnTo>
                      <a:pt x="1871" y="1748"/>
                    </a:lnTo>
                    <a:lnTo>
                      <a:pt x="1871" y="1858"/>
                    </a:lnTo>
                    <a:lnTo>
                      <a:pt x="2069" y="1933"/>
                    </a:lnTo>
                    <a:lnTo>
                      <a:pt x="2219" y="2085"/>
                    </a:lnTo>
                    <a:lnTo>
                      <a:pt x="2353" y="2114"/>
                    </a:lnTo>
                    <a:lnTo>
                      <a:pt x="2324" y="2195"/>
                    </a:lnTo>
                    <a:lnTo>
                      <a:pt x="2400" y="2219"/>
                    </a:lnTo>
                    <a:lnTo>
                      <a:pt x="2365" y="2306"/>
                    </a:lnTo>
                    <a:lnTo>
                      <a:pt x="2463" y="2445"/>
                    </a:lnTo>
                    <a:lnTo>
                      <a:pt x="2545" y="2434"/>
                    </a:lnTo>
                    <a:lnTo>
                      <a:pt x="2550" y="2311"/>
                    </a:lnTo>
                    <a:lnTo>
                      <a:pt x="2458" y="2230"/>
                    </a:lnTo>
                    <a:lnTo>
                      <a:pt x="2481" y="2149"/>
                    </a:lnTo>
                    <a:lnTo>
                      <a:pt x="2597" y="2055"/>
                    </a:lnTo>
                    <a:lnTo>
                      <a:pt x="2562" y="1858"/>
                    </a:lnTo>
                    <a:lnTo>
                      <a:pt x="2510" y="1841"/>
                    </a:lnTo>
                    <a:lnTo>
                      <a:pt x="2516" y="1783"/>
                    </a:lnTo>
                    <a:lnTo>
                      <a:pt x="2585" y="1713"/>
                    </a:lnTo>
                    <a:lnTo>
                      <a:pt x="2562" y="1661"/>
                    </a:lnTo>
                    <a:lnTo>
                      <a:pt x="2557" y="1510"/>
                    </a:lnTo>
                    <a:lnTo>
                      <a:pt x="2697" y="1527"/>
                    </a:lnTo>
                    <a:lnTo>
                      <a:pt x="2766" y="1504"/>
                    </a:lnTo>
                    <a:lnTo>
                      <a:pt x="2847" y="1562"/>
                    </a:lnTo>
                    <a:lnTo>
                      <a:pt x="2864" y="1603"/>
                    </a:lnTo>
                    <a:lnTo>
                      <a:pt x="2964" y="1684"/>
                    </a:lnTo>
                    <a:lnTo>
                      <a:pt x="2981" y="1812"/>
                    </a:lnTo>
                    <a:lnTo>
                      <a:pt x="3028" y="1841"/>
                    </a:lnTo>
                    <a:lnTo>
                      <a:pt x="3091" y="1853"/>
                    </a:lnTo>
                    <a:lnTo>
                      <a:pt x="3150" y="1708"/>
                    </a:lnTo>
                    <a:lnTo>
                      <a:pt x="3255" y="1864"/>
                    </a:lnTo>
                    <a:lnTo>
                      <a:pt x="3342" y="1899"/>
                    </a:lnTo>
                    <a:lnTo>
                      <a:pt x="3335" y="1975"/>
                    </a:lnTo>
                    <a:lnTo>
                      <a:pt x="3429" y="2090"/>
                    </a:lnTo>
                    <a:lnTo>
                      <a:pt x="3614" y="2090"/>
                    </a:lnTo>
                    <a:lnTo>
                      <a:pt x="3661" y="2132"/>
                    </a:lnTo>
                    <a:lnTo>
                      <a:pt x="3667" y="2224"/>
                    </a:lnTo>
                    <a:lnTo>
                      <a:pt x="3724" y="2299"/>
                    </a:lnTo>
                    <a:lnTo>
                      <a:pt x="3724" y="2352"/>
                    </a:lnTo>
                    <a:lnTo>
                      <a:pt x="3679" y="2376"/>
                    </a:lnTo>
                    <a:lnTo>
                      <a:pt x="3586" y="2498"/>
                    </a:lnTo>
                    <a:lnTo>
                      <a:pt x="3446" y="2544"/>
                    </a:lnTo>
                    <a:lnTo>
                      <a:pt x="3272" y="2550"/>
                    </a:lnTo>
                    <a:lnTo>
                      <a:pt x="3138" y="2695"/>
                    </a:lnTo>
                    <a:lnTo>
                      <a:pt x="3033" y="2753"/>
                    </a:lnTo>
                    <a:lnTo>
                      <a:pt x="2969" y="2834"/>
                    </a:lnTo>
                    <a:lnTo>
                      <a:pt x="3074" y="2829"/>
                    </a:lnTo>
                    <a:lnTo>
                      <a:pt x="3255" y="2678"/>
                    </a:lnTo>
                    <a:lnTo>
                      <a:pt x="3272" y="2666"/>
                    </a:lnTo>
                    <a:lnTo>
                      <a:pt x="3335" y="2707"/>
                    </a:lnTo>
                    <a:lnTo>
                      <a:pt x="3370" y="2759"/>
                    </a:lnTo>
                    <a:lnTo>
                      <a:pt x="3312" y="2800"/>
                    </a:lnTo>
                    <a:lnTo>
                      <a:pt x="3347" y="2805"/>
                    </a:lnTo>
                    <a:lnTo>
                      <a:pt x="3342" y="2881"/>
                    </a:lnTo>
                    <a:lnTo>
                      <a:pt x="3562" y="2956"/>
                    </a:lnTo>
                    <a:lnTo>
                      <a:pt x="3469" y="3014"/>
                    </a:lnTo>
                    <a:lnTo>
                      <a:pt x="3347" y="3160"/>
                    </a:lnTo>
                    <a:lnTo>
                      <a:pt x="3312" y="3108"/>
                    </a:lnTo>
                    <a:lnTo>
                      <a:pt x="3370" y="3009"/>
                    </a:lnTo>
                    <a:lnTo>
                      <a:pt x="3272" y="3044"/>
                    </a:lnTo>
                    <a:lnTo>
                      <a:pt x="3248" y="3056"/>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93" name="Google Shape;2893;g805494e7d0_2_86"/>
              <p:cNvSpPr/>
              <p:nvPr/>
            </p:nvSpPr>
            <p:spPr>
              <a:xfrm rot="-880584">
                <a:off x="4196" y="543"/>
                <a:ext cx="409" cy="278"/>
              </a:xfrm>
              <a:custGeom>
                <a:avLst/>
                <a:gdLst/>
                <a:ahLst/>
                <a:cxnLst/>
                <a:rect l="l" t="t" r="r" b="b"/>
                <a:pathLst>
                  <a:path w="3767" h="2992" extrusionOk="0">
                    <a:moveTo>
                      <a:pt x="570" y="59"/>
                    </a:moveTo>
                    <a:lnTo>
                      <a:pt x="505" y="52"/>
                    </a:lnTo>
                    <a:lnTo>
                      <a:pt x="425" y="0"/>
                    </a:lnTo>
                    <a:lnTo>
                      <a:pt x="413" y="140"/>
                    </a:lnTo>
                    <a:lnTo>
                      <a:pt x="296" y="314"/>
                    </a:lnTo>
                    <a:lnTo>
                      <a:pt x="174" y="361"/>
                    </a:lnTo>
                    <a:lnTo>
                      <a:pt x="157" y="465"/>
                    </a:lnTo>
                    <a:lnTo>
                      <a:pt x="69" y="535"/>
                    </a:lnTo>
                    <a:lnTo>
                      <a:pt x="12" y="802"/>
                    </a:lnTo>
                    <a:lnTo>
                      <a:pt x="0" y="1116"/>
                    </a:lnTo>
                    <a:lnTo>
                      <a:pt x="122" y="1302"/>
                    </a:lnTo>
                    <a:lnTo>
                      <a:pt x="128" y="1360"/>
                    </a:lnTo>
                    <a:lnTo>
                      <a:pt x="320" y="1487"/>
                    </a:lnTo>
                    <a:lnTo>
                      <a:pt x="442" y="1726"/>
                    </a:lnTo>
                    <a:lnTo>
                      <a:pt x="697" y="1830"/>
                    </a:lnTo>
                    <a:lnTo>
                      <a:pt x="709" y="1796"/>
                    </a:lnTo>
                    <a:lnTo>
                      <a:pt x="831" y="1836"/>
                    </a:lnTo>
                    <a:lnTo>
                      <a:pt x="896" y="1946"/>
                    </a:lnTo>
                    <a:lnTo>
                      <a:pt x="906" y="2080"/>
                    </a:lnTo>
                    <a:lnTo>
                      <a:pt x="959" y="2162"/>
                    </a:lnTo>
                    <a:lnTo>
                      <a:pt x="1116" y="2162"/>
                    </a:lnTo>
                    <a:lnTo>
                      <a:pt x="1180" y="2423"/>
                    </a:lnTo>
                    <a:lnTo>
                      <a:pt x="1255" y="2551"/>
                    </a:lnTo>
                    <a:lnTo>
                      <a:pt x="1320" y="2591"/>
                    </a:lnTo>
                    <a:lnTo>
                      <a:pt x="1372" y="2399"/>
                    </a:lnTo>
                    <a:lnTo>
                      <a:pt x="1424" y="2353"/>
                    </a:lnTo>
                    <a:lnTo>
                      <a:pt x="1703" y="2336"/>
                    </a:lnTo>
                    <a:lnTo>
                      <a:pt x="1766" y="2376"/>
                    </a:lnTo>
                    <a:lnTo>
                      <a:pt x="1790" y="2388"/>
                    </a:lnTo>
                    <a:lnTo>
                      <a:pt x="1848" y="2382"/>
                    </a:lnTo>
                    <a:lnTo>
                      <a:pt x="1878" y="2429"/>
                    </a:lnTo>
                    <a:lnTo>
                      <a:pt x="1918" y="2446"/>
                    </a:lnTo>
                    <a:lnTo>
                      <a:pt x="1941" y="2486"/>
                    </a:lnTo>
                    <a:lnTo>
                      <a:pt x="2000" y="2458"/>
                    </a:lnTo>
                    <a:lnTo>
                      <a:pt x="2028" y="2486"/>
                    </a:lnTo>
                    <a:lnTo>
                      <a:pt x="2063" y="2481"/>
                    </a:lnTo>
                    <a:lnTo>
                      <a:pt x="2046" y="2399"/>
                    </a:lnTo>
                    <a:lnTo>
                      <a:pt x="2185" y="2429"/>
                    </a:lnTo>
                    <a:lnTo>
                      <a:pt x="2232" y="2406"/>
                    </a:lnTo>
                    <a:lnTo>
                      <a:pt x="2307" y="2434"/>
                    </a:lnTo>
                    <a:lnTo>
                      <a:pt x="2325" y="2481"/>
                    </a:lnTo>
                    <a:lnTo>
                      <a:pt x="2499" y="2528"/>
                    </a:lnTo>
                    <a:lnTo>
                      <a:pt x="2569" y="2591"/>
                    </a:lnTo>
                    <a:lnTo>
                      <a:pt x="2540" y="2765"/>
                    </a:lnTo>
                    <a:lnTo>
                      <a:pt x="2586" y="2789"/>
                    </a:lnTo>
                    <a:lnTo>
                      <a:pt x="2604" y="2882"/>
                    </a:lnTo>
                    <a:lnTo>
                      <a:pt x="2633" y="2962"/>
                    </a:lnTo>
                    <a:lnTo>
                      <a:pt x="2628" y="2992"/>
                    </a:lnTo>
                    <a:lnTo>
                      <a:pt x="2708" y="2945"/>
                    </a:lnTo>
                    <a:lnTo>
                      <a:pt x="2743" y="2830"/>
                    </a:lnTo>
                    <a:lnTo>
                      <a:pt x="2696" y="2516"/>
                    </a:lnTo>
                    <a:lnTo>
                      <a:pt x="2731" y="2382"/>
                    </a:lnTo>
                    <a:lnTo>
                      <a:pt x="3069" y="2173"/>
                    </a:lnTo>
                    <a:lnTo>
                      <a:pt x="3121" y="2085"/>
                    </a:lnTo>
                    <a:lnTo>
                      <a:pt x="3197" y="2068"/>
                    </a:lnTo>
                    <a:lnTo>
                      <a:pt x="3121" y="1918"/>
                    </a:lnTo>
                    <a:lnTo>
                      <a:pt x="3127" y="1859"/>
                    </a:lnTo>
                    <a:lnTo>
                      <a:pt x="3150" y="1906"/>
                    </a:lnTo>
                    <a:lnTo>
                      <a:pt x="3179" y="1888"/>
                    </a:lnTo>
                    <a:lnTo>
                      <a:pt x="3197" y="1818"/>
                    </a:lnTo>
                    <a:lnTo>
                      <a:pt x="3307" y="1719"/>
                    </a:lnTo>
                    <a:lnTo>
                      <a:pt x="3331" y="1644"/>
                    </a:lnTo>
                    <a:lnTo>
                      <a:pt x="3505" y="1604"/>
                    </a:lnTo>
                    <a:lnTo>
                      <a:pt x="3586" y="1505"/>
                    </a:lnTo>
                    <a:lnTo>
                      <a:pt x="3540" y="1510"/>
                    </a:lnTo>
                    <a:lnTo>
                      <a:pt x="3533" y="1475"/>
                    </a:lnTo>
                    <a:lnTo>
                      <a:pt x="3690" y="1330"/>
                    </a:lnTo>
                    <a:lnTo>
                      <a:pt x="3732" y="1337"/>
                    </a:lnTo>
                    <a:lnTo>
                      <a:pt x="3767" y="1285"/>
                    </a:lnTo>
                    <a:lnTo>
                      <a:pt x="3714" y="1273"/>
                    </a:lnTo>
                    <a:lnTo>
                      <a:pt x="3662" y="1197"/>
                    </a:lnTo>
                    <a:lnTo>
                      <a:pt x="3708" y="1116"/>
                    </a:lnTo>
                    <a:lnTo>
                      <a:pt x="3627" y="1104"/>
                    </a:lnTo>
                    <a:lnTo>
                      <a:pt x="3488" y="1255"/>
                    </a:lnTo>
                    <a:lnTo>
                      <a:pt x="3307" y="1290"/>
                    </a:lnTo>
                    <a:lnTo>
                      <a:pt x="3174" y="1360"/>
                    </a:lnTo>
                    <a:lnTo>
                      <a:pt x="3156" y="1430"/>
                    </a:lnTo>
                    <a:lnTo>
                      <a:pt x="3086" y="1458"/>
                    </a:lnTo>
                    <a:lnTo>
                      <a:pt x="3017" y="1470"/>
                    </a:lnTo>
                    <a:lnTo>
                      <a:pt x="2912" y="1552"/>
                    </a:lnTo>
                    <a:lnTo>
                      <a:pt x="2818" y="1580"/>
                    </a:lnTo>
                    <a:lnTo>
                      <a:pt x="2738" y="1528"/>
                    </a:lnTo>
                    <a:lnTo>
                      <a:pt x="2731" y="1505"/>
                    </a:lnTo>
                    <a:lnTo>
                      <a:pt x="2749" y="1493"/>
                    </a:lnTo>
                    <a:lnTo>
                      <a:pt x="2778" y="1435"/>
                    </a:lnTo>
                    <a:lnTo>
                      <a:pt x="2731" y="1430"/>
                    </a:lnTo>
                    <a:lnTo>
                      <a:pt x="2714" y="1424"/>
                    </a:lnTo>
                    <a:lnTo>
                      <a:pt x="2714" y="1360"/>
                    </a:lnTo>
                    <a:lnTo>
                      <a:pt x="2645" y="1395"/>
                    </a:lnTo>
                    <a:lnTo>
                      <a:pt x="2621" y="1348"/>
                    </a:lnTo>
                    <a:lnTo>
                      <a:pt x="2703" y="1285"/>
                    </a:lnTo>
                    <a:lnTo>
                      <a:pt x="2673" y="1197"/>
                    </a:lnTo>
                    <a:lnTo>
                      <a:pt x="2638" y="1185"/>
                    </a:lnTo>
                    <a:lnTo>
                      <a:pt x="2610" y="1173"/>
                    </a:lnTo>
                    <a:lnTo>
                      <a:pt x="2523" y="1238"/>
                    </a:lnTo>
                    <a:lnTo>
                      <a:pt x="2482" y="1337"/>
                    </a:lnTo>
                    <a:lnTo>
                      <a:pt x="2488" y="1424"/>
                    </a:lnTo>
                    <a:lnTo>
                      <a:pt x="2453" y="1470"/>
                    </a:lnTo>
                    <a:lnTo>
                      <a:pt x="2389" y="1505"/>
                    </a:lnTo>
                    <a:lnTo>
                      <a:pt x="2314" y="1424"/>
                    </a:lnTo>
                    <a:lnTo>
                      <a:pt x="2366" y="1278"/>
                    </a:lnTo>
                    <a:lnTo>
                      <a:pt x="2429" y="1220"/>
                    </a:lnTo>
                    <a:lnTo>
                      <a:pt x="2394" y="1208"/>
                    </a:lnTo>
                    <a:lnTo>
                      <a:pt x="2406" y="1163"/>
                    </a:lnTo>
                    <a:lnTo>
                      <a:pt x="2528" y="1110"/>
                    </a:lnTo>
                    <a:lnTo>
                      <a:pt x="2656" y="1151"/>
                    </a:lnTo>
                    <a:lnTo>
                      <a:pt x="2569" y="1063"/>
                    </a:lnTo>
                    <a:lnTo>
                      <a:pt x="2499" y="1075"/>
                    </a:lnTo>
                    <a:lnTo>
                      <a:pt x="2441" y="1034"/>
                    </a:lnTo>
                    <a:lnTo>
                      <a:pt x="2476" y="1034"/>
                    </a:lnTo>
                    <a:lnTo>
                      <a:pt x="2436" y="976"/>
                    </a:lnTo>
                    <a:lnTo>
                      <a:pt x="2296" y="1046"/>
                    </a:lnTo>
                    <a:lnTo>
                      <a:pt x="2220" y="1017"/>
                    </a:lnTo>
                    <a:lnTo>
                      <a:pt x="2197" y="1034"/>
                    </a:lnTo>
                    <a:lnTo>
                      <a:pt x="2145" y="1017"/>
                    </a:lnTo>
                    <a:lnTo>
                      <a:pt x="2272" y="936"/>
                    </a:lnTo>
                    <a:lnTo>
                      <a:pt x="2406" y="907"/>
                    </a:lnTo>
                    <a:lnTo>
                      <a:pt x="1616" y="587"/>
                    </a:lnTo>
                    <a:lnTo>
                      <a:pt x="1023" y="302"/>
                    </a:lnTo>
                    <a:lnTo>
                      <a:pt x="570" y="59"/>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94" name="Google Shape;2894;g805494e7d0_2_86"/>
              <p:cNvSpPr/>
              <p:nvPr/>
            </p:nvSpPr>
            <p:spPr>
              <a:xfrm rot="-880584">
                <a:off x="4233" y="688"/>
                <a:ext cx="214" cy="210"/>
              </a:xfrm>
              <a:custGeom>
                <a:avLst/>
                <a:gdLst/>
                <a:ahLst/>
                <a:cxnLst/>
                <a:rect l="l" t="t" r="r" b="b"/>
                <a:pathLst>
                  <a:path w="1976" h="2259" extrusionOk="0">
                    <a:moveTo>
                      <a:pt x="47" y="0"/>
                    </a:moveTo>
                    <a:lnTo>
                      <a:pt x="47" y="40"/>
                    </a:lnTo>
                    <a:lnTo>
                      <a:pt x="18" y="122"/>
                    </a:lnTo>
                    <a:lnTo>
                      <a:pt x="105" y="453"/>
                    </a:lnTo>
                    <a:lnTo>
                      <a:pt x="65" y="499"/>
                    </a:lnTo>
                    <a:lnTo>
                      <a:pt x="0" y="453"/>
                    </a:lnTo>
                    <a:lnTo>
                      <a:pt x="47" y="633"/>
                    </a:lnTo>
                    <a:lnTo>
                      <a:pt x="82" y="645"/>
                    </a:lnTo>
                    <a:lnTo>
                      <a:pt x="128" y="720"/>
                    </a:lnTo>
                    <a:lnTo>
                      <a:pt x="76" y="847"/>
                    </a:lnTo>
                    <a:lnTo>
                      <a:pt x="198" y="1063"/>
                    </a:lnTo>
                    <a:lnTo>
                      <a:pt x="222" y="959"/>
                    </a:lnTo>
                    <a:lnTo>
                      <a:pt x="180" y="900"/>
                    </a:lnTo>
                    <a:lnTo>
                      <a:pt x="187" y="802"/>
                    </a:lnTo>
                    <a:lnTo>
                      <a:pt x="140" y="580"/>
                    </a:lnTo>
                    <a:lnTo>
                      <a:pt x="180" y="488"/>
                    </a:lnTo>
                    <a:lnTo>
                      <a:pt x="117" y="359"/>
                    </a:lnTo>
                    <a:lnTo>
                      <a:pt x="152" y="214"/>
                    </a:lnTo>
                    <a:lnTo>
                      <a:pt x="187" y="232"/>
                    </a:lnTo>
                    <a:lnTo>
                      <a:pt x="250" y="307"/>
                    </a:lnTo>
                    <a:lnTo>
                      <a:pt x="285" y="603"/>
                    </a:lnTo>
                    <a:lnTo>
                      <a:pt x="326" y="627"/>
                    </a:lnTo>
                    <a:lnTo>
                      <a:pt x="302" y="703"/>
                    </a:lnTo>
                    <a:lnTo>
                      <a:pt x="332" y="795"/>
                    </a:lnTo>
                    <a:lnTo>
                      <a:pt x="372" y="807"/>
                    </a:lnTo>
                    <a:lnTo>
                      <a:pt x="332" y="859"/>
                    </a:lnTo>
                    <a:lnTo>
                      <a:pt x="407" y="935"/>
                    </a:lnTo>
                    <a:lnTo>
                      <a:pt x="506" y="1290"/>
                    </a:lnTo>
                    <a:lnTo>
                      <a:pt x="396" y="1423"/>
                    </a:lnTo>
                    <a:lnTo>
                      <a:pt x="524" y="1667"/>
                    </a:lnTo>
                    <a:lnTo>
                      <a:pt x="634" y="1731"/>
                    </a:lnTo>
                    <a:lnTo>
                      <a:pt x="762" y="1853"/>
                    </a:lnTo>
                    <a:lnTo>
                      <a:pt x="1070" y="2050"/>
                    </a:lnTo>
                    <a:lnTo>
                      <a:pt x="1244" y="2073"/>
                    </a:lnTo>
                    <a:lnTo>
                      <a:pt x="1343" y="2143"/>
                    </a:lnTo>
                    <a:lnTo>
                      <a:pt x="1378" y="2259"/>
                    </a:lnTo>
                    <a:lnTo>
                      <a:pt x="1406" y="2213"/>
                    </a:lnTo>
                    <a:lnTo>
                      <a:pt x="1605" y="2167"/>
                    </a:lnTo>
                    <a:lnTo>
                      <a:pt x="1558" y="2091"/>
                    </a:lnTo>
                    <a:lnTo>
                      <a:pt x="1616" y="2033"/>
                    </a:lnTo>
                    <a:lnTo>
                      <a:pt x="1709" y="2068"/>
                    </a:lnTo>
                    <a:lnTo>
                      <a:pt x="1779" y="2062"/>
                    </a:lnTo>
                    <a:lnTo>
                      <a:pt x="1837" y="2085"/>
                    </a:lnTo>
                    <a:lnTo>
                      <a:pt x="1866" y="2033"/>
                    </a:lnTo>
                    <a:lnTo>
                      <a:pt x="1912" y="1998"/>
                    </a:lnTo>
                    <a:lnTo>
                      <a:pt x="1912" y="1923"/>
                    </a:lnTo>
                    <a:lnTo>
                      <a:pt x="1976" y="1864"/>
                    </a:lnTo>
                    <a:lnTo>
                      <a:pt x="1971" y="1783"/>
                    </a:lnTo>
                    <a:lnTo>
                      <a:pt x="1895" y="1754"/>
                    </a:lnTo>
                    <a:lnTo>
                      <a:pt x="1720" y="1783"/>
                    </a:lnTo>
                    <a:lnTo>
                      <a:pt x="1663" y="1905"/>
                    </a:lnTo>
                    <a:lnTo>
                      <a:pt x="1598" y="1958"/>
                    </a:lnTo>
                    <a:lnTo>
                      <a:pt x="1465" y="1911"/>
                    </a:lnTo>
                    <a:lnTo>
                      <a:pt x="1372" y="1916"/>
                    </a:lnTo>
                    <a:lnTo>
                      <a:pt x="1181" y="1812"/>
                    </a:lnTo>
                    <a:lnTo>
                      <a:pt x="1128" y="1748"/>
                    </a:lnTo>
                    <a:lnTo>
                      <a:pt x="1169" y="1602"/>
                    </a:lnTo>
                    <a:lnTo>
                      <a:pt x="1099" y="1498"/>
                    </a:lnTo>
                    <a:lnTo>
                      <a:pt x="1139" y="1365"/>
                    </a:lnTo>
                    <a:lnTo>
                      <a:pt x="1215" y="1307"/>
                    </a:lnTo>
                    <a:lnTo>
                      <a:pt x="1244" y="1225"/>
                    </a:lnTo>
                    <a:lnTo>
                      <a:pt x="1128" y="1103"/>
                    </a:lnTo>
                    <a:lnTo>
                      <a:pt x="1029" y="795"/>
                    </a:lnTo>
                    <a:lnTo>
                      <a:pt x="884" y="802"/>
                    </a:lnTo>
                    <a:lnTo>
                      <a:pt x="825" y="725"/>
                    </a:lnTo>
                    <a:lnTo>
                      <a:pt x="815" y="586"/>
                    </a:lnTo>
                    <a:lnTo>
                      <a:pt x="750" y="476"/>
                    </a:lnTo>
                    <a:lnTo>
                      <a:pt x="628" y="436"/>
                    </a:lnTo>
                    <a:lnTo>
                      <a:pt x="616" y="470"/>
                    </a:lnTo>
                    <a:lnTo>
                      <a:pt x="367" y="366"/>
                    </a:lnTo>
                    <a:lnTo>
                      <a:pt x="239" y="127"/>
                    </a:lnTo>
                    <a:lnTo>
                      <a:pt x="47"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95" name="Google Shape;2895;g805494e7d0_2_86"/>
              <p:cNvSpPr/>
              <p:nvPr/>
            </p:nvSpPr>
            <p:spPr>
              <a:xfrm rot="-880584">
                <a:off x="4443" y="855"/>
                <a:ext cx="14" cy="16"/>
              </a:xfrm>
              <a:custGeom>
                <a:avLst/>
                <a:gdLst/>
                <a:ahLst/>
                <a:cxnLst/>
                <a:rect l="l" t="t" r="r" b="b"/>
                <a:pathLst>
                  <a:path w="128" h="175" extrusionOk="0">
                    <a:moveTo>
                      <a:pt x="128" y="23"/>
                    </a:moveTo>
                    <a:lnTo>
                      <a:pt x="99" y="116"/>
                    </a:lnTo>
                    <a:lnTo>
                      <a:pt x="58" y="175"/>
                    </a:lnTo>
                    <a:lnTo>
                      <a:pt x="0" y="151"/>
                    </a:lnTo>
                    <a:lnTo>
                      <a:pt x="35" y="87"/>
                    </a:lnTo>
                    <a:lnTo>
                      <a:pt x="41" y="0"/>
                    </a:lnTo>
                    <a:lnTo>
                      <a:pt x="76" y="0"/>
                    </a:lnTo>
                    <a:lnTo>
                      <a:pt x="128" y="23"/>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96" name="Google Shape;2896;g805494e7d0_2_86"/>
              <p:cNvSpPr/>
              <p:nvPr/>
            </p:nvSpPr>
            <p:spPr>
              <a:xfrm rot="-880584">
                <a:off x="4409" y="857"/>
                <a:ext cx="43" cy="33"/>
              </a:xfrm>
              <a:custGeom>
                <a:avLst/>
                <a:gdLst/>
                <a:ahLst/>
                <a:cxnLst/>
                <a:rect l="l" t="t" r="r" b="b"/>
                <a:pathLst>
                  <a:path w="395" h="348" extrusionOk="0">
                    <a:moveTo>
                      <a:pt x="383" y="204"/>
                    </a:moveTo>
                    <a:lnTo>
                      <a:pt x="395" y="221"/>
                    </a:lnTo>
                    <a:lnTo>
                      <a:pt x="319" y="249"/>
                    </a:lnTo>
                    <a:lnTo>
                      <a:pt x="291" y="302"/>
                    </a:lnTo>
                    <a:lnTo>
                      <a:pt x="226" y="348"/>
                    </a:lnTo>
                    <a:lnTo>
                      <a:pt x="92" y="319"/>
                    </a:lnTo>
                    <a:lnTo>
                      <a:pt x="0" y="226"/>
                    </a:lnTo>
                    <a:lnTo>
                      <a:pt x="22" y="180"/>
                    </a:lnTo>
                    <a:lnTo>
                      <a:pt x="221" y="127"/>
                    </a:lnTo>
                    <a:lnTo>
                      <a:pt x="174" y="58"/>
                    </a:lnTo>
                    <a:lnTo>
                      <a:pt x="226" y="0"/>
                    </a:lnTo>
                    <a:lnTo>
                      <a:pt x="325" y="35"/>
                    </a:lnTo>
                    <a:lnTo>
                      <a:pt x="366" y="29"/>
                    </a:lnTo>
                    <a:lnTo>
                      <a:pt x="360" y="122"/>
                    </a:lnTo>
                    <a:lnTo>
                      <a:pt x="325" y="174"/>
                    </a:lnTo>
                    <a:lnTo>
                      <a:pt x="383" y="204"/>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97" name="Google Shape;2897;g805494e7d0_2_86"/>
              <p:cNvSpPr/>
              <p:nvPr/>
            </p:nvSpPr>
            <p:spPr>
              <a:xfrm rot="-901102">
                <a:off x="4444" y="869"/>
                <a:ext cx="49" cy="23"/>
              </a:xfrm>
              <a:custGeom>
                <a:avLst/>
                <a:gdLst/>
                <a:ahLst/>
                <a:cxnLst/>
                <a:rect l="l" t="t" r="r" b="b"/>
                <a:pathLst>
                  <a:path w="458" h="249" extrusionOk="0">
                    <a:moveTo>
                      <a:pt x="104" y="0"/>
                    </a:moveTo>
                    <a:lnTo>
                      <a:pt x="28" y="23"/>
                    </a:lnTo>
                    <a:lnTo>
                      <a:pt x="0" y="87"/>
                    </a:lnTo>
                    <a:lnTo>
                      <a:pt x="122" y="127"/>
                    </a:lnTo>
                    <a:lnTo>
                      <a:pt x="122" y="232"/>
                    </a:lnTo>
                    <a:lnTo>
                      <a:pt x="133" y="249"/>
                    </a:lnTo>
                    <a:lnTo>
                      <a:pt x="249" y="220"/>
                    </a:lnTo>
                    <a:lnTo>
                      <a:pt x="290" y="227"/>
                    </a:lnTo>
                    <a:lnTo>
                      <a:pt x="458" y="115"/>
                    </a:lnTo>
                    <a:lnTo>
                      <a:pt x="441" y="93"/>
                    </a:lnTo>
                    <a:lnTo>
                      <a:pt x="127" y="46"/>
                    </a:lnTo>
                    <a:lnTo>
                      <a:pt x="104"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98" name="Google Shape;2898;g805494e7d0_2_86"/>
              <p:cNvSpPr/>
              <p:nvPr/>
            </p:nvSpPr>
            <p:spPr>
              <a:xfrm rot="-901102">
                <a:off x="4439" y="881"/>
                <a:ext cx="20" cy="15"/>
              </a:xfrm>
              <a:custGeom>
                <a:avLst/>
                <a:gdLst/>
                <a:ahLst/>
                <a:cxnLst/>
                <a:rect l="l" t="t" r="r" b="b"/>
                <a:pathLst>
                  <a:path w="187" h="151" extrusionOk="0">
                    <a:moveTo>
                      <a:pt x="65" y="0"/>
                    </a:moveTo>
                    <a:lnTo>
                      <a:pt x="187" y="46"/>
                    </a:lnTo>
                    <a:lnTo>
                      <a:pt x="187" y="151"/>
                    </a:lnTo>
                    <a:lnTo>
                      <a:pt x="75" y="111"/>
                    </a:lnTo>
                    <a:lnTo>
                      <a:pt x="0" y="46"/>
                    </a:lnTo>
                    <a:lnTo>
                      <a:pt x="65"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899" name="Google Shape;2899;g805494e7d0_2_86"/>
              <p:cNvSpPr/>
              <p:nvPr/>
            </p:nvSpPr>
            <p:spPr>
              <a:xfrm rot="-880584">
                <a:off x="4462" y="876"/>
                <a:ext cx="46" cy="35"/>
              </a:xfrm>
              <a:custGeom>
                <a:avLst/>
                <a:gdLst/>
                <a:ahLst/>
                <a:cxnLst/>
                <a:rect l="l" t="t" r="r" b="b"/>
                <a:pathLst>
                  <a:path w="425" h="377" extrusionOk="0">
                    <a:moveTo>
                      <a:pt x="116" y="349"/>
                    </a:moveTo>
                    <a:lnTo>
                      <a:pt x="203" y="377"/>
                    </a:lnTo>
                    <a:lnTo>
                      <a:pt x="226" y="342"/>
                    </a:lnTo>
                    <a:lnTo>
                      <a:pt x="268" y="354"/>
                    </a:lnTo>
                    <a:lnTo>
                      <a:pt x="279" y="279"/>
                    </a:lnTo>
                    <a:lnTo>
                      <a:pt x="425" y="110"/>
                    </a:lnTo>
                    <a:lnTo>
                      <a:pt x="425" y="58"/>
                    </a:lnTo>
                    <a:lnTo>
                      <a:pt x="325" y="0"/>
                    </a:lnTo>
                    <a:lnTo>
                      <a:pt x="157" y="105"/>
                    </a:lnTo>
                    <a:lnTo>
                      <a:pt x="111" y="98"/>
                    </a:lnTo>
                    <a:lnTo>
                      <a:pt x="0" y="127"/>
                    </a:lnTo>
                    <a:lnTo>
                      <a:pt x="87" y="284"/>
                    </a:lnTo>
                    <a:lnTo>
                      <a:pt x="116" y="319"/>
                    </a:lnTo>
                    <a:lnTo>
                      <a:pt x="116" y="349"/>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00" name="Google Shape;2900;g805494e7d0_2_86"/>
              <p:cNvSpPr/>
              <p:nvPr/>
            </p:nvSpPr>
            <p:spPr>
              <a:xfrm rot="-860960">
                <a:off x="4481" y="907"/>
                <a:ext cx="25" cy="25"/>
              </a:xfrm>
              <a:custGeom>
                <a:avLst/>
                <a:gdLst/>
                <a:ahLst/>
                <a:cxnLst/>
                <a:rect l="l" t="t" r="r" b="b"/>
                <a:pathLst>
                  <a:path w="226" h="274" extrusionOk="0">
                    <a:moveTo>
                      <a:pt x="5" y="12"/>
                    </a:moveTo>
                    <a:lnTo>
                      <a:pt x="92" y="35"/>
                    </a:lnTo>
                    <a:lnTo>
                      <a:pt x="115" y="0"/>
                    </a:lnTo>
                    <a:lnTo>
                      <a:pt x="157" y="12"/>
                    </a:lnTo>
                    <a:lnTo>
                      <a:pt x="139" y="122"/>
                    </a:lnTo>
                    <a:lnTo>
                      <a:pt x="220" y="180"/>
                    </a:lnTo>
                    <a:lnTo>
                      <a:pt x="226" y="209"/>
                    </a:lnTo>
                    <a:lnTo>
                      <a:pt x="214" y="274"/>
                    </a:lnTo>
                    <a:lnTo>
                      <a:pt x="197" y="262"/>
                    </a:lnTo>
                    <a:lnTo>
                      <a:pt x="0" y="52"/>
                    </a:lnTo>
                    <a:lnTo>
                      <a:pt x="5" y="12"/>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01" name="Google Shape;2901;g805494e7d0_2_86"/>
              <p:cNvSpPr/>
              <p:nvPr/>
            </p:nvSpPr>
            <p:spPr>
              <a:xfrm rot="-901102">
                <a:off x="4508" y="913"/>
                <a:ext cx="54" cy="27"/>
              </a:xfrm>
              <a:custGeom>
                <a:avLst/>
                <a:gdLst/>
                <a:ahLst/>
                <a:cxnLst/>
                <a:rect l="l" t="t" r="r" b="b"/>
                <a:pathLst>
                  <a:path w="506" h="285" extrusionOk="0">
                    <a:moveTo>
                      <a:pt x="12" y="0"/>
                    </a:moveTo>
                    <a:lnTo>
                      <a:pt x="111" y="64"/>
                    </a:lnTo>
                    <a:lnTo>
                      <a:pt x="326" y="6"/>
                    </a:lnTo>
                    <a:lnTo>
                      <a:pt x="477" y="104"/>
                    </a:lnTo>
                    <a:lnTo>
                      <a:pt x="506" y="250"/>
                    </a:lnTo>
                    <a:lnTo>
                      <a:pt x="448" y="285"/>
                    </a:lnTo>
                    <a:lnTo>
                      <a:pt x="355" y="198"/>
                    </a:lnTo>
                    <a:lnTo>
                      <a:pt x="390" y="169"/>
                    </a:lnTo>
                    <a:lnTo>
                      <a:pt x="396" y="151"/>
                    </a:lnTo>
                    <a:lnTo>
                      <a:pt x="314" y="87"/>
                    </a:lnTo>
                    <a:lnTo>
                      <a:pt x="268" y="104"/>
                    </a:lnTo>
                    <a:lnTo>
                      <a:pt x="180" y="111"/>
                    </a:lnTo>
                    <a:lnTo>
                      <a:pt x="262" y="181"/>
                    </a:lnTo>
                    <a:lnTo>
                      <a:pt x="204" y="198"/>
                    </a:lnTo>
                    <a:lnTo>
                      <a:pt x="0" y="94"/>
                    </a:lnTo>
                    <a:lnTo>
                      <a:pt x="18" y="29"/>
                    </a:lnTo>
                    <a:lnTo>
                      <a:pt x="12"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02" name="Google Shape;2902;g805494e7d0_2_86"/>
              <p:cNvSpPr/>
              <p:nvPr/>
            </p:nvSpPr>
            <p:spPr>
              <a:xfrm rot="-880584">
                <a:off x="4381" y="352"/>
                <a:ext cx="45" cy="25"/>
              </a:xfrm>
              <a:custGeom>
                <a:avLst/>
                <a:gdLst/>
                <a:ahLst/>
                <a:cxnLst/>
                <a:rect l="l" t="t" r="r" b="b"/>
                <a:pathLst>
                  <a:path w="412" h="268" extrusionOk="0">
                    <a:moveTo>
                      <a:pt x="365" y="0"/>
                    </a:moveTo>
                    <a:lnTo>
                      <a:pt x="302" y="12"/>
                    </a:lnTo>
                    <a:lnTo>
                      <a:pt x="290" y="87"/>
                    </a:lnTo>
                    <a:lnTo>
                      <a:pt x="261" y="104"/>
                    </a:lnTo>
                    <a:lnTo>
                      <a:pt x="220" y="87"/>
                    </a:lnTo>
                    <a:lnTo>
                      <a:pt x="185" y="81"/>
                    </a:lnTo>
                    <a:lnTo>
                      <a:pt x="157" y="81"/>
                    </a:lnTo>
                    <a:lnTo>
                      <a:pt x="150" y="6"/>
                    </a:lnTo>
                    <a:lnTo>
                      <a:pt x="110" y="0"/>
                    </a:lnTo>
                    <a:lnTo>
                      <a:pt x="46" y="17"/>
                    </a:lnTo>
                    <a:lnTo>
                      <a:pt x="70" y="69"/>
                    </a:lnTo>
                    <a:lnTo>
                      <a:pt x="58" y="87"/>
                    </a:lnTo>
                    <a:lnTo>
                      <a:pt x="5" y="104"/>
                    </a:lnTo>
                    <a:lnTo>
                      <a:pt x="5" y="139"/>
                    </a:lnTo>
                    <a:lnTo>
                      <a:pt x="58" y="163"/>
                    </a:lnTo>
                    <a:lnTo>
                      <a:pt x="70" y="191"/>
                    </a:lnTo>
                    <a:lnTo>
                      <a:pt x="0" y="221"/>
                    </a:lnTo>
                    <a:lnTo>
                      <a:pt x="23" y="268"/>
                    </a:lnTo>
                    <a:lnTo>
                      <a:pt x="139" y="268"/>
                    </a:lnTo>
                    <a:lnTo>
                      <a:pt x="192" y="226"/>
                    </a:lnTo>
                    <a:lnTo>
                      <a:pt x="261" y="250"/>
                    </a:lnTo>
                    <a:lnTo>
                      <a:pt x="302" y="250"/>
                    </a:lnTo>
                    <a:lnTo>
                      <a:pt x="337" y="203"/>
                    </a:lnTo>
                    <a:lnTo>
                      <a:pt x="319" y="151"/>
                    </a:lnTo>
                    <a:lnTo>
                      <a:pt x="372" y="104"/>
                    </a:lnTo>
                    <a:lnTo>
                      <a:pt x="412" y="17"/>
                    </a:lnTo>
                    <a:lnTo>
                      <a:pt x="372" y="0"/>
                    </a:lnTo>
                    <a:lnTo>
                      <a:pt x="365"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03" name="Google Shape;2903;g805494e7d0_2_86"/>
              <p:cNvSpPr/>
              <p:nvPr/>
            </p:nvSpPr>
            <p:spPr>
              <a:xfrm>
                <a:off x="2863" y="807"/>
                <a:ext cx="67" cy="40"/>
              </a:xfrm>
              <a:custGeom>
                <a:avLst/>
                <a:gdLst/>
                <a:ahLst/>
                <a:cxnLst/>
                <a:rect l="l" t="t" r="r" b="b"/>
                <a:pathLst>
                  <a:path w="605" h="430" extrusionOk="0">
                    <a:moveTo>
                      <a:pt x="331" y="18"/>
                    </a:moveTo>
                    <a:lnTo>
                      <a:pt x="605" y="0"/>
                    </a:lnTo>
                    <a:lnTo>
                      <a:pt x="582" y="70"/>
                    </a:lnTo>
                    <a:lnTo>
                      <a:pt x="384" y="81"/>
                    </a:lnTo>
                    <a:lnTo>
                      <a:pt x="343" y="255"/>
                    </a:lnTo>
                    <a:lnTo>
                      <a:pt x="256" y="273"/>
                    </a:lnTo>
                    <a:lnTo>
                      <a:pt x="233" y="401"/>
                    </a:lnTo>
                    <a:lnTo>
                      <a:pt x="12" y="430"/>
                    </a:lnTo>
                    <a:lnTo>
                      <a:pt x="0" y="389"/>
                    </a:lnTo>
                    <a:lnTo>
                      <a:pt x="227" y="93"/>
                    </a:lnTo>
                    <a:lnTo>
                      <a:pt x="331" y="18"/>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04" name="Google Shape;2904;g805494e7d0_2_86"/>
              <p:cNvSpPr/>
              <p:nvPr/>
            </p:nvSpPr>
            <p:spPr>
              <a:xfrm>
                <a:off x="2899" y="751"/>
                <a:ext cx="88" cy="59"/>
              </a:xfrm>
              <a:custGeom>
                <a:avLst/>
                <a:gdLst/>
                <a:ahLst/>
                <a:cxnLst/>
                <a:rect l="l" t="t" r="r" b="b"/>
                <a:pathLst>
                  <a:path w="814" h="616" extrusionOk="0">
                    <a:moveTo>
                      <a:pt x="0" y="616"/>
                    </a:moveTo>
                    <a:lnTo>
                      <a:pt x="262" y="418"/>
                    </a:lnTo>
                    <a:lnTo>
                      <a:pt x="274" y="337"/>
                    </a:lnTo>
                    <a:lnTo>
                      <a:pt x="378" y="203"/>
                    </a:lnTo>
                    <a:lnTo>
                      <a:pt x="535" y="105"/>
                    </a:lnTo>
                    <a:lnTo>
                      <a:pt x="587" y="0"/>
                    </a:lnTo>
                    <a:lnTo>
                      <a:pt x="720" y="70"/>
                    </a:lnTo>
                    <a:lnTo>
                      <a:pt x="814" y="58"/>
                    </a:lnTo>
                    <a:lnTo>
                      <a:pt x="802" y="238"/>
                    </a:lnTo>
                    <a:lnTo>
                      <a:pt x="715" y="262"/>
                    </a:lnTo>
                    <a:lnTo>
                      <a:pt x="529" y="429"/>
                    </a:lnTo>
                    <a:lnTo>
                      <a:pt x="354" y="464"/>
                    </a:lnTo>
                    <a:lnTo>
                      <a:pt x="279" y="598"/>
                    </a:lnTo>
                    <a:lnTo>
                      <a:pt x="12" y="616"/>
                    </a:lnTo>
                    <a:lnTo>
                      <a:pt x="0" y="616"/>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05" name="Google Shape;2905;g805494e7d0_2_86"/>
              <p:cNvSpPr/>
              <p:nvPr/>
            </p:nvSpPr>
            <p:spPr>
              <a:xfrm>
                <a:off x="2861" y="807"/>
                <a:ext cx="89" cy="80"/>
              </a:xfrm>
              <a:custGeom>
                <a:avLst/>
                <a:gdLst/>
                <a:ahLst/>
                <a:cxnLst/>
                <a:rect l="l" t="t" r="r" b="b"/>
                <a:pathLst>
                  <a:path w="825" h="860" extrusionOk="0">
                    <a:moveTo>
                      <a:pt x="628" y="0"/>
                    </a:moveTo>
                    <a:lnTo>
                      <a:pt x="825" y="151"/>
                    </a:lnTo>
                    <a:lnTo>
                      <a:pt x="721" y="145"/>
                    </a:lnTo>
                    <a:lnTo>
                      <a:pt x="675" y="708"/>
                    </a:lnTo>
                    <a:lnTo>
                      <a:pt x="745" y="708"/>
                    </a:lnTo>
                    <a:lnTo>
                      <a:pt x="738" y="790"/>
                    </a:lnTo>
                    <a:lnTo>
                      <a:pt x="506" y="790"/>
                    </a:lnTo>
                    <a:lnTo>
                      <a:pt x="476" y="750"/>
                    </a:lnTo>
                    <a:lnTo>
                      <a:pt x="442" y="825"/>
                    </a:lnTo>
                    <a:lnTo>
                      <a:pt x="361" y="825"/>
                    </a:lnTo>
                    <a:lnTo>
                      <a:pt x="344" y="790"/>
                    </a:lnTo>
                    <a:lnTo>
                      <a:pt x="320" y="860"/>
                    </a:lnTo>
                    <a:lnTo>
                      <a:pt x="274" y="860"/>
                    </a:lnTo>
                    <a:lnTo>
                      <a:pt x="128" y="732"/>
                    </a:lnTo>
                    <a:lnTo>
                      <a:pt x="75" y="778"/>
                    </a:lnTo>
                    <a:lnTo>
                      <a:pt x="0" y="773"/>
                    </a:lnTo>
                    <a:lnTo>
                      <a:pt x="40" y="708"/>
                    </a:lnTo>
                    <a:lnTo>
                      <a:pt x="30" y="529"/>
                    </a:lnTo>
                    <a:lnTo>
                      <a:pt x="58" y="482"/>
                    </a:lnTo>
                    <a:lnTo>
                      <a:pt x="35" y="430"/>
                    </a:lnTo>
                    <a:lnTo>
                      <a:pt x="256" y="401"/>
                    </a:lnTo>
                    <a:lnTo>
                      <a:pt x="279" y="273"/>
                    </a:lnTo>
                    <a:lnTo>
                      <a:pt x="366" y="255"/>
                    </a:lnTo>
                    <a:lnTo>
                      <a:pt x="407" y="81"/>
                    </a:lnTo>
                    <a:lnTo>
                      <a:pt x="605" y="70"/>
                    </a:lnTo>
                    <a:lnTo>
                      <a:pt x="628"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06" name="Google Shape;2906;g805494e7d0_2_86"/>
              <p:cNvSpPr/>
              <p:nvPr/>
            </p:nvSpPr>
            <p:spPr>
              <a:xfrm>
                <a:off x="2929" y="744"/>
                <a:ext cx="128" cy="113"/>
              </a:xfrm>
              <a:custGeom>
                <a:avLst/>
                <a:gdLst/>
                <a:ahLst/>
                <a:cxnLst/>
                <a:rect l="l" t="t" r="r" b="b"/>
                <a:pathLst>
                  <a:path w="1191" h="1226" extrusionOk="0">
                    <a:moveTo>
                      <a:pt x="0" y="674"/>
                    </a:moveTo>
                    <a:lnTo>
                      <a:pt x="610" y="1138"/>
                    </a:lnTo>
                    <a:lnTo>
                      <a:pt x="645" y="1145"/>
                    </a:lnTo>
                    <a:lnTo>
                      <a:pt x="651" y="1203"/>
                    </a:lnTo>
                    <a:lnTo>
                      <a:pt x="698" y="1226"/>
                    </a:lnTo>
                    <a:lnTo>
                      <a:pt x="1191" y="941"/>
                    </a:lnTo>
                    <a:lnTo>
                      <a:pt x="1122" y="889"/>
                    </a:lnTo>
                    <a:lnTo>
                      <a:pt x="1052" y="737"/>
                    </a:lnTo>
                    <a:lnTo>
                      <a:pt x="1099" y="639"/>
                    </a:lnTo>
                    <a:lnTo>
                      <a:pt x="1092" y="471"/>
                    </a:lnTo>
                    <a:lnTo>
                      <a:pt x="1122" y="442"/>
                    </a:lnTo>
                    <a:lnTo>
                      <a:pt x="1005" y="198"/>
                    </a:lnTo>
                    <a:lnTo>
                      <a:pt x="1052" y="151"/>
                    </a:lnTo>
                    <a:lnTo>
                      <a:pt x="1075" y="0"/>
                    </a:lnTo>
                    <a:lnTo>
                      <a:pt x="912" y="17"/>
                    </a:lnTo>
                    <a:lnTo>
                      <a:pt x="796" y="6"/>
                    </a:lnTo>
                    <a:lnTo>
                      <a:pt x="529" y="128"/>
                    </a:lnTo>
                    <a:lnTo>
                      <a:pt x="523" y="314"/>
                    </a:lnTo>
                    <a:lnTo>
                      <a:pt x="436" y="338"/>
                    </a:lnTo>
                    <a:lnTo>
                      <a:pt x="250" y="505"/>
                    </a:lnTo>
                    <a:lnTo>
                      <a:pt x="75" y="540"/>
                    </a:lnTo>
                    <a:lnTo>
                      <a:pt x="0" y="674"/>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07" name="Google Shape;2907;g805494e7d0_2_86"/>
              <p:cNvSpPr/>
              <p:nvPr/>
            </p:nvSpPr>
            <p:spPr>
              <a:xfrm>
                <a:off x="2854" y="901"/>
                <a:ext cx="24" cy="11"/>
              </a:xfrm>
              <a:custGeom>
                <a:avLst/>
                <a:gdLst/>
                <a:ahLst/>
                <a:cxnLst/>
                <a:rect l="l" t="t" r="r" b="b"/>
                <a:pathLst>
                  <a:path w="221" h="116" extrusionOk="0">
                    <a:moveTo>
                      <a:pt x="216" y="0"/>
                    </a:moveTo>
                    <a:lnTo>
                      <a:pt x="221" y="46"/>
                    </a:lnTo>
                    <a:lnTo>
                      <a:pt x="134" y="53"/>
                    </a:lnTo>
                    <a:lnTo>
                      <a:pt x="111" y="116"/>
                    </a:lnTo>
                    <a:lnTo>
                      <a:pt x="0" y="18"/>
                    </a:lnTo>
                    <a:lnTo>
                      <a:pt x="216"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08" name="Google Shape;2908;g805494e7d0_2_86"/>
              <p:cNvSpPr/>
              <p:nvPr/>
            </p:nvSpPr>
            <p:spPr>
              <a:xfrm>
                <a:off x="2853" y="875"/>
                <a:ext cx="37" cy="27"/>
              </a:xfrm>
              <a:custGeom>
                <a:avLst/>
                <a:gdLst/>
                <a:ahLst/>
                <a:cxnLst/>
                <a:rect l="l" t="t" r="r" b="b"/>
                <a:pathLst>
                  <a:path w="344" h="297" extrusionOk="0">
                    <a:moveTo>
                      <a:pt x="0" y="168"/>
                    </a:moveTo>
                    <a:lnTo>
                      <a:pt x="0" y="128"/>
                    </a:lnTo>
                    <a:lnTo>
                      <a:pt x="76" y="23"/>
                    </a:lnTo>
                    <a:lnTo>
                      <a:pt x="134" y="46"/>
                    </a:lnTo>
                    <a:lnTo>
                      <a:pt x="198" y="0"/>
                    </a:lnTo>
                    <a:lnTo>
                      <a:pt x="344" y="128"/>
                    </a:lnTo>
                    <a:lnTo>
                      <a:pt x="320" y="273"/>
                    </a:lnTo>
                    <a:lnTo>
                      <a:pt x="12" y="297"/>
                    </a:lnTo>
                    <a:lnTo>
                      <a:pt x="6" y="255"/>
                    </a:lnTo>
                    <a:lnTo>
                      <a:pt x="250" y="180"/>
                    </a:lnTo>
                    <a:lnTo>
                      <a:pt x="0" y="168"/>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09" name="Google Shape;2909;g805494e7d0_2_86"/>
              <p:cNvSpPr/>
              <p:nvPr/>
            </p:nvSpPr>
            <p:spPr>
              <a:xfrm>
                <a:off x="2853" y="890"/>
                <a:ext cx="28" cy="8"/>
              </a:xfrm>
              <a:custGeom>
                <a:avLst/>
                <a:gdLst/>
                <a:ahLst/>
                <a:cxnLst/>
                <a:rect l="l" t="t" r="r" b="b"/>
                <a:pathLst>
                  <a:path w="250" h="87" extrusionOk="0">
                    <a:moveTo>
                      <a:pt x="0" y="0"/>
                    </a:moveTo>
                    <a:lnTo>
                      <a:pt x="250" y="12"/>
                    </a:lnTo>
                    <a:lnTo>
                      <a:pt x="6" y="87"/>
                    </a:lnTo>
                    <a:lnTo>
                      <a:pt x="0"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10" name="Google Shape;2910;g805494e7d0_2_86"/>
              <p:cNvSpPr/>
              <p:nvPr/>
            </p:nvSpPr>
            <p:spPr>
              <a:xfrm>
                <a:off x="2888" y="820"/>
                <a:ext cx="117" cy="92"/>
              </a:xfrm>
              <a:custGeom>
                <a:avLst/>
                <a:gdLst/>
                <a:ahLst/>
                <a:cxnLst/>
                <a:rect l="l" t="t" r="r" b="b"/>
                <a:pathLst>
                  <a:path w="1093" h="994" extrusionOk="0">
                    <a:moveTo>
                      <a:pt x="0" y="860"/>
                    </a:moveTo>
                    <a:lnTo>
                      <a:pt x="6" y="889"/>
                    </a:lnTo>
                    <a:lnTo>
                      <a:pt x="204" y="907"/>
                    </a:lnTo>
                    <a:lnTo>
                      <a:pt x="250" y="971"/>
                    </a:lnTo>
                    <a:lnTo>
                      <a:pt x="279" y="971"/>
                    </a:lnTo>
                    <a:lnTo>
                      <a:pt x="291" y="994"/>
                    </a:lnTo>
                    <a:lnTo>
                      <a:pt x="407" y="988"/>
                    </a:lnTo>
                    <a:lnTo>
                      <a:pt x="524" y="842"/>
                    </a:lnTo>
                    <a:lnTo>
                      <a:pt x="616" y="819"/>
                    </a:lnTo>
                    <a:lnTo>
                      <a:pt x="628" y="773"/>
                    </a:lnTo>
                    <a:lnTo>
                      <a:pt x="849" y="692"/>
                    </a:lnTo>
                    <a:lnTo>
                      <a:pt x="1024" y="616"/>
                    </a:lnTo>
                    <a:lnTo>
                      <a:pt x="1093" y="407"/>
                    </a:lnTo>
                    <a:lnTo>
                      <a:pt x="1035" y="372"/>
                    </a:lnTo>
                    <a:lnTo>
                      <a:pt x="1029" y="326"/>
                    </a:lnTo>
                    <a:lnTo>
                      <a:pt x="576" y="0"/>
                    </a:lnTo>
                    <a:lnTo>
                      <a:pt x="477" y="0"/>
                    </a:lnTo>
                    <a:lnTo>
                      <a:pt x="419" y="563"/>
                    </a:lnTo>
                    <a:lnTo>
                      <a:pt x="501" y="563"/>
                    </a:lnTo>
                    <a:lnTo>
                      <a:pt x="494" y="645"/>
                    </a:lnTo>
                    <a:lnTo>
                      <a:pt x="262" y="645"/>
                    </a:lnTo>
                    <a:lnTo>
                      <a:pt x="232" y="605"/>
                    </a:lnTo>
                    <a:lnTo>
                      <a:pt x="210" y="663"/>
                    </a:lnTo>
                    <a:lnTo>
                      <a:pt x="117" y="680"/>
                    </a:lnTo>
                    <a:lnTo>
                      <a:pt x="100" y="645"/>
                    </a:lnTo>
                    <a:lnTo>
                      <a:pt x="76" y="715"/>
                    </a:lnTo>
                    <a:lnTo>
                      <a:pt x="30" y="715"/>
                    </a:lnTo>
                    <a:lnTo>
                      <a:pt x="0" y="86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11" name="Google Shape;2911;g805494e7d0_2_86"/>
              <p:cNvSpPr/>
              <p:nvPr/>
            </p:nvSpPr>
            <p:spPr>
              <a:xfrm>
                <a:off x="3038" y="742"/>
                <a:ext cx="29" cy="43"/>
              </a:xfrm>
              <a:custGeom>
                <a:avLst/>
                <a:gdLst/>
                <a:ahLst/>
                <a:cxnLst/>
                <a:rect l="l" t="t" r="r" b="b"/>
                <a:pathLst>
                  <a:path w="262" h="470" extrusionOk="0">
                    <a:moveTo>
                      <a:pt x="70" y="28"/>
                    </a:moveTo>
                    <a:lnTo>
                      <a:pt x="47" y="179"/>
                    </a:lnTo>
                    <a:lnTo>
                      <a:pt x="0" y="226"/>
                    </a:lnTo>
                    <a:lnTo>
                      <a:pt x="117" y="470"/>
                    </a:lnTo>
                    <a:lnTo>
                      <a:pt x="251" y="278"/>
                    </a:lnTo>
                    <a:lnTo>
                      <a:pt x="181" y="226"/>
                    </a:lnTo>
                    <a:lnTo>
                      <a:pt x="262" y="110"/>
                    </a:lnTo>
                    <a:lnTo>
                      <a:pt x="192" y="0"/>
                    </a:lnTo>
                    <a:lnTo>
                      <a:pt x="70" y="28"/>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12" name="Google Shape;2912;g805494e7d0_2_86"/>
              <p:cNvSpPr/>
              <p:nvPr/>
            </p:nvSpPr>
            <p:spPr>
              <a:xfrm>
                <a:off x="2866" y="900"/>
                <a:ext cx="54" cy="31"/>
              </a:xfrm>
              <a:custGeom>
                <a:avLst/>
                <a:gdLst/>
                <a:ahLst/>
                <a:cxnLst/>
                <a:rect l="l" t="t" r="r" b="b"/>
                <a:pathLst>
                  <a:path w="506" h="331" extrusionOk="0">
                    <a:moveTo>
                      <a:pt x="0" y="128"/>
                    </a:moveTo>
                    <a:lnTo>
                      <a:pt x="23" y="59"/>
                    </a:lnTo>
                    <a:lnTo>
                      <a:pt x="110" y="52"/>
                    </a:lnTo>
                    <a:lnTo>
                      <a:pt x="105" y="6"/>
                    </a:lnTo>
                    <a:lnTo>
                      <a:pt x="197" y="0"/>
                    </a:lnTo>
                    <a:lnTo>
                      <a:pt x="203" y="29"/>
                    </a:lnTo>
                    <a:lnTo>
                      <a:pt x="401" y="47"/>
                    </a:lnTo>
                    <a:lnTo>
                      <a:pt x="447" y="111"/>
                    </a:lnTo>
                    <a:lnTo>
                      <a:pt x="476" y="111"/>
                    </a:lnTo>
                    <a:lnTo>
                      <a:pt x="506" y="163"/>
                    </a:lnTo>
                    <a:lnTo>
                      <a:pt x="436" y="169"/>
                    </a:lnTo>
                    <a:lnTo>
                      <a:pt x="476" y="291"/>
                    </a:lnTo>
                    <a:lnTo>
                      <a:pt x="389" y="279"/>
                    </a:lnTo>
                    <a:lnTo>
                      <a:pt x="401" y="303"/>
                    </a:lnTo>
                    <a:lnTo>
                      <a:pt x="366" y="331"/>
                    </a:lnTo>
                    <a:lnTo>
                      <a:pt x="331" y="273"/>
                    </a:lnTo>
                    <a:lnTo>
                      <a:pt x="302" y="279"/>
                    </a:lnTo>
                    <a:lnTo>
                      <a:pt x="227" y="139"/>
                    </a:lnTo>
                    <a:lnTo>
                      <a:pt x="105" y="244"/>
                    </a:lnTo>
                    <a:lnTo>
                      <a:pt x="81" y="204"/>
                    </a:lnTo>
                    <a:lnTo>
                      <a:pt x="0" y="128"/>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13" name="Google Shape;2913;g805494e7d0_2_86"/>
              <p:cNvSpPr/>
              <p:nvPr/>
            </p:nvSpPr>
            <p:spPr>
              <a:xfrm>
                <a:off x="2877" y="913"/>
                <a:ext cx="22" cy="24"/>
              </a:xfrm>
              <a:custGeom>
                <a:avLst/>
                <a:gdLst/>
                <a:ahLst/>
                <a:cxnLst/>
                <a:rect l="l" t="t" r="r" b="b"/>
                <a:pathLst>
                  <a:path w="197" h="256" extrusionOk="0">
                    <a:moveTo>
                      <a:pt x="0" y="105"/>
                    </a:moveTo>
                    <a:lnTo>
                      <a:pt x="52" y="215"/>
                    </a:lnTo>
                    <a:lnTo>
                      <a:pt x="104" y="256"/>
                    </a:lnTo>
                    <a:lnTo>
                      <a:pt x="197" y="140"/>
                    </a:lnTo>
                    <a:lnTo>
                      <a:pt x="122" y="0"/>
                    </a:lnTo>
                    <a:lnTo>
                      <a:pt x="0" y="105"/>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14" name="Google Shape;2914;g805494e7d0_2_86"/>
              <p:cNvSpPr/>
              <p:nvPr/>
            </p:nvSpPr>
            <p:spPr>
              <a:xfrm>
                <a:off x="2889" y="926"/>
                <a:ext cx="28" cy="25"/>
              </a:xfrm>
              <a:custGeom>
                <a:avLst/>
                <a:gdLst/>
                <a:ahLst/>
                <a:cxnLst/>
                <a:rect l="l" t="t" r="r" b="b"/>
                <a:pathLst>
                  <a:path w="262" h="273" extrusionOk="0">
                    <a:moveTo>
                      <a:pt x="0" y="122"/>
                    </a:moveTo>
                    <a:lnTo>
                      <a:pt x="255" y="273"/>
                    </a:lnTo>
                    <a:lnTo>
                      <a:pt x="262" y="185"/>
                    </a:lnTo>
                    <a:lnTo>
                      <a:pt x="215" y="133"/>
                    </a:lnTo>
                    <a:lnTo>
                      <a:pt x="244" y="93"/>
                    </a:lnTo>
                    <a:lnTo>
                      <a:pt x="192" y="35"/>
                    </a:lnTo>
                    <a:lnTo>
                      <a:pt x="157" y="58"/>
                    </a:lnTo>
                    <a:lnTo>
                      <a:pt x="122" y="0"/>
                    </a:lnTo>
                    <a:lnTo>
                      <a:pt x="93" y="6"/>
                    </a:lnTo>
                    <a:lnTo>
                      <a:pt x="0" y="122"/>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15" name="Google Shape;2915;g805494e7d0_2_86"/>
              <p:cNvSpPr/>
              <p:nvPr/>
            </p:nvSpPr>
            <p:spPr>
              <a:xfrm>
                <a:off x="2909" y="912"/>
                <a:ext cx="48" cy="39"/>
              </a:xfrm>
              <a:custGeom>
                <a:avLst/>
                <a:gdLst/>
                <a:ahLst/>
                <a:cxnLst/>
                <a:rect l="l" t="t" r="r" b="b"/>
                <a:pathLst>
                  <a:path w="454" h="418" extrusionOk="0">
                    <a:moveTo>
                      <a:pt x="75" y="418"/>
                    </a:moveTo>
                    <a:lnTo>
                      <a:pt x="267" y="377"/>
                    </a:lnTo>
                    <a:lnTo>
                      <a:pt x="454" y="407"/>
                    </a:lnTo>
                    <a:lnTo>
                      <a:pt x="378" y="226"/>
                    </a:lnTo>
                    <a:lnTo>
                      <a:pt x="436" y="151"/>
                    </a:lnTo>
                    <a:lnTo>
                      <a:pt x="431" y="110"/>
                    </a:lnTo>
                    <a:lnTo>
                      <a:pt x="384" y="58"/>
                    </a:lnTo>
                    <a:lnTo>
                      <a:pt x="274" y="64"/>
                    </a:lnTo>
                    <a:lnTo>
                      <a:pt x="215" y="0"/>
                    </a:lnTo>
                    <a:lnTo>
                      <a:pt x="99" y="6"/>
                    </a:lnTo>
                    <a:lnTo>
                      <a:pt x="117" y="35"/>
                    </a:lnTo>
                    <a:lnTo>
                      <a:pt x="47" y="41"/>
                    </a:lnTo>
                    <a:lnTo>
                      <a:pt x="82" y="157"/>
                    </a:lnTo>
                    <a:lnTo>
                      <a:pt x="0" y="145"/>
                    </a:lnTo>
                    <a:lnTo>
                      <a:pt x="6" y="180"/>
                    </a:lnTo>
                    <a:lnTo>
                      <a:pt x="64" y="238"/>
                    </a:lnTo>
                    <a:lnTo>
                      <a:pt x="35" y="278"/>
                    </a:lnTo>
                    <a:lnTo>
                      <a:pt x="82" y="330"/>
                    </a:lnTo>
                    <a:lnTo>
                      <a:pt x="75" y="389"/>
                    </a:lnTo>
                    <a:lnTo>
                      <a:pt x="75" y="418"/>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16" name="Google Shape;2916;g805494e7d0_2_86"/>
              <p:cNvSpPr/>
              <p:nvPr/>
            </p:nvSpPr>
            <p:spPr>
              <a:xfrm>
                <a:off x="2931" y="884"/>
                <a:ext cx="62" cy="41"/>
              </a:xfrm>
              <a:custGeom>
                <a:avLst/>
                <a:gdLst/>
                <a:ahLst/>
                <a:cxnLst/>
                <a:rect l="l" t="t" r="r" b="b"/>
                <a:pathLst>
                  <a:path w="565" h="436" extrusionOk="0">
                    <a:moveTo>
                      <a:pt x="442" y="0"/>
                    </a:moveTo>
                    <a:lnTo>
                      <a:pt x="565" y="185"/>
                    </a:lnTo>
                    <a:lnTo>
                      <a:pt x="530" y="244"/>
                    </a:lnTo>
                    <a:lnTo>
                      <a:pt x="291" y="272"/>
                    </a:lnTo>
                    <a:lnTo>
                      <a:pt x="221" y="255"/>
                    </a:lnTo>
                    <a:lnTo>
                      <a:pt x="221" y="436"/>
                    </a:lnTo>
                    <a:lnTo>
                      <a:pt x="198" y="389"/>
                    </a:lnTo>
                    <a:lnTo>
                      <a:pt x="169" y="354"/>
                    </a:lnTo>
                    <a:lnTo>
                      <a:pt x="59" y="360"/>
                    </a:lnTo>
                    <a:lnTo>
                      <a:pt x="0" y="296"/>
                    </a:lnTo>
                    <a:lnTo>
                      <a:pt x="117" y="150"/>
                    </a:lnTo>
                    <a:lnTo>
                      <a:pt x="216" y="127"/>
                    </a:lnTo>
                    <a:lnTo>
                      <a:pt x="221" y="81"/>
                    </a:lnTo>
                    <a:lnTo>
                      <a:pt x="442"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17" name="Google Shape;2917;g805494e7d0_2_86"/>
              <p:cNvSpPr/>
              <p:nvPr/>
            </p:nvSpPr>
            <p:spPr>
              <a:xfrm>
                <a:off x="2949" y="908"/>
                <a:ext cx="24" cy="41"/>
              </a:xfrm>
              <a:custGeom>
                <a:avLst/>
                <a:gdLst/>
                <a:ahLst/>
                <a:cxnLst/>
                <a:rect l="l" t="t" r="r" b="b"/>
                <a:pathLst>
                  <a:path w="221" h="448" extrusionOk="0">
                    <a:moveTo>
                      <a:pt x="198" y="12"/>
                    </a:moveTo>
                    <a:lnTo>
                      <a:pt x="221" y="378"/>
                    </a:lnTo>
                    <a:lnTo>
                      <a:pt x="76" y="448"/>
                    </a:lnTo>
                    <a:lnTo>
                      <a:pt x="0" y="267"/>
                    </a:lnTo>
                    <a:lnTo>
                      <a:pt x="58" y="192"/>
                    </a:lnTo>
                    <a:lnTo>
                      <a:pt x="58" y="0"/>
                    </a:lnTo>
                    <a:lnTo>
                      <a:pt x="128" y="17"/>
                    </a:lnTo>
                    <a:lnTo>
                      <a:pt x="198" y="12"/>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18" name="Google Shape;2918;g805494e7d0_2_86"/>
              <p:cNvSpPr/>
              <p:nvPr/>
            </p:nvSpPr>
            <p:spPr>
              <a:xfrm>
                <a:off x="2970" y="908"/>
                <a:ext cx="14" cy="35"/>
              </a:xfrm>
              <a:custGeom>
                <a:avLst/>
                <a:gdLst/>
                <a:ahLst/>
                <a:cxnLst/>
                <a:rect l="l" t="t" r="r" b="b"/>
                <a:pathLst>
                  <a:path w="127" h="384" extrusionOk="0">
                    <a:moveTo>
                      <a:pt x="0" y="18"/>
                    </a:moveTo>
                    <a:lnTo>
                      <a:pt x="23" y="384"/>
                    </a:lnTo>
                    <a:lnTo>
                      <a:pt x="104" y="349"/>
                    </a:lnTo>
                    <a:lnTo>
                      <a:pt x="92" y="152"/>
                    </a:lnTo>
                    <a:lnTo>
                      <a:pt x="127" y="100"/>
                    </a:lnTo>
                    <a:lnTo>
                      <a:pt x="110" y="0"/>
                    </a:lnTo>
                    <a:lnTo>
                      <a:pt x="0" y="18"/>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19" name="Google Shape;2919;g805494e7d0_2_86"/>
              <p:cNvSpPr/>
              <p:nvPr/>
            </p:nvSpPr>
            <p:spPr>
              <a:xfrm>
                <a:off x="2980" y="902"/>
                <a:ext cx="23" cy="38"/>
              </a:xfrm>
              <a:custGeom>
                <a:avLst/>
                <a:gdLst/>
                <a:ahLst/>
                <a:cxnLst/>
                <a:rect l="l" t="t" r="r" b="b"/>
                <a:pathLst>
                  <a:path w="210" h="418" extrusionOk="0">
                    <a:moveTo>
                      <a:pt x="18" y="69"/>
                    </a:moveTo>
                    <a:lnTo>
                      <a:pt x="30" y="169"/>
                    </a:lnTo>
                    <a:lnTo>
                      <a:pt x="0" y="221"/>
                    </a:lnTo>
                    <a:lnTo>
                      <a:pt x="12" y="418"/>
                    </a:lnTo>
                    <a:lnTo>
                      <a:pt x="122" y="383"/>
                    </a:lnTo>
                    <a:lnTo>
                      <a:pt x="112" y="204"/>
                    </a:lnTo>
                    <a:lnTo>
                      <a:pt x="187" y="139"/>
                    </a:lnTo>
                    <a:lnTo>
                      <a:pt x="210" y="87"/>
                    </a:lnTo>
                    <a:lnTo>
                      <a:pt x="199" y="0"/>
                    </a:lnTo>
                    <a:lnTo>
                      <a:pt x="112" y="5"/>
                    </a:lnTo>
                    <a:lnTo>
                      <a:pt x="88" y="35"/>
                    </a:lnTo>
                    <a:lnTo>
                      <a:pt x="18" y="69"/>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20" name="Google Shape;2920;g805494e7d0_2_86"/>
              <p:cNvSpPr/>
              <p:nvPr/>
            </p:nvSpPr>
            <p:spPr>
              <a:xfrm>
                <a:off x="2980" y="828"/>
                <a:ext cx="110" cy="73"/>
              </a:xfrm>
              <a:custGeom>
                <a:avLst/>
                <a:gdLst/>
                <a:ahLst/>
                <a:cxnLst/>
                <a:rect l="l" t="t" r="r" b="b"/>
                <a:pathLst>
                  <a:path w="1023" h="790" extrusionOk="0">
                    <a:moveTo>
                      <a:pt x="0" y="605"/>
                    </a:moveTo>
                    <a:lnTo>
                      <a:pt x="123" y="790"/>
                    </a:lnTo>
                    <a:lnTo>
                      <a:pt x="210" y="785"/>
                    </a:lnTo>
                    <a:lnTo>
                      <a:pt x="255" y="668"/>
                    </a:lnTo>
                    <a:lnTo>
                      <a:pt x="378" y="633"/>
                    </a:lnTo>
                    <a:lnTo>
                      <a:pt x="424" y="698"/>
                    </a:lnTo>
                    <a:lnTo>
                      <a:pt x="488" y="698"/>
                    </a:lnTo>
                    <a:lnTo>
                      <a:pt x="552" y="720"/>
                    </a:lnTo>
                    <a:lnTo>
                      <a:pt x="662" y="668"/>
                    </a:lnTo>
                    <a:lnTo>
                      <a:pt x="738" y="710"/>
                    </a:lnTo>
                    <a:lnTo>
                      <a:pt x="854" y="640"/>
                    </a:lnTo>
                    <a:lnTo>
                      <a:pt x="854" y="588"/>
                    </a:lnTo>
                    <a:lnTo>
                      <a:pt x="1023" y="389"/>
                    </a:lnTo>
                    <a:lnTo>
                      <a:pt x="1023" y="239"/>
                    </a:lnTo>
                    <a:lnTo>
                      <a:pt x="983" y="187"/>
                    </a:lnTo>
                    <a:lnTo>
                      <a:pt x="993" y="0"/>
                    </a:lnTo>
                    <a:lnTo>
                      <a:pt x="913" y="65"/>
                    </a:lnTo>
                    <a:lnTo>
                      <a:pt x="726" y="35"/>
                    </a:lnTo>
                    <a:lnTo>
                      <a:pt x="244" y="314"/>
                    </a:lnTo>
                    <a:lnTo>
                      <a:pt x="175" y="529"/>
                    </a:lnTo>
                    <a:lnTo>
                      <a:pt x="0" y="605"/>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21" name="Google Shape;2921;g805494e7d0_2_86"/>
              <p:cNvSpPr/>
              <p:nvPr/>
            </p:nvSpPr>
            <p:spPr>
              <a:xfrm>
                <a:off x="3043" y="768"/>
                <a:ext cx="108" cy="86"/>
              </a:xfrm>
              <a:custGeom>
                <a:avLst/>
                <a:gdLst/>
                <a:ahLst/>
                <a:cxnLst/>
                <a:rect l="l" t="t" r="r" b="b"/>
                <a:pathLst>
                  <a:path w="982" h="935" extrusionOk="0">
                    <a:moveTo>
                      <a:pt x="204" y="0"/>
                    </a:moveTo>
                    <a:lnTo>
                      <a:pt x="40" y="221"/>
                    </a:lnTo>
                    <a:lnTo>
                      <a:pt x="47" y="389"/>
                    </a:lnTo>
                    <a:lnTo>
                      <a:pt x="0" y="487"/>
                    </a:lnTo>
                    <a:lnTo>
                      <a:pt x="70" y="633"/>
                    </a:lnTo>
                    <a:lnTo>
                      <a:pt x="151" y="691"/>
                    </a:lnTo>
                    <a:lnTo>
                      <a:pt x="331" y="721"/>
                    </a:lnTo>
                    <a:lnTo>
                      <a:pt x="406" y="656"/>
                    </a:lnTo>
                    <a:lnTo>
                      <a:pt x="901" y="935"/>
                    </a:lnTo>
                    <a:lnTo>
                      <a:pt x="895" y="883"/>
                    </a:lnTo>
                    <a:lnTo>
                      <a:pt x="982" y="883"/>
                    </a:lnTo>
                    <a:lnTo>
                      <a:pt x="930" y="233"/>
                    </a:lnTo>
                    <a:lnTo>
                      <a:pt x="971" y="203"/>
                    </a:lnTo>
                    <a:lnTo>
                      <a:pt x="954" y="105"/>
                    </a:lnTo>
                    <a:lnTo>
                      <a:pt x="808" y="18"/>
                    </a:lnTo>
                    <a:lnTo>
                      <a:pt x="697" y="35"/>
                    </a:lnTo>
                    <a:lnTo>
                      <a:pt x="657" y="180"/>
                    </a:lnTo>
                    <a:lnTo>
                      <a:pt x="616" y="198"/>
                    </a:lnTo>
                    <a:lnTo>
                      <a:pt x="448" y="110"/>
                    </a:lnTo>
                    <a:lnTo>
                      <a:pt x="384" y="29"/>
                    </a:lnTo>
                    <a:lnTo>
                      <a:pt x="204"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22" name="Google Shape;2922;g805494e7d0_2_86"/>
              <p:cNvSpPr/>
              <p:nvPr/>
            </p:nvSpPr>
            <p:spPr>
              <a:xfrm>
                <a:off x="2993" y="887"/>
                <a:ext cx="86" cy="65"/>
              </a:xfrm>
              <a:custGeom>
                <a:avLst/>
                <a:gdLst/>
                <a:ahLst/>
                <a:cxnLst/>
                <a:rect l="l" t="t" r="r" b="b"/>
                <a:pathLst>
                  <a:path w="801" h="698" extrusionOk="0">
                    <a:moveTo>
                      <a:pt x="731" y="7"/>
                    </a:moveTo>
                    <a:lnTo>
                      <a:pt x="801" y="146"/>
                    </a:lnTo>
                    <a:lnTo>
                      <a:pt x="708" y="251"/>
                    </a:lnTo>
                    <a:lnTo>
                      <a:pt x="725" y="291"/>
                    </a:lnTo>
                    <a:lnTo>
                      <a:pt x="633" y="349"/>
                    </a:lnTo>
                    <a:lnTo>
                      <a:pt x="626" y="471"/>
                    </a:lnTo>
                    <a:lnTo>
                      <a:pt x="574" y="511"/>
                    </a:lnTo>
                    <a:lnTo>
                      <a:pt x="546" y="471"/>
                    </a:lnTo>
                    <a:lnTo>
                      <a:pt x="476" y="476"/>
                    </a:lnTo>
                    <a:lnTo>
                      <a:pt x="382" y="633"/>
                    </a:lnTo>
                    <a:lnTo>
                      <a:pt x="301" y="698"/>
                    </a:lnTo>
                    <a:lnTo>
                      <a:pt x="208" y="680"/>
                    </a:lnTo>
                    <a:lnTo>
                      <a:pt x="127" y="558"/>
                    </a:lnTo>
                    <a:lnTo>
                      <a:pt x="10" y="535"/>
                    </a:lnTo>
                    <a:lnTo>
                      <a:pt x="0" y="356"/>
                    </a:lnTo>
                    <a:lnTo>
                      <a:pt x="75" y="297"/>
                    </a:lnTo>
                    <a:lnTo>
                      <a:pt x="98" y="239"/>
                    </a:lnTo>
                    <a:lnTo>
                      <a:pt x="92" y="192"/>
                    </a:lnTo>
                    <a:lnTo>
                      <a:pt x="87" y="157"/>
                    </a:lnTo>
                    <a:lnTo>
                      <a:pt x="132" y="35"/>
                    </a:lnTo>
                    <a:lnTo>
                      <a:pt x="255" y="0"/>
                    </a:lnTo>
                    <a:lnTo>
                      <a:pt x="301" y="65"/>
                    </a:lnTo>
                    <a:lnTo>
                      <a:pt x="371" y="65"/>
                    </a:lnTo>
                    <a:lnTo>
                      <a:pt x="429" y="87"/>
                    </a:lnTo>
                    <a:lnTo>
                      <a:pt x="539" y="35"/>
                    </a:lnTo>
                    <a:lnTo>
                      <a:pt x="615" y="77"/>
                    </a:lnTo>
                    <a:lnTo>
                      <a:pt x="731" y="7"/>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23" name="Google Shape;2923;g805494e7d0_2_86"/>
              <p:cNvSpPr/>
              <p:nvPr/>
            </p:nvSpPr>
            <p:spPr>
              <a:xfrm>
                <a:off x="3072" y="828"/>
                <a:ext cx="72" cy="106"/>
              </a:xfrm>
              <a:custGeom>
                <a:avLst/>
                <a:gdLst/>
                <a:ahLst/>
                <a:cxnLst/>
                <a:rect l="l" t="t" r="r" b="b"/>
                <a:pathLst>
                  <a:path w="657" h="1144" extrusionOk="0">
                    <a:moveTo>
                      <a:pt x="0" y="640"/>
                    </a:moveTo>
                    <a:lnTo>
                      <a:pt x="105" y="732"/>
                    </a:lnTo>
                    <a:lnTo>
                      <a:pt x="122" y="919"/>
                    </a:lnTo>
                    <a:lnTo>
                      <a:pt x="41" y="919"/>
                    </a:lnTo>
                    <a:lnTo>
                      <a:pt x="129" y="1058"/>
                    </a:lnTo>
                    <a:lnTo>
                      <a:pt x="82" y="1144"/>
                    </a:lnTo>
                    <a:lnTo>
                      <a:pt x="320" y="1058"/>
                    </a:lnTo>
                    <a:lnTo>
                      <a:pt x="413" y="994"/>
                    </a:lnTo>
                    <a:lnTo>
                      <a:pt x="495" y="982"/>
                    </a:lnTo>
                    <a:lnTo>
                      <a:pt x="587" y="866"/>
                    </a:lnTo>
                    <a:lnTo>
                      <a:pt x="628" y="866"/>
                    </a:lnTo>
                    <a:lnTo>
                      <a:pt x="547" y="703"/>
                    </a:lnTo>
                    <a:lnTo>
                      <a:pt x="593" y="529"/>
                    </a:lnTo>
                    <a:lnTo>
                      <a:pt x="657" y="511"/>
                    </a:lnTo>
                    <a:lnTo>
                      <a:pt x="634" y="279"/>
                    </a:lnTo>
                    <a:lnTo>
                      <a:pt x="139" y="0"/>
                    </a:lnTo>
                    <a:lnTo>
                      <a:pt x="129" y="187"/>
                    </a:lnTo>
                    <a:lnTo>
                      <a:pt x="169" y="239"/>
                    </a:lnTo>
                    <a:lnTo>
                      <a:pt x="169" y="389"/>
                    </a:lnTo>
                    <a:lnTo>
                      <a:pt x="0" y="588"/>
                    </a:lnTo>
                    <a:lnTo>
                      <a:pt x="0" y="628"/>
                    </a:lnTo>
                    <a:lnTo>
                      <a:pt x="0" y="64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24" name="Google Shape;2924;g805494e7d0_2_86"/>
              <p:cNvSpPr/>
              <p:nvPr/>
            </p:nvSpPr>
            <p:spPr>
              <a:xfrm>
                <a:off x="3144" y="776"/>
                <a:ext cx="78" cy="61"/>
              </a:xfrm>
              <a:custGeom>
                <a:avLst/>
                <a:gdLst/>
                <a:ahLst/>
                <a:cxnLst/>
                <a:rect l="l" t="t" r="r" b="b"/>
                <a:pathLst>
                  <a:path w="727" h="655" extrusionOk="0">
                    <a:moveTo>
                      <a:pt x="24" y="10"/>
                    </a:moveTo>
                    <a:lnTo>
                      <a:pt x="256" y="80"/>
                    </a:lnTo>
                    <a:lnTo>
                      <a:pt x="366" y="0"/>
                    </a:lnTo>
                    <a:lnTo>
                      <a:pt x="546" y="45"/>
                    </a:lnTo>
                    <a:lnTo>
                      <a:pt x="598" y="115"/>
                    </a:lnTo>
                    <a:lnTo>
                      <a:pt x="605" y="150"/>
                    </a:lnTo>
                    <a:lnTo>
                      <a:pt x="581" y="261"/>
                    </a:lnTo>
                    <a:lnTo>
                      <a:pt x="488" y="162"/>
                    </a:lnTo>
                    <a:lnTo>
                      <a:pt x="430" y="127"/>
                    </a:lnTo>
                    <a:lnTo>
                      <a:pt x="465" y="232"/>
                    </a:lnTo>
                    <a:lnTo>
                      <a:pt x="727" y="609"/>
                    </a:lnTo>
                    <a:lnTo>
                      <a:pt x="41" y="655"/>
                    </a:lnTo>
                    <a:lnTo>
                      <a:pt x="0" y="145"/>
                    </a:lnTo>
                    <a:lnTo>
                      <a:pt x="41" y="115"/>
                    </a:lnTo>
                    <a:lnTo>
                      <a:pt x="24" y="1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25" name="Google Shape;2925;g805494e7d0_2_86"/>
              <p:cNvSpPr/>
              <p:nvPr/>
            </p:nvSpPr>
            <p:spPr>
              <a:xfrm>
                <a:off x="3034" y="888"/>
                <a:ext cx="54" cy="75"/>
              </a:xfrm>
              <a:custGeom>
                <a:avLst/>
                <a:gdLst/>
                <a:ahLst/>
                <a:cxnLst/>
                <a:rect l="l" t="t" r="r" b="b"/>
                <a:pathLst>
                  <a:path w="495" h="807" extrusionOk="0">
                    <a:moveTo>
                      <a:pt x="0" y="626"/>
                    </a:moveTo>
                    <a:lnTo>
                      <a:pt x="87" y="679"/>
                    </a:lnTo>
                    <a:lnTo>
                      <a:pt x="82" y="807"/>
                    </a:lnTo>
                    <a:lnTo>
                      <a:pt x="495" y="807"/>
                    </a:lnTo>
                    <a:lnTo>
                      <a:pt x="488" y="720"/>
                    </a:lnTo>
                    <a:lnTo>
                      <a:pt x="408" y="574"/>
                    </a:lnTo>
                    <a:lnTo>
                      <a:pt x="483" y="412"/>
                    </a:lnTo>
                    <a:lnTo>
                      <a:pt x="390" y="279"/>
                    </a:lnTo>
                    <a:lnTo>
                      <a:pt x="471" y="279"/>
                    </a:lnTo>
                    <a:lnTo>
                      <a:pt x="454" y="92"/>
                    </a:lnTo>
                    <a:lnTo>
                      <a:pt x="349" y="0"/>
                    </a:lnTo>
                    <a:lnTo>
                      <a:pt x="419" y="139"/>
                    </a:lnTo>
                    <a:lnTo>
                      <a:pt x="314" y="244"/>
                    </a:lnTo>
                    <a:lnTo>
                      <a:pt x="343" y="284"/>
                    </a:lnTo>
                    <a:lnTo>
                      <a:pt x="251" y="337"/>
                    </a:lnTo>
                    <a:lnTo>
                      <a:pt x="244" y="447"/>
                    </a:lnTo>
                    <a:lnTo>
                      <a:pt x="192" y="504"/>
                    </a:lnTo>
                    <a:lnTo>
                      <a:pt x="164" y="464"/>
                    </a:lnTo>
                    <a:lnTo>
                      <a:pt x="94" y="469"/>
                    </a:lnTo>
                    <a:lnTo>
                      <a:pt x="0" y="626"/>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26" name="Google Shape;2926;g805494e7d0_2_86"/>
              <p:cNvSpPr/>
              <p:nvPr/>
            </p:nvSpPr>
            <p:spPr>
              <a:xfrm>
                <a:off x="3132" y="832"/>
                <a:ext cx="111" cy="119"/>
              </a:xfrm>
              <a:custGeom>
                <a:avLst/>
                <a:gdLst/>
                <a:ahLst/>
                <a:cxnLst/>
                <a:rect l="l" t="t" r="r" b="b"/>
                <a:pathLst>
                  <a:path w="1028" h="1284" extrusionOk="0">
                    <a:moveTo>
                      <a:pt x="848" y="0"/>
                    </a:moveTo>
                    <a:lnTo>
                      <a:pt x="157" y="46"/>
                    </a:lnTo>
                    <a:lnTo>
                      <a:pt x="168" y="186"/>
                    </a:lnTo>
                    <a:lnTo>
                      <a:pt x="75" y="180"/>
                    </a:lnTo>
                    <a:lnTo>
                      <a:pt x="110" y="470"/>
                    </a:lnTo>
                    <a:lnTo>
                      <a:pt x="46" y="488"/>
                    </a:lnTo>
                    <a:lnTo>
                      <a:pt x="0" y="662"/>
                    </a:lnTo>
                    <a:lnTo>
                      <a:pt x="116" y="918"/>
                    </a:lnTo>
                    <a:lnTo>
                      <a:pt x="220" y="1000"/>
                    </a:lnTo>
                    <a:lnTo>
                      <a:pt x="232" y="1035"/>
                    </a:lnTo>
                    <a:lnTo>
                      <a:pt x="307" y="1075"/>
                    </a:lnTo>
                    <a:lnTo>
                      <a:pt x="354" y="1185"/>
                    </a:lnTo>
                    <a:lnTo>
                      <a:pt x="412" y="1220"/>
                    </a:lnTo>
                    <a:lnTo>
                      <a:pt x="470" y="1220"/>
                    </a:lnTo>
                    <a:lnTo>
                      <a:pt x="499" y="1243"/>
                    </a:lnTo>
                    <a:lnTo>
                      <a:pt x="522" y="1214"/>
                    </a:lnTo>
                    <a:lnTo>
                      <a:pt x="587" y="1284"/>
                    </a:lnTo>
                    <a:lnTo>
                      <a:pt x="726" y="1272"/>
                    </a:lnTo>
                    <a:lnTo>
                      <a:pt x="848" y="1202"/>
                    </a:lnTo>
                    <a:lnTo>
                      <a:pt x="930" y="1197"/>
                    </a:lnTo>
                    <a:lnTo>
                      <a:pt x="912" y="1127"/>
                    </a:lnTo>
                    <a:lnTo>
                      <a:pt x="825" y="1092"/>
                    </a:lnTo>
                    <a:lnTo>
                      <a:pt x="819" y="982"/>
                    </a:lnTo>
                    <a:lnTo>
                      <a:pt x="743" y="988"/>
                    </a:lnTo>
                    <a:lnTo>
                      <a:pt x="743" y="948"/>
                    </a:lnTo>
                    <a:lnTo>
                      <a:pt x="825" y="883"/>
                    </a:lnTo>
                    <a:lnTo>
                      <a:pt x="831" y="773"/>
                    </a:lnTo>
                    <a:lnTo>
                      <a:pt x="941" y="610"/>
                    </a:lnTo>
                    <a:lnTo>
                      <a:pt x="923" y="488"/>
                    </a:lnTo>
                    <a:lnTo>
                      <a:pt x="941" y="390"/>
                    </a:lnTo>
                    <a:lnTo>
                      <a:pt x="1028" y="296"/>
                    </a:lnTo>
                    <a:lnTo>
                      <a:pt x="935" y="244"/>
                    </a:lnTo>
                    <a:lnTo>
                      <a:pt x="923" y="122"/>
                    </a:lnTo>
                    <a:lnTo>
                      <a:pt x="848"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27" name="Google Shape;2927;g805494e7d0_2_86"/>
              <p:cNvSpPr/>
              <p:nvPr/>
            </p:nvSpPr>
            <p:spPr>
              <a:xfrm>
                <a:off x="3079" y="908"/>
                <a:ext cx="91" cy="49"/>
              </a:xfrm>
              <a:custGeom>
                <a:avLst/>
                <a:gdLst/>
                <a:ahLst/>
                <a:cxnLst/>
                <a:rect l="l" t="t" r="r" b="b"/>
                <a:pathLst>
                  <a:path w="842" h="517" extrusionOk="0">
                    <a:moveTo>
                      <a:pt x="35" y="279"/>
                    </a:moveTo>
                    <a:lnTo>
                      <a:pt x="0" y="354"/>
                    </a:lnTo>
                    <a:lnTo>
                      <a:pt x="75" y="500"/>
                    </a:lnTo>
                    <a:lnTo>
                      <a:pt x="145" y="459"/>
                    </a:lnTo>
                    <a:lnTo>
                      <a:pt x="267" y="517"/>
                    </a:lnTo>
                    <a:lnTo>
                      <a:pt x="290" y="418"/>
                    </a:lnTo>
                    <a:lnTo>
                      <a:pt x="359" y="383"/>
                    </a:lnTo>
                    <a:lnTo>
                      <a:pt x="516" y="430"/>
                    </a:lnTo>
                    <a:lnTo>
                      <a:pt x="621" y="366"/>
                    </a:lnTo>
                    <a:lnTo>
                      <a:pt x="691" y="371"/>
                    </a:lnTo>
                    <a:lnTo>
                      <a:pt x="749" y="343"/>
                    </a:lnTo>
                    <a:lnTo>
                      <a:pt x="842" y="361"/>
                    </a:lnTo>
                    <a:lnTo>
                      <a:pt x="795" y="256"/>
                    </a:lnTo>
                    <a:lnTo>
                      <a:pt x="720" y="216"/>
                    </a:lnTo>
                    <a:lnTo>
                      <a:pt x="715" y="181"/>
                    </a:lnTo>
                    <a:lnTo>
                      <a:pt x="621" y="111"/>
                    </a:lnTo>
                    <a:lnTo>
                      <a:pt x="563" y="0"/>
                    </a:lnTo>
                    <a:lnTo>
                      <a:pt x="528" y="6"/>
                    </a:lnTo>
                    <a:lnTo>
                      <a:pt x="436" y="122"/>
                    </a:lnTo>
                    <a:lnTo>
                      <a:pt x="354" y="134"/>
                    </a:lnTo>
                    <a:lnTo>
                      <a:pt x="267" y="192"/>
                    </a:lnTo>
                    <a:lnTo>
                      <a:pt x="35" y="279"/>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28" name="Google Shape;2928;g805494e7d0_2_86"/>
              <p:cNvSpPr/>
              <p:nvPr/>
            </p:nvSpPr>
            <p:spPr>
              <a:xfrm>
                <a:off x="3213" y="860"/>
                <a:ext cx="101" cy="91"/>
              </a:xfrm>
              <a:custGeom>
                <a:avLst/>
                <a:gdLst/>
                <a:ahLst/>
                <a:cxnLst/>
                <a:rect l="l" t="t" r="r" b="b"/>
                <a:pathLst>
                  <a:path w="942" h="988" extrusionOk="0">
                    <a:moveTo>
                      <a:pt x="280" y="0"/>
                    </a:moveTo>
                    <a:lnTo>
                      <a:pt x="361" y="186"/>
                    </a:lnTo>
                    <a:lnTo>
                      <a:pt x="581" y="343"/>
                    </a:lnTo>
                    <a:lnTo>
                      <a:pt x="518" y="407"/>
                    </a:lnTo>
                    <a:lnTo>
                      <a:pt x="506" y="477"/>
                    </a:lnTo>
                    <a:lnTo>
                      <a:pt x="634" y="453"/>
                    </a:lnTo>
                    <a:lnTo>
                      <a:pt x="593" y="500"/>
                    </a:lnTo>
                    <a:lnTo>
                      <a:pt x="658" y="593"/>
                    </a:lnTo>
                    <a:lnTo>
                      <a:pt x="756" y="640"/>
                    </a:lnTo>
                    <a:lnTo>
                      <a:pt x="942" y="640"/>
                    </a:lnTo>
                    <a:lnTo>
                      <a:pt x="797" y="831"/>
                    </a:lnTo>
                    <a:lnTo>
                      <a:pt x="529" y="953"/>
                    </a:lnTo>
                    <a:lnTo>
                      <a:pt x="454" y="924"/>
                    </a:lnTo>
                    <a:lnTo>
                      <a:pt x="402" y="988"/>
                    </a:lnTo>
                    <a:lnTo>
                      <a:pt x="332" y="982"/>
                    </a:lnTo>
                    <a:lnTo>
                      <a:pt x="239" y="894"/>
                    </a:lnTo>
                    <a:lnTo>
                      <a:pt x="187" y="894"/>
                    </a:lnTo>
                    <a:lnTo>
                      <a:pt x="169" y="831"/>
                    </a:lnTo>
                    <a:lnTo>
                      <a:pt x="82" y="796"/>
                    </a:lnTo>
                    <a:lnTo>
                      <a:pt x="76" y="686"/>
                    </a:lnTo>
                    <a:lnTo>
                      <a:pt x="0" y="692"/>
                    </a:lnTo>
                    <a:lnTo>
                      <a:pt x="0" y="652"/>
                    </a:lnTo>
                    <a:lnTo>
                      <a:pt x="82" y="587"/>
                    </a:lnTo>
                    <a:lnTo>
                      <a:pt x="88" y="477"/>
                    </a:lnTo>
                    <a:lnTo>
                      <a:pt x="198" y="314"/>
                    </a:lnTo>
                    <a:lnTo>
                      <a:pt x="180" y="186"/>
                    </a:lnTo>
                    <a:lnTo>
                      <a:pt x="198" y="94"/>
                    </a:lnTo>
                    <a:lnTo>
                      <a:pt x="280"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29" name="Google Shape;2929;g805494e7d0_2_86"/>
              <p:cNvSpPr/>
              <p:nvPr/>
            </p:nvSpPr>
            <p:spPr>
              <a:xfrm>
                <a:off x="3268" y="892"/>
                <a:ext cx="13" cy="12"/>
              </a:xfrm>
              <a:custGeom>
                <a:avLst/>
                <a:gdLst/>
                <a:ahLst/>
                <a:cxnLst/>
                <a:rect l="l" t="t" r="r" b="b"/>
                <a:pathLst>
                  <a:path w="122" h="134" extrusionOk="0">
                    <a:moveTo>
                      <a:pt x="64" y="0"/>
                    </a:moveTo>
                    <a:lnTo>
                      <a:pt x="6" y="64"/>
                    </a:lnTo>
                    <a:lnTo>
                      <a:pt x="0" y="134"/>
                    </a:lnTo>
                    <a:lnTo>
                      <a:pt x="122" y="110"/>
                    </a:lnTo>
                    <a:lnTo>
                      <a:pt x="64"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30" name="Google Shape;2930;g805494e7d0_2_86"/>
              <p:cNvSpPr/>
              <p:nvPr/>
            </p:nvSpPr>
            <p:spPr>
              <a:xfrm>
                <a:off x="3266" y="895"/>
                <a:ext cx="72" cy="86"/>
              </a:xfrm>
              <a:custGeom>
                <a:avLst/>
                <a:gdLst/>
                <a:ahLst/>
                <a:cxnLst/>
                <a:rect l="l" t="t" r="r" b="b"/>
                <a:pathLst>
                  <a:path w="651" h="929" extrusionOk="0">
                    <a:moveTo>
                      <a:pt x="140" y="75"/>
                    </a:moveTo>
                    <a:lnTo>
                      <a:pt x="157" y="117"/>
                    </a:lnTo>
                    <a:lnTo>
                      <a:pt x="297" y="105"/>
                    </a:lnTo>
                    <a:lnTo>
                      <a:pt x="436" y="87"/>
                    </a:lnTo>
                    <a:lnTo>
                      <a:pt x="535" y="58"/>
                    </a:lnTo>
                    <a:lnTo>
                      <a:pt x="611" y="0"/>
                    </a:lnTo>
                    <a:lnTo>
                      <a:pt x="651" y="82"/>
                    </a:lnTo>
                    <a:lnTo>
                      <a:pt x="448" y="540"/>
                    </a:lnTo>
                    <a:lnTo>
                      <a:pt x="35" y="929"/>
                    </a:lnTo>
                    <a:lnTo>
                      <a:pt x="0" y="848"/>
                    </a:lnTo>
                    <a:lnTo>
                      <a:pt x="30" y="575"/>
                    </a:lnTo>
                    <a:lnTo>
                      <a:pt x="303" y="453"/>
                    </a:lnTo>
                    <a:lnTo>
                      <a:pt x="448" y="262"/>
                    </a:lnTo>
                    <a:lnTo>
                      <a:pt x="262" y="262"/>
                    </a:lnTo>
                    <a:lnTo>
                      <a:pt x="164" y="215"/>
                    </a:lnTo>
                    <a:lnTo>
                      <a:pt x="99" y="122"/>
                    </a:lnTo>
                    <a:lnTo>
                      <a:pt x="140" y="75"/>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31" name="Google Shape;2931;g805494e7d0_2_86"/>
              <p:cNvSpPr/>
              <p:nvPr/>
            </p:nvSpPr>
            <p:spPr>
              <a:xfrm>
                <a:off x="3042" y="962"/>
                <a:ext cx="13" cy="8"/>
              </a:xfrm>
              <a:custGeom>
                <a:avLst/>
                <a:gdLst/>
                <a:ahLst/>
                <a:cxnLst/>
                <a:rect l="l" t="t" r="r" b="b"/>
                <a:pathLst>
                  <a:path w="122" h="81" extrusionOk="0">
                    <a:moveTo>
                      <a:pt x="18" y="0"/>
                    </a:moveTo>
                    <a:lnTo>
                      <a:pt x="122" y="6"/>
                    </a:lnTo>
                    <a:lnTo>
                      <a:pt x="111" y="81"/>
                    </a:lnTo>
                    <a:lnTo>
                      <a:pt x="0" y="76"/>
                    </a:lnTo>
                    <a:lnTo>
                      <a:pt x="18"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32" name="Google Shape;2932;g805494e7d0_2_86"/>
              <p:cNvSpPr/>
              <p:nvPr/>
            </p:nvSpPr>
            <p:spPr>
              <a:xfrm>
                <a:off x="3037" y="963"/>
                <a:ext cx="41" cy="44"/>
              </a:xfrm>
              <a:custGeom>
                <a:avLst/>
                <a:gdLst/>
                <a:ahLst/>
                <a:cxnLst/>
                <a:rect l="l" t="t" r="r" b="b"/>
                <a:pathLst>
                  <a:path w="371" h="476" extrusionOk="0">
                    <a:moveTo>
                      <a:pt x="156" y="0"/>
                    </a:moveTo>
                    <a:lnTo>
                      <a:pt x="308" y="0"/>
                    </a:lnTo>
                    <a:lnTo>
                      <a:pt x="313" y="52"/>
                    </a:lnTo>
                    <a:lnTo>
                      <a:pt x="354" y="46"/>
                    </a:lnTo>
                    <a:lnTo>
                      <a:pt x="371" y="307"/>
                    </a:lnTo>
                    <a:lnTo>
                      <a:pt x="191" y="319"/>
                    </a:lnTo>
                    <a:lnTo>
                      <a:pt x="203" y="476"/>
                    </a:lnTo>
                    <a:lnTo>
                      <a:pt x="151" y="389"/>
                    </a:lnTo>
                    <a:lnTo>
                      <a:pt x="46" y="290"/>
                    </a:lnTo>
                    <a:lnTo>
                      <a:pt x="0" y="203"/>
                    </a:lnTo>
                    <a:lnTo>
                      <a:pt x="34" y="70"/>
                    </a:lnTo>
                    <a:lnTo>
                      <a:pt x="145" y="75"/>
                    </a:lnTo>
                    <a:lnTo>
                      <a:pt x="156"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33" name="Google Shape;2933;g805494e7d0_2_86"/>
              <p:cNvSpPr/>
              <p:nvPr/>
            </p:nvSpPr>
            <p:spPr>
              <a:xfrm>
                <a:off x="3058" y="951"/>
                <a:ext cx="50" cy="55"/>
              </a:xfrm>
              <a:custGeom>
                <a:avLst/>
                <a:gdLst/>
                <a:ahLst/>
                <a:cxnLst/>
                <a:rect l="l" t="t" r="r" b="b"/>
                <a:pathLst>
                  <a:path w="454" h="599" extrusionOk="0">
                    <a:moveTo>
                      <a:pt x="0" y="447"/>
                    </a:moveTo>
                    <a:lnTo>
                      <a:pt x="12" y="599"/>
                    </a:lnTo>
                    <a:lnTo>
                      <a:pt x="82" y="592"/>
                    </a:lnTo>
                    <a:lnTo>
                      <a:pt x="122" y="552"/>
                    </a:lnTo>
                    <a:lnTo>
                      <a:pt x="204" y="557"/>
                    </a:lnTo>
                    <a:lnTo>
                      <a:pt x="285" y="512"/>
                    </a:lnTo>
                    <a:lnTo>
                      <a:pt x="291" y="395"/>
                    </a:lnTo>
                    <a:lnTo>
                      <a:pt x="413" y="279"/>
                    </a:lnTo>
                    <a:lnTo>
                      <a:pt x="454" y="58"/>
                    </a:lnTo>
                    <a:lnTo>
                      <a:pt x="332" y="0"/>
                    </a:lnTo>
                    <a:lnTo>
                      <a:pt x="267" y="41"/>
                    </a:lnTo>
                    <a:lnTo>
                      <a:pt x="274" y="128"/>
                    </a:lnTo>
                    <a:lnTo>
                      <a:pt x="117" y="128"/>
                    </a:lnTo>
                    <a:lnTo>
                      <a:pt x="122" y="180"/>
                    </a:lnTo>
                    <a:lnTo>
                      <a:pt x="169" y="186"/>
                    </a:lnTo>
                    <a:lnTo>
                      <a:pt x="180" y="435"/>
                    </a:lnTo>
                    <a:lnTo>
                      <a:pt x="0" y="447"/>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34" name="Google Shape;2934;g805494e7d0_2_86"/>
              <p:cNvSpPr/>
              <p:nvPr/>
            </p:nvSpPr>
            <p:spPr>
              <a:xfrm>
                <a:off x="3059" y="1005"/>
                <a:ext cx="8" cy="8"/>
              </a:xfrm>
              <a:custGeom>
                <a:avLst/>
                <a:gdLst/>
                <a:ahLst/>
                <a:cxnLst/>
                <a:rect l="l" t="t" r="r" b="b"/>
                <a:pathLst>
                  <a:path w="76" h="82" extrusionOk="0">
                    <a:moveTo>
                      <a:pt x="76" y="0"/>
                    </a:moveTo>
                    <a:lnTo>
                      <a:pt x="0" y="5"/>
                    </a:lnTo>
                    <a:lnTo>
                      <a:pt x="41" y="82"/>
                    </a:lnTo>
                    <a:lnTo>
                      <a:pt x="76"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35" name="Google Shape;2935;g805494e7d0_2_86"/>
              <p:cNvSpPr/>
              <p:nvPr/>
            </p:nvSpPr>
            <p:spPr>
              <a:xfrm>
                <a:off x="3063" y="940"/>
                <a:ext cx="137" cy="117"/>
              </a:xfrm>
              <a:custGeom>
                <a:avLst/>
                <a:gdLst/>
                <a:ahLst/>
                <a:cxnLst/>
                <a:rect l="l" t="t" r="r" b="b"/>
                <a:pathLst>
                  <a:path w="1244" h="1266" extrusionOk="0">
                    <a:moveTo>
                      <a:pt x="0" y="785"/>
                    </a:moveTo>
                    <a:lnTo>
                      <a:pt x="35" y="703"/>
                    </a:lnTo>
                    <a:lnTo>
                      <a:pt x="75" y="668"/>
                    </a:lnTo>
                    <a:lnTo>
                      <a:pt x="116" y="663"/>
                    </a:lnTo>
                    <a:lnTo>
                      <a:pt x="168" y="673"/>
                    </a:lnTo>
                    <a:lnTo>
                      <a:pt x="238" y="628"/>
                    </a:lnTo>
                    <a:lnTo>
                      <a:pt x="244" y="511"/>
                    </a:lnTo>
                    <a:lnTo>
                      <a:pt x="366" y="395"/>
                    </a:lnTo>
                    <a:lnTo>
                      <a:pt x="430" y="75"/>
                    </a:lnTo>
                    <a:lnTo>
                      <a:pt x="499" y="40"/>
                    </a:lnTo>
                    <a:lnTo>
                      <a:pt x="656" y="87"/>
                    </a:lnTo>
                    <a:lnTo>
                      <a:pt x="773" y="18"/>
                    </a:lnTo>
                    <a:lnTo>
                      <a:pt x="831" y="28"/>
                    </a:lnTo>
                    <a:lnTo>
                      <a:pt x="889" y="0"/>
                    </a:lnTo>
                    <a:lnTo>
                      <a:pt x="976" y="23"/>
                    </a:lnTo>
                    <a:lnTo>
                      <a:pt x="1040" y="58"/>
                    </a:lnTo>
                    <a:lnTo>
                      <a:pt x="1098" y="58"/>
                    </a:lnTo>
                    <a:lnTo>
                      <a:pt x="1127" y="81"/>
                    </a:lnTo>
                    <a:lnTo>
                      <a:pt x="1150" y="52"/>
                    </a:lnTo>
                    <a:lnTo>
                      <a:pt x="1215" y="128"/>
                    </a:lnTo>
                    <a:lnTo>
                      <a:pt x="1220" y="185"/>
                    </a:lnTo>
                    <a:lnTo>
                      <a:pt x="1244" y="227"/>
                    </a:lnTo>
                    <a:lnTo>
                      <a:pt x="1168" y="296"/>
                    </a:lnTo>
                    <a:lnTo>
                      <a:pt x="1139" y="453"/>
                    </a:lnTo>
                    <a:lnTo>
                      <a:pt x="1115" y="511"/>
                    </a:lnTo>
                    <a:lnTo>
                      <a:pt x="1115" y="761"/>
                    </a:lnTo>
                    <a:lnTo>
                      <a:pt x="1197" y="842"/>
                    </a:lnTo>
                    <a:lnTo>
                      <a:pt x="1197" y="883"/>
                    </a:lnTo>
                    <a:lnTo>
                      <a:pt x="1070" y="900"/>
                    </a:lnTo>
                    <a:lnTo>
                      <a:pt x="1035" y="1022"/>
                    </a:lnTo>
                    <a:lnTo>
                      <a:pt x="1092" y="1029"/>
                    </a:lnTo>
                    <a:lnTo>
                      <a:pt x="1058" y="1144"/>
                    </a:lnTo>
                    <a:lnTo>
                      <a:pt x="1133" y="1179"/>
                    </a:lnTo>
                    <a:lnTo>
                      <a:pt x="1162" y="1156"/>
                    </a:lnTo>
                    <a:lnTo>
                      <a:pt x="1168" y="1266"/>
                    </a:lnTo>
                    <a:lnTo>
                      <a:pt x="1110" y="1266"/>
                    </a:lnTo>
                    <a:lnTo>
                      <a:pt x="965" y="1156"/>
                    </a:lnTo>
                    <a:lnTo>
                      <a:pt x="965" y="1179"/>
                    </a:lnTo>
                    <a:lnTo>
                      <a:pt x="923" y="1179"/>
                    </a:lnTo>
                    <a:lnTo>
                      <a:pt x="837" y="1116"/>
                    </a:lnTo>
                    <a:lnTo>
                      <a:pt x="785" y="1121"/>
                    </a:lnTo>
                    <a:lnTo>
                      <a:pt x="779" y="1092"/>
                    </a:lnTo>
                    <a:lnTo>
                      <a:pt x="651" y="1104"/>
                    </a:lnTo>
                    <a:lnTo>
                      <a:pt x="599" y="854"/>
                    </a:lnTo>
                    <a:lnTo>
                      <a:pt x="564" y="854"/>
                    </a:lnTo>
                    <a:lnTo>
                      <a:pt x="552" y="813"/>
                    </a:lnTo>
                    <a:lnTo>
                      <a:pt x="494" y="819"/>
                    </a:lnTo>
                    <a:lnTo>
                      <a:pt x="489" y="889"/>
                    </a:lnTo>
                    <a:lnTo>
                      <a:pt x="343" y="900"/>
                    </a:lnTo>
                    <a:lnTo>
                      <a:pt x="337" y="872"/>
                    </a:lnTo>
                    <a:lnTo>
                      <a:pt x="314" y="872"/>
                    </a:lnTo>
                    <a:lnTo>
                      <a:pt x="273" y="750"/>
                    </a:lnTo>
                    <a:lnTo>
                      <a:pt x="0" y="785"/>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36" name="Google Shape;2936;g805494e7d0_2_86"/>
              <p:cNvSpPr/>
              <p:nvPr/>
            </p:nvSpPr>
            <p:spPr>
              <a:xfrm>
                <a:off x="3187" y="945"/>
                <a:ext cx="38" cy="36"/>
              </a:xfrm>
              <a:custGeom>
                <a:avLst/>
                <a:gdLst/>
                <a:ahLst/>
                <a:cxnLst/>
                <a:rect l="l" t="t" r="r" b="b"/>
                <a:pathLst>
                  <a:path w="343" h="383" extrusionOk="0">
                    <a:moveTo>
                      <a:pt x="291" y="0"/>
                    </a:moveTo>
                    <a:lnTo>
                      <a:pt x="343" y="169"/>
                    </a:lnTo>
                    <a:lnTo>
                      <a:pt x="291" y="244"/>
                    </a:lnTo>
                    <a:lnTo>
                      <a:pt x="267" y="261"/>
                    </a:lnTo>
                    <a:lnTo>
                      <a:pt x="256" y="343"/>
                    </a:lnTo>
                    <a:lnTo>
                      <a:pt x="0" y="383"/>
                    </a:lnTo>
                    <a:lnTo>
                      <a:pt x="23" y="238"/>
                    </a:lnTo>
                    <a:lnTo>
                      <a:pt x="99" y="169"/>
                    </a:lnTo>
                    <a:lnTo>
                      <a:pt x="75" y="127"/>
                    </a:lnTo>
                    <a:lnTo>
                      <a:pt x="70" y="64"/>
                    </a:lnTo>
                    <a:lnTo>
                      <a:pt x="214" y="52"/>
                    </a:lnTo>
                    <a:lnTo>
                      <a:pt x="291"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37" name="Google Shape;2937;g805494e7d0_2_86"/>
              <p:cNvSpPr/>
              <p:nvPr/>
            </p:nvSpPr>
            <p:spPr>
              <a:xfrm>
                <a:off x="3215" y="943"/>
                <a:ext cx="56" cy="59"/>
              </a:xfrm>
              <a:custGeom>
                <a:avLst/>
                <a:gdLst/>
                <a:ahLst/>
                <a:cxnLst/>
                <a:rect l="l" t="t" r="r" b="b"/>
                <a:pathLst>
                  <a:path w="506" h="635" extrusionOk="0">
                    <a:moveTo>
                      <a:pt x="0" y="373"/>
                    </a:moveTo>
                    <a:lnTo>
                      <a:pt x="145" y="436"/>
                    </a:lnTo>
                    <a:lnTo>
                      <a:pt x="232" y="530"/>
                    </a:lnTo>
                    <a:lnTo>
                      <a:pt x="296" y="553"/>
                    </a:lnTo>
                    <a:lnTo>
                      <a:pt x="337" y="623"/>
                    </a:lnTo>
                    <a:lnTo>
                      <a:pt x="384" y="635"/>
                    </a:lnTo>
                    <a:lnTo>
                      <a:pt x="506" y="413"/>
                    </a:lnTo>
                    <a:lnTo>
                      <a:pt x="459" y="314"/>
                    </a:lnTo>
                    <a:lnTo>
                      <a:pt x="499" y="59"/>
                    </a:lnTo>
                    <a:lnTo>
                      <a:pt x="424" y="30"/>
                    </a:lnTo>
                    <a:lnTo>
                      <a:pt x="372" y="94"/>
                    </a:lnTo>
                    <a:lnTo>
                      <a:pt x="302" y="88"/>
                    </a:lnTo>
                    <a:lnTo>
                      <a:pt x="215" y="0"/>
                    </a:lnTo>
                    <a:lnTo>
                      <a:pt x="70" y="12"/>
                    </a:lnTo>
                    <a:lnTo>
                      <a:pt x="40" y="30"/>
                    </a:lnTo>
                    <a:lnTo>
                      <a:pt x="87" y="199"/>
                    </a:lnTo>
                    <a:lnTo>
                      <a:pt x="35" y="268"/>
                    </a:lnTo>
                    <a:lnTo>
                      <a:pt x="11" y="286"/>
                    </a:lnTo>
                    <a:lnTo>
                      <a:pt x="0" y="373"/>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38" name="Google Shape;2938;g805494e7d0_2_86"/>
              <p:cNvSpPr/>
              <p:nvPr/>
            </p:nvSpPr>
            <p:spPr>
              <a:xfrm>
                <a:off x="3185" y="977"/>
                <a:ext cx="78" cy="69"/>
              </a:xfrm>
              <a:custGeom>
                <a:avLst/>
                <a:gdLst/>
                <a:ahLst/>
                <a:cxnLst/>
                <a:rect l="l" t="t" r="r" b="b"/>
                <a:pathLst>
                  <a:path w="727" h="743" extrusionOk="0">
                    <a:moveTo>
                      <a:pt x="122" y="23"/>
                    </a:moveTo>
                    <a:lnTo>
                      <a:pt x="94" y="116"/>
                    </a:lnTo>
                    <a:lnTo>
                      <a:pt x="129" y="168"/>
                    </a:lnTo>
                    <a:lnTo>
                      <a:pt x="0" y="319"/>
                    </a:lnTo>
                    <a:lnTo>
                      <a:pt x="0" y="360"/>
                    </a:lnTo>
                    <a:lnTo>
                      <a:pt x="82" y="441"/>
                    </a:lnTo>
                    <a:lnTo>
                      <a:pt x="82" y="482"/>
                    </a:lnTo>
                    <a:lnTo>
                      <a:pt x="256" y="569"/>
                    </a:lnTo>
                    <a:lnTo>
                      <a:pt x="321" y="743"/>
                    </a:lnTo>
                    <a:lnTo>
                      <a:pt x="367" y="715"/>
                    </a:lnTo>
                    <a:lnTo>
                      <a:pt x="518" y="732"/>
                    </a:lnTo>
                    <a:lnTo>
                      <a:pt x="547" y="685"/>
                    </a:lnTo>
                    <a:lnTo>
                      <a:pt x="727" y="673"/>
                    </a:lnTo>
                    <a:lnTo>
                      <a:pt x="692" y="593"/>
                    </a:lnTo>
                    <a:lnTo>
                      <a:pt x="692" y="394"/>
                    </a:lnTo>
                    <a:lnTo>
                      <a:pt x="663" y="366"/>
                    </a:lnTo>
                    <a:lnTo>
                      <a:pt x="670" y="255"/>
                    </a:lnTo>
                    <a:lnTo>
                      <a:pt x="623" y="250"/>
                    </a:lnTo>
                    <a:lnTo>
                      <a:pt x="582" y="180"/>
                    </a:lnTo>
                    <a:lnTo>
                      <a:pt x="518" y="157"/>
                    </a:lnTo>
                    <a:lnTo>
                      <a:pt x="431" y="63"/>
                    </a:lnTo>
                    <a:lnTo>
                      <a:pt x="286" y="0"/>
                    </a:lnTo>
                    <a:lnTo>
                      <a:pt x="122" y="23"/>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39" name="Google Shape;2939;g805494e7d0_2_86"/>
              <p:cNvSpPr/>
              <p:nvPr/>
            </p:nvSpPr>
            <p:spPr>
              <a:xfrm>
                <a:off x="3185" y="990"/>
                <a:ext cx="14" cy="17"/>
              </a:xfrm>
              <a:custGeom>
                <a:avLst/>
                <a:gdLst/>
                <a:ahLst/>
                <a:cxnLst/>
                <a:rect l="l" t="t" r="r" b="b"/>
                <a:pathLst>
                  <a:path w="129" h="186" extrusionOk="0">
                    <a:moveTo>
                      <a:pt x="0" y="186"/>
                    </a:moveTo>
                    <a:lnTo>
                      <a:pt x="129" y="35"/>
                    </a:lnTo>
                    <a:lnTo>
                      <a:pt x="117" y="17"/>
                    </a:lnTo>
                    <a:lnTo>
                      <a:pt x="65" y="0"/>
                    </a:lnTo>
                    <a:lnTo>
                      <a:pt x="0" y="35"/>
                    </a:lnTo>
                    <a:lnTo>
                      <a:pt x="0" y="186"/>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40" name="Google Shape;2940;g805494e7d0_2_86"/>
              <p:cNvSpPr/>
              <p:nvPr/>
            </p:nvSpPr>
            <p:spPr>
              <a:xfrm>
                <a:off x="3185" y="979"/>
                <a:ext cx="13" cy="14"/>
              </a:xfrm>
              <a:custGeom>
                <a:avLst/>
                <a:gdLst/>
                <a:ahLst/>
                <a:cxnLst/>
                <a:rect l="l" t="t" r="r" b="b"/>
                <a:pathLst>
                  <a:path w="122" h="145" extrusionOk="0">
                    <a:moveTo>
                      <a:pt x="0" y="87"/>
                    </a:moveTo>
                    <a:lnTo>
                      <a:pt x="0" y="145"/>
                    </a:lnTo>
                    <a:lnTo>
                      <a:pt x="65" y="110"/>
                    </a:lnTo>
                    <a:lnTo>
                      <a:pt x="117" y="127"/>
                    </a:lnTo>
                    <a:lnTo>
                      <a:pt x="94" y="87"/>
                    </a:lnTo>
                    <a:lnTo>
                      <a:pt x="122" y="0"/>
                    </a:lnTo>
                    <a:lnTo>
                      <a:pt x="24" y="17"/>
                    </a:lnTo>
                    <a:lnTo>
                      <a:pt x="0" y="87"/>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41" name="Google Shape;2941;g805494e7d0_2_86"/>
              <p:cNvSpPr/>
              <p:nvPr/>
            </p:nvSpPr>
            <p:spPr>
              <a:xfrm>
                <a:off x="3061" y="1010"/>
                <a:ext cx="86" cy="79"/>
              </a:xfrm>
              <a:custGeom>
                <a:avLst/>
                <a:gdLst/>
                <a:ahLst/>
                <a:cxnLst/>
                <a:rect l="l" t="t" r="r" b="b"/>
                <a:pathLst>
                  <a:path w="802" h="859" extrusionOk="0">
                    <a:moveTo>
                      <a:pt x="17" y="35"/>
                    </a:moveTo>
                    <a:lnTo>
                      <a:pt x="92" y="157"/>
                    </a:lnTo>
                    <a:lnTo>
                      <a:pt x="52" y="244"/>
                    </a:lnTo>
                    <a:lnTo>
                      <a:pt x="75" y="331"/>
                    </a:lnTo>
                    <a:lnTo>
                      <a:pt x="122" y="354"/>
                    </a:lnTo>
                    <a:lnTo>
                      <a:pt x="110" y="453"/>
                    </a:lnTo>
                    <a:lnTo>
                      <a:pt x="17" y="568"/>
                    </a:lnTo>
                    <a:lnTo>
                      <a:pt x="0" y="696"/>
                    </a:lnTo>
                    <a:lnTo>
                      <a:pt x="0" y="835"/>
                    </a:lnTo>
                    <a:lnTo>
                      <a:pt x="92" y="772"/>
                    </a:lnTo>
                    <a:lnTo>
                      <a:pt x="157" y="824"/>
                    </a:lnTo>
                    <a:lnTo>
                      <a:pt x="429" y="778"/>
                    </a:lnTo>
                    <a:lnTo>
                      <a:pt x="598" y="859"/>
                    </a:lnTo>
                    <a:lnTo>
                      <a:pt x="732" y="824"/>
                    </a:lnTo>
                    <a:lnTo>
                      <a:pt x="656" y="760"/>
                    </a:lnTo>
                    <a:lnTo>
                      <a:pt x="656" y="505"/>
                    </a:lnTo>
                    <a:lnTo>
                      <a:pt x="767" y="493"/>
                    </a:lnTo>
                    <a:lnTo>
                      <a:pt x="755" y="418"/>
                    </a:lnTo>
                    <a:lnTo>
                      <a:pt x="802" y="418"/>
                    </a:lnTo>
                    <a:lnTo>
                      <a:pt x="796" y="342"/>
                    </a:lnTo>
                    <a:lnTo>
                      <a:pt x="668" y="354"/>
                    </a:lnTo>
                    <a:lnTo>
                      <a:pt x="616" y="104"/>
                    </a:lnTo>
                    <a:lnTo>
                      <a:pt x="581" y="104"/>
                    </a:lnTo>
                    <a:lnTo>
                      <a:pt x="569" y="63"/>
                    </a:lnTo>
                    <a:lnTo>
                      <a:pt x="511" y="69"/>
                    </a:lnTo>
                    <a:lnTo>
                      <a:pt x="506" y="139"/>
                    </a:lnTo>
                    <a:lnTo>
                      <a:pt x="360" y="150"/>
                    </a:lnTo>
                    <a:lnTo>
                      <a:pt x="354" y="122"/>
                    </a:lnTo>
                    <a:lnTo>
                      <a:pt x="331" y="122"/>
                    </a:lnTo>
                    <a:lnTo>
                      <a:pt x="290" y="0"/>
                    </a:lnTo>
                    <a:lnTo>
                      <a:pt x="17" y="35"/>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42" name="Google Shape;2942;g805494e7d0_2_86"/>
              <p:cNvSpPr/>
              <p:nvPr/>
            </p:nvSpPr>
            <p:spPr>
              <a:xfrm>
                <a:off x="3132" y="1022"/>
                <a:ext cx="86" cy="65"/>
              </a:xfrm>
              <a:custGeom>
                <a:avLst/>
                <a:gdLst/>
                <a:ahLst/>
                <a:cxnLst/>
                <a:rect l="l" t="t" r="r" b="b"/>
                <a:pathLst>
                  <a:path w="779" h="702" extrusionOk="0">
                    <a:moveTo>
                      <a:pt x="779" y="203"/>
                    </a:moveTo>
                    <a:lnTo>
                      <a:pt x="720" y="296"/>
                    </a:lnTo>
                    <a:lnTo>
                      <a:pt x="680" y="325"/>
                    </a:lnTo>
                    <a:lnTo>
                      <a:pt x="686" y="413"/>
                    </a:lnTo>
                    <a:lnTo>
                      <a:pt x="523" y="482"/>
                    </a:lnTo>
                    <a:lnTo>
                      <a:pt x="553" y="535"/>
                    </a:lnTo>
                    <a:lnTo>
                      <a:pt x="483" y="540"/>
                    </a:lnTo>
                    <a:lnTo>
                      <a:pt x="337" y="702"/>
                    </a:lnTo>
                    <a:lnTo>
                      <a:pt x="221" y="697"/>
                    </a:lnTo>
                    <a:lnTo>
                      <a:pt x="157" y="662"/>
                    </a:lnTo>
                    <a:lnTo>
                      <a:pt x="76" y="691"/>
                    </a:lnTo>
                    <a:lnTo>
                      <a:pt x="0" y="627"/>
                    </a:lnTo>
                    <a:lnTo>
                      <a:pt x="0" y="372"/>
                    </a:lnTo>
                    <a:lnTo>
                      <a:pt x="105" y="355"/>
                    </a:lnTo>
                    <a:lnTo>
                      <a:pt x="99" y="285"/>
                    </a:lnTo>
                    <a:lnTo>
                      <a:pt x="146" y="285"/>
                    </a:lnTo>
                    <a:lnTo>
                      <a:pt x="146" y="238"/>
                    </a:lnTo>
                    <a:lnTo>
                      <a:pt x="204" y="233"/>
                    </a:lnTo>
                    <a:lnTo>
                      <a:pt x="284" y="303"/>
                    </a:lnTo>
                    <a:lnTo>
                      <a:pt x="326" y="296"/>
                    </a:lnTo>
                    <a:lnTo>
                      <a:pt x="326" y="273"/>
                    </a:lnTo>
                    <a:lnTo>
                      <a:pt x="476" y="383"/>
                    </a:lnTo>
                    <a:lnTo>
                      <a:pt x="529" y="383"/>
                    </a:lnTo>
                    <a:lnTo>
                      <a:pt x="523" y="273"/>
                    </a:lnTo>
                    <a:lnTo>
                      <a:pt x="494" y="296"/>
                    </a:lnTo>
                    <a:lnTo>
                      <a:pt x="419" y="261"/>
                    </a:lnTo>
                    <a:lnTo>
                      <a:pt x="453" y="146"/>
                    </a:lnTo>
                    <a:lnTo>
                      <a:pt x="396" y="139"/>
                    </a:lnTo>
                    <a:lnTo>
                      <a:pt x="431" y="17"/>
                    </a:lnTo>
                    <a:lnTo>
                      <a:pt x="558" y="0"/>
                    </a:lnTo>
                    <a:lnTo>
                      <a:pt x="732" y="87"/>
                    </a:lnTo>
                    <a:lnTo>
                      <a:pt x="779" y="203"/>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43" name="Google Shape;2943;g805494e7d0_2_86"/>
              <p:cNvSpPr/>
              <p:nvPr/>
            </p:nvSpPr>
            <p:spPr>
              <a:xfrm>
                <a:off x="3207" y="1041"/>
                <a:ext cx="20" cy="42"/>
              </a:xfrm>
              <a:custGeom>
                <a:avLst/>
                <a:gdLst/>
                <a:ahLst/>
                <a:cxnLst/>
                <a:rect l="l" t="t" r="r" b="b"/>
                <a:pathLst>
                  <a:path w="192" h="459" extrusionOk="0">
                    <a:moveTo>
                      <a:pt x="6" y="215"/>
                    </a:moveTo>
                    <a:lnTo>
                      <a:pt x="105" y="249"/>
                    </a:lnTo>
                    <a:lnTo>
                      <a:pt x="145" y="459"/>
                    </a:lnTo>
                    <a:lnTo>
                      <a:pt x="187" y="371"/>
                    </a:lnTo>
                    <a:lnTo>
                      <a:pt x="192" y="225"/>
                    </a:lnTo>
                    <a:lnTo>
                      <a:pt x="99" y="0"/>
                    </a:lnTo>
                    <a:lnTo>
                      <a:pt x="40" y="93"/>
                    </a:lnTo>
                    <a:lnTo>
                      <a:pt x="0" y="127"/>
                    </a:lnTo>
                    <a:lnTo>
                      <a:pt x="6" y="215"/>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44" name="Google Shape;2944;g805494e7d0_2_86"/>
              <p:cNvSpPr/>
              <p:nvPr/>
            </p:nvSpPr>
            <p:spPr>
              <a:xfrm>
                <a:off x="3061" y="1081"/>
                <a:ext cx="66" cy="82"/>
              </a:xfrm>
              <a:custGeom>
                <a:avLst/>
                <a:gdLst/>
                <a:ahLst/>
                <a:cxnLst/>
                <a:rect l="l" t="t" r="r" b="b"/>
                <a:pathLst>
                  <a:path w="610" h="860" extrusionOk="0">
                    <a:moveTo>
                      <a:pt x="610" y="87"/>
                    </a:moveTo>
                    <a:lnTo>
                      <a:pt x="598" y="314"/>
                    </a:lnTo>
                    <a:lnTo>
                      <a:pt x="516" y="366"/>
                    </a:lnTo>
                    <a:lnTo>
                      <a:pt x="516" y="796"/>
                    </a:lnTo>
                    <a:lnTo>
                      <a:pt x="464" y="860"/>
                    </a:lnTo>
                    <a:lnTo>
                      <a:pt x="389" y="837"/>
                    </a:lnTo>
                    <a:lnTo>
                      <a:pt x="383" y="755"/>
                    </a:lnTo>
                    <a:lnTo>
                      <a:pt x="337" y="825"/>
                    </a:lnTo>
                    <a:lnTo>
                      <a:pt x="237" y="703"/>
                    </a:lnTo>
                    <a:lnTo>
                      <a:pt x="174" y="349"/>
                    </a:lnTo>
                    <a:lnTo>
                      <a:pt x="110" y="290"/>
                    </a:lnTo>
                    <a:lnTo>
                      <a:pt x="0" y="63"/>
                    </a:lnTo>
                    <a:lnTo>
                      <a:pt x="92" y="0"/>
                    </a:lnTo>
                    <a:lnTo>
                      <a:pt x="157" y="52"/>
                    </a:lnTo>
                    <a:lnTo>
                      <a:pt x="429" y="6"/>
                    </a:lnTo>
                    <a:lnTo>
                      <a:pt x="610" y="87"/>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45" name="Google Shape;2945;g805494e7d0_2_86"/>
              <p:cNvSpPr/>
              <p:nvPr/>
            </p:nvSpPr>
            <p:spPr>
              <a:xfrm>
                <a:off x="3190" y="1039"/>
                <a:ext cx="75" cy="106"/>
              </a:xfrm>
              <a:custGeom>
                <a:avLst/>
                <a:gdLst/>
                <a:ahLst/>
                <a:cxnLst/>
                <a:rect l="l" t="t" r="r" b="b"/>
                <a:pathLst>
                  <a:path w="680" h="1144" extrusionOk="0">
                    <a:moveTo>
                      <a:pt x="30" y="355"/>
                    </a:moveTo>
                    <a:lnTo>
                      <a:pt x="175" y="453"/>
                    </a:lnTo>
                    <a:lnTo>
                      <a:pt x="187" y="564"/>
                    </a:lnTo>
                    <a:lnTo>
                      <a:pt x="128" y="569"/>
                    </a:lnTo>
                    <a:lnTo>
                      <a:pt x="163" y="662"/>
                    </a:lnTo>
                    <a:lnTo>
                      <a:pt x="47" y="831"/>
                    </a:lnTo>
                    <a:lnTo>
                      <a:pt x="82" y="1132"/>
                    </a:lnTo>
                    <a:lnTo>
                      <a:pt x="145" y="1144"/>
                    </a:lnTo>
                    <a:lnTo>
                      <a:pt x="175" y="1028"/>
                    </a:lnTo>
                    <a:lnTo>
                      <a:pt x="320" y="923"/>
                    </a:lnTo>
                    <a:lnTo>
                      <a:pt x="309" y="709"/>
                    </a:lnTo>
                    <a:lnTo>
                      <a:pt x="267" y="686"/>
                    </a:lnTo>
                    <a:lnTo>
                      <a:pt x="291" y="627"/>
                    </a:lnTo>
                    <a:lnTo>
                      <a:pt x="378" y="569"/>
                    </a:lnTo>
                    <a:lnTo>
                      <a:pt x="407" y="517"/>
                    </a:lnTo>
                    <a:lnTo>
                      <a:pt x="640" y="343"/>
                    </a:lnTo>
                    <a:lnTo>
                      <a:pt x="680" y="0"/>
                    </a:lnTo>
                    <a:lnTo>
                      <a:pt x="500" y="23"/>
                    </a:lnTo>
                    <a:lnTo>
                      <a:pt x="471" y="70"/>
                    </a:lnTo>
                    <a:lnTo>
                      <a:pt x="332" y="53"/>
                    </a:lnTo>
                    <a:lnTo>
                      <a:pt x="274" y="81"/>
                    </a:lnTo>
                    <a:lnTo>
                      <a:pt x="344" y="233"/>
                    </a:lnTo>
                    <a:lnTo>
                      <a:pt x="344" y="400"/>
                    </a:lnTo>
                    <a:lnTo>
                      <a:pt x="302" y="477"/>
                    </a:lnTo>
                    <a:lnTo>
                      <a:pt x="262" y="267"/>
                    </a:lnTo>
                    <a:lnTo>
                      <a:pt x="163" y="233"/>
                    </a:lnTo>
                    <a:lnTo>
                      <a:pt x="0" y="302"/>
                    </a:lnTo>
                    <a:lnTo>
                      <a:pt x="30" y="355"/>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46" name="Google Shape;2946;g805494e7d0_2_86"/>
              <p:cNvSpPr/>
              <p:nvPr/>
            </p:nvSpPr>
            <p:spPr>
              <a:xfrm>
                <a:off x="3157" y="1072"/>
                <a:ext cx="53" cy="44"/>
              </a:xfrm>
              <a:custGeom>
                <a:avLst/>
                <a:gdLst/>
                <a:ahLst/>
                <a:cxnLst/>
                <a:rect l="l" t="t" r="r" b="b"/>
                <a:pathLst>
                  <a:path w="489" h="476" extrusionOk="0">
                    <a:moveTo>
                      <a:pt x="0" y="162"/>
                    </a:moveTo>
                    <a:lnTo>
                      <a:pt x="63" y="336"/>
                    </a:lnTo>
                    <a:lnTo>
                      <a:pt x="116" y="336"/>
                    </a:lnTo>
                    <a:lnTo>
                      <a:pt x="133" y="389"/>
                    </a:lnTo>
                    <a:lnTo>
                      <a:pt x="349" y="476"/>
                    </a:lnTo>
                    <a:lnTo>
                      <a:pt x="465" y="307"/>
                    </a:lnTo>
                    <a:lnTo>
                      <a:pt x="430" y="214"/>
                    </a:lnTo>
                    <a:lnTo>
                      <a:pt x="489" y="209"/>
                    </a:lnTo>
                    <a:lnTo>
                      <a:pt x="477" y="98"/>
                    </a:lnTo>
                    <a:lnTo>
                      <a:pt x="332" y="0"/>
                    </a:lnTo>
                    <a:lnTo>
                      <a:pt x="262" y="5"/>
                    </a:lnTo>
                    <a:lnTo>
                      <a:pt x="116" y="167"/>
                    </a:lnTo>
                    <a:lnTo>
                      <a:pt x="0" y="162"/>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47" name="Google Shape;2947;g805494e7d0_2_86"/>
              <p:cNvSpPr/>
              <p:nvPr/>
            </p:nvSpPr>
            <p:spPr>
              <a:xfrm>
                <a:off x="3118" y="1084"/>
                <a:ext cx="64" cy="62"/>
              </a:xfrm>
              <a:custGeom>
                <a:avLst/>
                <a:gdLst/>
                <a:ahLst/>
                <a:cxnLst/>
                <a:rect l="l" t="t" r="r" b="b"/>
                <a:pathLst>
                  <a:path w="593" h="674" extrusionOk="0">
                    <a:moveTo>
                      <a:pt x="0" y="622"/>
                    </a:moveTo>
                    <a:lnTo>
                      <a:pt x="53" y="674"/>
                    </a:lnTo>
                    <a:lnTo>
                      <a:pt x="135" y="640"/>
                    </a:lnTo>
                    <a:lnTo>
                      <a:pt x="216" y="552"/>
                    </a:lnTo>
                    <a:lnTo>
                      <a:pt x="338" y="581"/>
                    </a:lnTo>
                    <a:lnTo>
                      <a:pt x="379" y="552"/>
                    </a:lnTo>
                    <a:lnTo>
                      <a:pt x="361" y="488"/>
                    </a:lnTo>
                    <a:lnTo>
                      <a:pt x="593" y="296"/>
                    </a:lnTo>
                    <a:lnTo>
                      <a:pt x="501" y="262"/>
                    </a:lnTo>
                    <a:lnTo>
                      <a:pt x="477" y="209"/>
                    </a:lnTo>
                    <a:lnTo>
                      <a:pt x="424" y="209"/>
                    </a:lnTo>
                    <a:lnTo>
                      <a:pt x="361" y="35"/>
                    </a:lnTo>
                    <a:lnTo>
                      <a:pt x="297" y="0"/>
                    </a:lnTo>
                    <a:lnTo>
                      <a:pt x="94" y="64"/>
                    </a:lnTo>
                    <a:lnTo>
                      <a:pt x="82" y="291"/>
                    </a:lnTo>
                    <a:lnTo>
                      <a:pt x="0" y="337"/>
                    </a:lnTo>
                    <a:lnTo>
                      <a:pt x="0" y="622"/>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48" name="Google Shape;2948;g805494e7d0_2_86"/>
              <p:cNvSpPr/>
              <p:nvPr/>
            </p:nvSpPr>
            <p:spPr>
              <a:xfrm>
                <a:off x="3098" y="1111"/>
                <a:ext cx="108" cy="92"/>
              </a:xfrm>
              <a:custGeom>
                <a:avLst/>
                <a:gdLst/>
                <a:ahLst/>
                <a:cxnLst/>
                <a:rect l="l" t="t" r="r" b="b"/>
                <a:pathLst>
                  <a:path w="982" h="970" extrusionOk="0">
                    <a:moveTo>
                      <a:pt x="0" y="500"/>
                    </a:moveTo>
                    <a:lnTo>
                      <a:pt x="110" y="710"/>
                    </a:lnTo>
                    <a:lnTo>
                      <a:pt x="87" y="831"/>
                    </a:lnTo>
                    <a:lnTo>
                      <a:pt x="127" y="942"/>
                    </a:lnTo>
                    <a:lnTo>
                      <a:pt x="203" y="970"/>
                    </a:lnTo>
                    <a:lnTo>
                      <a:pt x="296" y="907"/>
                    </a:lnTo>
                    <a:lnTo>
                      <a:pt x="418" y="895"/>
                    </a:lnTo>
                    <a:lnTo>
                      <a:pt x="593" y="814"/>
                    </a:lnTo>
                    <a:lnTo>
                      <a:pt x="755" y="721"/>
                    </a:lnTo>
                    <a:lnTo>
                      <a:pt x="964" y="431"/>
                    </a:lnTo>
                    <a:lnTo>
                      <a:pt x="982" y="366"/>
                    </a:lnTo>
                    <a:lnTo>
                      <a:pt x="924" y="354"/>
                    </a:lnTo>
                    <a:lnTo>
                      <a:pt x="860" y="413"/>
                    </a:lnTo>
                    <a:lnTo>
                      <a:pt x="819" y="407"/>
                    </a:lnTo>
                    <a:lnTo>
                      <a:pt x="842" y="332"/>
                    </a:lnTo>
                    <a:lnTo>
                      <a:pt x="848" y="302"/>
                    </a:lnTo>
                    <a:lnTo>
                      <a:pt x="924" y="302"/>
                    </a:lnTo>
                    <a:lnTo>
                      <a:pt x="889" y="53"/>
                    </a:lnTo>
                    <a:lnTo>
                      <a:pt x="760" y="0"/>
                    </a:lnTo>
                    <a:lnTo>
                      <a:pt x="540" y="175"/>
                    </a:lnTo>
                    <a:lnTo>
                      <a:pt x="558" y="256"/>
                    </a:lnTo>
                    <a:lnTo>
                      <a:pt x="517" y="285"/>
                    </a:lnTo>
                    <a:lnTo>
                      <a:pt x="395" y="256"/>
                    </a:lnTo>
                    <a:lnTo>
                      <a:pt x="326" y="332"/>
                    </a:lnTo>
                    <a:lnTo>
                      <a:pt x="232" y="378"/>
                    </a:lnTo>
                    <a:lnTo>
                      <a:pt x="179" y="326"/>
                    </a:lnTo>
                    <a:lnTo>
                      <a:pt x="179" y="477"/>
                    </a:lnTo>
                    <a:lnTo>
                      <a:pt x="127" y="541"/>
                    </a:lnTo>
                    <a:lnTo>
                      <a:pt x="64" y="518"/>
                    </a:lnTo>
                    <a:lnTo>
                      <a:pt x="46" y="436"/>
                    </a:lnTo>
                    <a:lnTo>
                      <a:pt x="0" y="50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49" name="Google Shape;2949;g805494e7d0_2_86"/>
              <p:cNvSpPr/>
              <p:nvPr/>
            </p:nvSpPr>
            <p:spPr>
              <a:xfrm>
                <a:off x="3186" y="1139"/>
                <a:ext cx="13" cy="11"/>
              </a:xfrm>
              <a:custGeom>
                <a:avLst/>
                <a:gdLst/>
                <a:ahLst/>
                <a:cxnLst/>
                <a:rect l="l" t="t" r="r" b="b"/>
                <a:pathLst>
                  <a:path w="116" h="111" extrusionOk="0">
                    <a:moveTo>
                      <a:pt x="104" y="0"/>
                    </a:moveTo>
                    <a:lnTo>
                      <a:pt x="41" y="0"/>
                    </a:lnTo>
                    <a:lnTo>
                      <a:pt x="0" y="99"/>
                    </a:lnTo>
                    <a:lnTo>
                      <a:pt x="47" y="111"/>
                    </a:lnTo>
                    <a:lnTo>
                      <a:pt x="116" y="52"/>
                    </a:lnTo>
                    <a:lnTo>
                      <a:pt x="104"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50" name="Google Shape;2950;g805494e7d0_2_86"/>
              <p:cNvSpPr/>
              <p:nvPr/>
            </p:nvSpPr>
            <p:spPr>
              <a:xfrm>
                <a:off x="3165" y="1156"/>
                <a:ext cx="14" cy="14"/>
              </a:xfrm>
              <a:custGeom>
                <a:avLst/>
                <a:gdLst/>
                <a:ahLst/>
                <a:cxnLst/>
                <a:rect l="l" t="t" r="r" b="b"/>
                <a:pathLst>
                  <a:path w="133" h="145" extrusionOk="0">
                    <a:moveTo>
                      <a:pt x="98" y="0"/>
                    </a:moveTo>
                    <a:lnTo>
                      <a:pt x="17" y="23"/>
                    </a:lnTo>
                    <a:lnTo>
                      <a:pt x="0" y="81"/>
                    </a:lnTo>
                    <a:lnTo>
                      <a:pt x="28" y="145"/>
                    </a:lnTo>
                    <a:lnTo>
                      <a:pt x="81" y="145"/>
                    </a:lnTo>
                    <a:lnTo>
                      <a:pt x="133" y="70"/>
                    </a:lnTo>
                    <a:lnTo>
                      <a:pt x="133" y="40"/>
                    </a:lnTo>
                    <a:lnTo>
                      <a:pt x="128" y="17"/>
                    </a:lnTo>
                    <a:lnTo>
                      <a:pt x="98"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51" name="Google Shape;2951;g805494e7d0_2_86"/>
              <p:cNvSpPr/>
              <p:nvPr/>
            </p:nvSpPr>
            <p:spPr>
              <a:xfrm>
                <a:off x="2987" y="563"/>
                <a:ext cx="3" cy="5"/>
              </a:xfrm>
              <a:custGeom>
                <a:avLst/>
                <a:gdLst/>
                <a:ahLst/>
                <a:cxnLst/>
                <a:rect l="l" t="t" r="r" b="b"/>
                <a:pathLst>
                  <a:path w="24" h="58" extrusionOk="0">
                    <a:moveTo>
                      <a:pt x="12" y="0"/>
                    </a:moveTo>
                    <a:lnTo>
                      <a:pt x="24" y="35"/>
                    </a:lnTo>
                    <a:lnTo>
                      <a:pt x="6" y="58"/>
                    </a:lnTo>
                    <a:lnTo>
                      <a:pt x="6" y="52"/>
                    </a:lnTo>
                    <a:lnTo>
                      <a:pt x="6" y="40"/>
                    </a:lnTo>
                    <a:lnTo>
                      <a:pt x="0" y="12"/>
                    </a:lnTo>
                    <a:lnTo>
                      <a:pt x="12"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52" name="Google Shape;2952;g805494e7d0_2_86"/>
              <p:cNvSpPr/>
              <p:nvPr/>
            </p:nvSpPr>
            <p:spPr>
              <a:xfrm>
                <a:off x="2983" y="564"/>
                <a:ext cx="2" cy="3"/>
              </a:xfrm>
              <a:custGeom>
                <a:avLst/>
                <a:gdLst/>
                <a:ahLst/>
                <a:cxnLst/>
                <a:rect l="l" t="t" r="r" b="b"/>
                <a:pathLst>
                  <a:path w="18" h="35" extrusionOk="0">
                    <a:moveTo>
                      <a:pt x="6" y="0"/>
                    </a:moveTo>
                    <a:lnTo>
                      <a:pt x="0" y="24"/>
                    </a:lnTo>
                    <a:lnTo>
                      <a:pt x="11" y="35"/>
                    </a:lnTo>
                    <a:lnTo>
                      <a:pt x="18" y="18"/>
                    </a:lnTo>
                    <a:lnTo>
                      <a:pt x="18" y="7"/>
                    </a:lnTo>
                    <a:lnTo>
                      <a:pt x="6"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53" name="Google Shape;2953;g805494e7d0_2_86"/>
              <p:cNvSpPr/>
              <p:nvPr/>
            </p:nvSpPr>
            <p:spPr>
              <a:xfrm>
                <a:off x="2984" y="557"/>
                <a:ext cx="6" cy="4"/>
              </a:xfrm>
              <a:custGeom>
                <a:avLst/>
                <a:gdLst/>
                <a:ahLst/>
                <a:cxnLst/>
                <a:rect l="l" t="t" r="r" b="b"/>
                <a:pathLst>
                  <a:path w="53" h="47" extrusionOk="0">
                    <a:moveTo>
                      <a:pt x="7" y="18"/>
                    </a:moveTo>
                    <a:lnTo>
                      <a:pt x="0" y="30"/>
                    </a:lnTo>
                    <a:lnTo>
                      <a:pt x="18" y="47"/>
                    </a:lnTo>
                    <a:lnTo>
                      <a:pt x="42" y="41"/>
                    </a:lnTo>
                    <a:lnTo>
                      <a:pt x="53" y="18"/>
                    </a:lnTo>
                    <a:lnTo>
                      <a:pt x="30" y="0"/>
                    </a:lnTo>
                    <a:lnTo>
                      <a:pt x="7" y="0"/>
                    </a:lnTo>
                    <a:lnTo>
                      <a:pt x="7" y="18"/>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54" name="Google Shape;2954;g805494e7d0_2_86"/>
              <p:cNvSpPr/>
              <p:nvPr/>
            </p:nvSpPr>
            <p:spPr>
              <a:xfrm>
                <a:off x="3004" y="555"/>
                <a:ext cx="4" cy="2"/>
              </a:xfrm>
              <a:custGeom>
                <a:avLst/>
                <a:gdLst/>
                <a:ahLst/>
                <a:cxnLst/>
                <a:rect l="l" t="t" r="r" b="b"/>
                <a:pathLst>
                  <a:path w="28" h="23" extrusionOk="0">
                    <a:moveTo>
                      <a:pt x="11" y="6"/>
                    </a:moveTo>
                    <a:lnTo>
                      <a:pt x="0" y="18"/>
                    </a:lnTo>
                    <a:lnTo>
                      <a:pt x="11" y="23"/>
                    </a:lnTo>
                    <a:lnTo>
                      <a:pt x="28" y="23"/>
                    </a:lnTo>
                    <a:lnTo>
                      <a:pt x="23" y="6"/>
                    </a:lnTo>
                    <a:lnTo>
                      <a:pt x="17" y="0"/>
                    </a:lnTo>
                    <a:lnTo>
                      <a:pt x="11" y="6"/>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55" name="Google Shape;2955;g805494e7d0_2_86"/>
              <p:cNvSpPr/>
              <p:nvPr/>
            </p:nvSpPr>
            <p:spPr>
              <a:xfrm>
                <a:off x="2978" y="582"/>
                <a:ext cx="13" cy="12"/>
              </a:xfrm>
              <a:custGeom>
                <a:avLst/>
                <a:gdLst/>
                <a:ahLst/>
                <a:cxnLst/>
                <a:rect l="l" t="t" r="r" b="b"/>
                <a:pathLst>
                  <a:path w="123" h="127" extrusionOk="0">
                    <a:moveTo>
                      <a:pt x="53" y="0"/>
                    </a:moveTo>
                    <a:lnTo>
                      <a:pt x="12" y="35"/>
                    </a:lnTo>
                    <a:lnTo>
                      <a:pt x="0" y="80"/>
                    </a:lnTo>
                    <a:lnTo>
                      <a:pt x="12" y="104"/>
                    </a:lnTo>
                    <a:lnTo>
                      <a:pt x="30" y="98"/>
                    </a:lnTo>
                    <a:lnTo>
                      <a:pt x="82" y="127"/>
                    </a:lnTo>
                    <a:lnTo>
                      <a:pt x="88" y="122"/>
                    </a:lnTo>
                    <a:lnTo>
                      <a:pt x="123" y="80"/>
                    </a:lnTo>
                    <a:lnTo>
                      <a:pt x="111" y="23"/>
                    </a:lnTo>
                    <a:lnTo>
                      <a:pt x="70" y="11"/>
                    </a:lnTo>
                    <a:lnTo>
                      <a:pt x="53"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56" name="Google Shape;2956;g805494e7d0_2_86"/>
              <p:cNvSpPr/>
              <p:nvPr/>
            </p:nvSpPr>
            <p:spPr>
              <a:xfrm>
                <a:off x="2962" y="581"/>
                <a:ext cx="26" cy="28"/>
              </a:xfrm>
              <a:custGeom>
                <a:avLst/>
                <a:gdLst/>
                <a:ahLst/>
                <a:cxnLst/>
                <a:rect l="l" t="t" r="r" b="b"/>
                <a:pathLst>
                  <a:path w="233" h="308" extrusionOk="0">
                    <a:moveTo>
                      <a:pt x="198" y="18"/>
                    </a:moveTo>
                    <a:lnTo>
                      <a:pt x="192" y="0"/>
                    </a:lnTo>
                    <a:lnTo>
                      <a:pt x="157" y="29"/>
                    </a:lnTo>
                    <a:lnTo>
                      <a:pt x="123" y="35"/>
                    </a:lnTo>
                    <a:lnTo>
                      <a:pt x="88" y="46"/>
                    </a:lnTo>
                    <a:lnTo>
                      <a:pt x="116" y="81"/>
                    </a:lnTo>
                    <a:lnTo>
                      <a:pt x="70" y="70"/>
                    </a:lnTo>
                    <a:lnTo>
                      <a:pt x="53" y="87"/>
                    </a:lnTo>
                    <a:lnTo>
                      <a:pt x="64" y="133"/>
                    </a:lnTo>
                    <a:lnTo>
                      <a:pt x="41" y="140"/>
                    </a:lnTo>
                    <a:lnTo>
                      <a:pt x="41" y="151"/>
                    </a:lnTo>
                    <a:lnTo>
                      <a:pt x="64" y="180"/>
                    </a:lnTo>
                    <a:lnTo>
                      <a:pt x="0" y="244"/>
                    </a:lnTo>
                    <a:lnTo>
                      <a:pt x="46" y="290"/>
                    </a:lnTo>
                    <a:lnTo>
                      <a:pt x="116" y="308"/>
                    </a:lnTo>
                    <a:lnTo>
                      <a:pt x="163" y="255"/>
                    </a:lnTo>
                    <a:lnTo>
                      <a:pt x="198" y="297"/>
                    </a:lnTo>
                    <a:lnTo>
                      <a:pt x="221" y="273"/>
                    </a:lnTo>
                    <a:lnTo>
                      <a:pt x="210" y="209"/>
                    </a:lnTo>
                    <a:lnTo>
                      <a:pt x="227" y="186"/>
                    </a:lnTo>
                    <a:lnTo>
                      <a:pt x="233" y="140"/>
                    </a:lnTo>
                    <a:lnTo>
                      <a:pt x="227" y="145"/>
                    </a:lnTo>
                    <a:lnTo>
                      <a:pt x="175" y="116"/>
                    </a:lnTo>
                    <a:lnTo>
                      <a:pt x="157" y="122"/>
                    </a:lnTo>
                    <a:lnTo>
                      <a:pt x="145" y="98"/>
                    </a:lnTo>
                    <a:lnTo>
                      <a:pt x="157" y="53"/>
                    </a:lnTo>
                    <a:lnTo>
                      <a:pt x="198" y="18"/>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57" name="Google Shape;2957;g805494e7d0_2_86"/>
              <p:cNvSpPr/>
              <p:nvPr/>
            </p:nvSpPr>
            <p:spPr>
              <a:xfrm>
                <a:off x="2991" y="598"/>
                <a:ext cx="13" cy="15"/>
              </a:xfrm>
              <a:custGeom>
                <a:avLst/>
                <a:gdLst/>
                <a:ahLst/>
                <a:cxnLst/>
                <a:rect l="l" t="t" r="r" b="b"/>
                <a:pathLst>
                  <a:path w="122" h="163" extrusionOk="0">
                    <a:moveTo>
                      <a:pt x="98" y="6"/>
                    </a:moveTo>
                    <a:lnTo>
                      <a:pt x="122" y="46"/>
                    </a:lnTo>
                    <a:lnTo>
                      <a:pt x="98" y="52"/>
                    </a:lnTo>
                    <a:lnTo>
                      <a:pt x="110" y="76"/>
                    </a:lnTo>
                    <a:lnTo>
                      <a:pt x="93" y="111"/>
                    </a:lnTo>
                    <a:lnTo>
                      <a:pt x="98" y="122"/>
                    </a:lnTo>
                    <a:lnTo>
                      <a:pt x="63" y="163"/>
                    </a:lnTo>
                    <a:lnTo>
                      <a:pt x="0" y="146"/>
                    </a:lnTo>
                    <a:lnTo>
                      <a:pt x="6" y="104"/>
                    </a:lnTo>
                    <a:lnTo>
                      <a:pt x="35" y="99"/>
                    </a:lnTo>
                    <a:lnTo>
                      <a:pt x="40" y="34"/>
                    </a:lnTo>
                    <a:lnTo>
                      <a:pt x="35" y="6"/>
                    </a:lnTo>
                    <a:lnTo>
                      <a:pt x="46" y="0"/>
                    </a:lnTo>
                    <a:lnTo>
                      <a:pt x="70" y="12"/>
                    </a:lnTo>
                    <a:lnTo>
                      <a:pt x="98" y="6"/>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58" name="Google Shape;2958;g805494e7d0_2_86"/>
              <p:cNvSpPr/>
              <p:nvPr/>
            </p:nvSpPr>
            <p:spPr>
              <a:xfrm>
                <a:off x="2987" y="583"/>
                <a:ext cx="39" cy="39"/>
              </a:xfrm>
              <a:custGeom>
                <a:avLst/>
                <a:gdLst/>
                <a:ahLst/>
                <a:cxnLst/>
                <a:rect l="l" t="t" r="r" b="b"/>
                <a:pathLst>
                  <a:path w="360" h="413" extrusionOk="0">
                    <a:moveTo>
                      <a:pt x="128" y="116"/>
                    </a:moveTo>
                    <a:lnTo>
                      <a:pt x="157" y="104"/>
                    </a:lnTo>
                    <a:lnTo>
                      <a:pt x="163" y="69"/>
                    </a:lnTo>
                    <a:lnTo>
                      <a:pt x="203" y="29"/>
                    </a:lnTo>
                    <a:lnTo>
                      <a:pt x="208" y="6"/>
                    </a:lnTo>
                    <a:lnTo>
                      <a:pt x="215" y="0"/>
                    </a:lnTo>
                    <a:lnTo>
                      <a:pt x="226" y="24"/>
                    </a:lnTo>
                    <a:lnTo>
                      <a:pt x="215" y="69"/>
                    </a:lnTo>
                    <a:lnTo>
                      <a:pt x="243" y="69"/>
                    </a:lnTo>
                    <a:lnTo>
                      <a:pt x="267" y="93"/>
                    </a:lnTo>
                    <a:lnTo>
                      <a:pt x="261" y="139"/>
                    </a:lnTo>
                    <a:lnTo>
                      <a:pt x="278" y="191"/>
                    </a:lnTo>
                    <a:lnTo>
                      <a:pt x="313" y="198"/>
                    </a:lnTo>
                    <a:lnTo>
                      <a:pt x="360" y="256"/>
                    </a:lnTo>
                    <a:lnTo>
                      <a:pt x="348" y="296"/>
                    </a:lnTo>
                    <a:lnTo>
                      <a:pt x="296" y="325"/>
                    </a:lnTo>
                    <a:lnTo>
                      <a:pt x="337" y="366"/>
                    </a:lnTo>
                    <a:lnTo>
                      <a:pt x="313" y="383"/>
                    </a:lnTo>
                    <a:lnTo>
                      <a:pt x="267" y="390"/>
                    </a:lnTo>
                    <a:lnTo>
                      <a:pt x="250" y="383"/>
                    </a:lnTo>
                    <a:lnTo>
                      <a:pt x="232" y="395"/>
                    </a:lnTo>
                    <a:lnTo>
                      <a:pt x="163" y="401"/>
                    </a:lnTo>
                    <a:lnTo>
                      <a:pt x="133" y="383"/>
                    </a:lnTo>
                    <a:lnTo>
                      <a:pt x="58" y="413"/>
                    </a:lnTo>
                    <a:lnTo>
                      <a:pt x="6" y="395"/>
                    </a:lnTo>
                    <a:lnTo>
                      <a:pt x="0" y="383"/>
                    </a:lnTo>
                    <a:lnTo>
                      <a:pt x="29" y="378"/>
                    </a:lnTo>
                    <a:lnTo>
                      <a:pt x="53" y="337"/>
                    </a:lnTo>
                    <a:lnTo>
                      <a:pt x="98" y="320"/>
                    </a:lnTo>
                    <a:lnTo>
                      <a:pt x="128" y="279"/>
                    </a:lnTo>
                    <a:lnTo>
                      <a:pt x="128" y="268"/>
                    </a:lnTo>
                    <a:lnTo>
                      <a:pt x="145" y="233"/>
                    </a:lnTo>
                    <a:lnTo>
                      <a:pt x="140" y="203"/>
                    </a:lnTo>
                    <a:lnTo>
                      <a:pt x="157" y="198"/>
                    </a:lnTo>
                    <a:lnTo>
                      <a:pt x="133" y="163"/>
                    </a:lnTo>
                    <a:lnTo>
                      <a:pt x="128" y="116"/>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59" name="Google Shape;2959;g805494e7d0_2_86"/>
              <p:cNvSpPr/>
              <p:nvPr/>
            </p:nvSpPr>
            <p:spPr>
              <a:xfrm>
                <a:off x="2990" y="557"/>
                <a:ext cx="20" cy="37"/>
              </a:xfrm>
              <a:custGeom>
                <a:avLst/>
                <a:gdLst/>
                <a:ahLst/>
                <a:cxnLst/>
                <a:rect l="l" t="t" r="r" b="b"/>
                <a:pathLst>
                  <a:path w="197" h="401" extrusionOk="0">
                    <a:moveTo>
                      <a:pt x="115" y="401"/>
                    </a:moveTo>
                    <a:lnTo>
                      <a:pt x="98" y="354"/>
                    </a:lnTo>
                    <a:lnTo>
                      <a:pt x="104" y="314"/>
                    </a:lnTo>
                    <a:lnTo>
                      <a:pt x="69" y="337"/>
                    </a:lnTo>
                    <a:lnTo>
                      <a:pt x="40" y="309"/>
                    </a:lnTo>
                    <a:lnTo>
                      <a:pt x="35" y="250"/>
                    </a:lnTo>
                    <a:lnTo>
                      <a:pt x="17" y="204"/>
                    </a:lnTo>
                    <a:lnTo>
                      <a:pt x="0" y="209"/>
                    </a:lnTo>
                    <a:lnTo>
                      <a:pt x="0" y="175"/>
                    </a:lnTo>
                    <a:lnTo>
                      <a:pt x="23" y="140"/>
                    </a:lnTo>
                    <a:lnTo>
                      <a:pt x="17" y="122"/>
                    </a:lnTo>
                    <a:lnTo>
                      <a:pt x="23" y="75"/>
                    </a:lnTo>
                    <a:lnTo>
                      <a:pt x="40" y="65"/>
                    </a:lnTo>
                    <a:lnTo>
                      <a:pt x="28" y="47"/>
                    </a:lnTo>
                    <a:lnTo>
                      <a:pt x="40" y="6"/>
                    </a:lnTo>
                    <a:lnTo>
                      <a:pt x="45" y="0"/>
                    </a:lnTo>
                    <a:lnTo>
                      <a:pt x="127" y="18"/>
                    </a:lnTo>
                    <a:lnTo>
                      <a:pt x="127" y="41"/>
                    </a:lnTo>
                    <a:lnTo>
                      <a:pt x="98" y="47"/>
                    </a:lnTo>
                    <a:lnTo>
                      <a:pt x="87" y="87"/>
                    </a:lnTo>
                    <a:lnTo>
                      <a:pt x="110" y="82"/>
                    </a:lnTo>
                    <a:lnTo>
                      <a:pt x="115" y="99"/>
                    </a:lnTo>
                    <a:lnTo>
                      <a:pt x="145" y="99"/>
                    </a:lnTo>
                    <a:lnTo>
                      <a:pt x="173" y="128"/>
                    </a:lnTo>
                    <a:lnTo>
                      <a:pt x="127" y="232"/>
                    </a:lnTo>
                    <a:lnTo>
                      <a:pt x="179" y="244"/>
                    </a:lnTo>
                    <a:lnTo>
                      <a:pt x="197" y="285"/>
                    </a:lnTo>
                    <a:lnTo>
                      <a:pt x="190" y="291"/>
                    </a:lnTo>
                    <a:lnTo>
                      <a:pt x="185" y="314"/>
                    </a:lnTo>
                    <a:lnTo>
                      <a:pt x="145" y="354"/>
                    </a:lnTo>
                    <a:lnTo>
                      <a:pt x="139" y="389"/>
                    </a:lnTo>
                    <a:lnTo>
                      <a:pt x="115" y="401"/>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60" name="Google Shape;2960;g805494e7d0_2_86"/>
              <p:cNvSpPr/>
              <p:nvPr/>
            </p:nvSpPr>
            <p:spPr>
              <a:xfrm>
                <a:off x="3449" y="600"/>
                <a:ext cx="347" cy="244"/>
              </a:xfrm>
              <a:custGeom>
                <a:avLst/>
                <a:gdLst/>
                <a:ahLst/>
                <a:cxnLst/>
                <a:rect l="l" t="t" r="r" b="b"/>
                <a:pathLst>
                  <a:path w="3231" h="2637" extrusionOk="0">
                    <a:moveTo>
                      <a:pt x="81" y="1458"/>
                    </a:moveTo>
                    <a:lnTo>
                      <a:pt x="133" y="1580"/>
                    </a:lnTo>
                    <a:lnTo>
                      <a:pt x="256" y="1598"/>
                    </a:lnTo>
                    <a:lnTo>
                      <a:pt x="337" y="1545"/>
                    </a:lnTo>
                    <a:lnTo>
                      <a:pt x="337" y="1638"/>
                    </a:lnTo>
                    <a:lnTo>
                      <a:pt x="273" y="1767"/>
                    </a:lnTo>
                    <a:lnTo>
                      <a:pt x="261" y="1807"/>
                    </a:lnTo>
                    <a:lnTo>
                      <a:pt x="302" y="1911"/>
                    </a:lnTo>
                    <a:lnTo>
                      <a:pt x="343" y="1946"/>
                    </a:lnTo>
                    <a:lnTo>
                      <a:pt x="400" y="1958"/>
                    </a:lnTo>
                    <a:lnTo>
                      <a:pt x="540" y="2011"/>
                    </a:lnTo>
                    <a:lnTo>
                      <a:pt x="651" y="2103"/>
                    </a:lnTo>
                    <a:lnTo>
                      <a:pt x="767" y="2080"/>
                    </a:lnTo>
                    <a:lnTo>
                      <a:pt x="791" y="2150"/>
                    </a:lnTo>
                    <a:lnTo>
                      <a:pt x="901" y="2150"/>
                    </a:lnTo>
                    <a:lnTo>
                      <a:pt x="1017" y="2150"/>
                    </a:lnTo>
                    <a:lnTo>
                      <a:pt x="1133" y="2126"/>
                    </a:lnTo>
                    <a:lnTo>
                      <a:pt x="1220" y="2056"/>
                    </a:lnTo>
                    <a:lnTo>
                      <a:pt x="1307" y="2056"/>
                    </a:lnTo>
                    <a:lnTo>
                      <a:pt x="1307" y="2103"/>
                    </a:lnTo>
                    <a:lnTo>
                      <a:pt x="1471" y="2150"/>
                    </a:lnTo>
                    <a:lnTo>
                      <a:pt x="1517" y="2260"/>
                    </a:lnTo>
                    <a:lnTo>
                      <a:pt x="1517" y="2341"/>
                    </a:lnTo>
                    <a:lnTo>
                      <a:pt x="1581" y="2405"/>
                    </a:lnTo>
                    <a:lnTo>
                      <a:pt x="1668" y="2422"/>
                    </a:lnTo>
                    <a:lnTo>
                      <a:pt x="1691" y="2527"/>
                    </a:lnTo>
                    <a:lnTo>
                      <a:pt x="1743" y="2544"/>
                    </a:lnTo>
                    <a:lnTo>
                      <a:pt x="1865" y="2475"/>
                    </a:lnTo>
                    <a:lnTo>
                      <a:pt x="1935" y="2480"/>
                    </a:lnTo>
                    <a:lnTo>
                      <a:pt x="1941" y="2527"/>
                    </a:lnTo>
                    <a:lnTo>
                      <a:pt x="1988" y="2567"/>
                    </a:lnTo>
                    <a:lnTo>
                      <a:pt x="2075" y="2550"/>
                    </a:lnTo>
                    <a:lnTo>
                      <a:pt x="2104" y="2637"/>
                    </a:lnTo>
                    <a:lnTo>
                      <a:pt x="2167" y="2637"/>
                    </a:lnTo>
                    <a:lnTo>
                      <a:pt x="2167" y="2567"/>
                    </a:lnTo>
                    <a:lnTo>
                      <a:pt x="2279" y="2550"/>
                    </a:lnTo>
                    <a:lnTo>
                      <a:pt x="2324" y="2480"/>
                    </a:lnTo>
                    <a:lnTo>
                      <a:pt x="2394" y="2504"/>
                    </a:lnTo>
                    <a:lnTo>
                      <a:pt x="2505" y="2434"/>
                    </a:lnTo>
                    <a:lnTo>
                      <a:pt x="2638" y="2283"/>
                    </a:lnTo>
                    <a:lnTo>
                      <a:pt x="2638" y="2236"/>
                    </a:lnTo>
                    <a:lnTo>
                      <a:pt x="2685" y="2213"/>
                    </a:lnTo>
                    <a:lnTo>
                      <a:pt x="2715" y="2126"/>
                    </a:lnTo>
                    <a:lnTo>
                      <a:pt x="2755" y="2011"/>
                    </a:lnTo>
                    <a:lnTo>
                      <a:pt x="2755" y="1987"/>
                    </a:lnTo>
                    <a:lnTo>
                      <a:pt x="2685" y="2011"/>
                    </a:lnTo>
                    <a:lnTo>
                      <a:pt x="2638" y="1946"/>
                    </a:lnTo>
                    <a:lnTo>
                      <a:pt x="2668" y="1899"/>
                    </a:lnTo>
                    <a:lnTo>
                      <a:pt x="2621" y="1830"/>
                    </a:lnTo>
                    <a:lnTo>
                      <a:pt x="2715" y="1830"/>
                    </a:lnTo>
                    <a:lnTo>
                      <a:pt x="2685" y="1767"/>
                    </a:lnTo>
                    <a:lnTo>
                      <a:pt x="2621" y="1650"/>
                    </a:lnTo>
                    <a:lnTo>
                      <a:pt x="2551" y="1603"/>
                    </a:lnTo>
                    <a:lnTo>
                      <a:pt x="2551" y="1563"/>
                    </a:lnTo>
                    <a:lnTo>
                      <a:pt x="2668" y="1446"/>
                    </a:lnTo>
                    <a:lnTo>
                      <a:pt x="2598" y="1401"/>
                    </a:lnTo>
                    <a:lnTo>
                      <a:pt x="2575" y="1383"/>
                    </a:lnTo>
                    <a:lnTo>
                      <a:pt x="2528" y="1446"/>
                    </a:lnTo>
                    <a:lnTo>
                      <a:pt x="2464" y="1401"/>
                    </a:lnTo>
                    <a:lnTo>
                      <a:pt x="2418" y="1359"/>
                    </a:lnTo>
                    <a:lnTo>
                      <a:pt x="2418" y="1289"/>
                    </a:lnTo>
                    <a:lnTo>
                      <a:pt x="2528" y="1226"/>
                    </a:lnTo>
                    <a:lnTo>
                      <a:pt x="2598" y="1132"/>
                    </a:lnTo>
                    <a:lnTo>
                      <a:pt x="2621" y="1156"/>
                    </a:lnTo>
                    <a:lnTo>
                      <a:pt x="2621" y="1226"/>
                    </a:lnTo>
                    <a:lnTo>
                      <a:pt x="2621" y="1266"/>
                    </a:lnTo>
                    <a:lnTo>
                      <a:pt x="2715" y="1226"/>
                    </a:lnTo>
                    <a:lnTo>
                      <a:pt x="2778" y="1202"/>
                    </a:lnTo>
                    <a:lnTo>
                      <a:pt x="2848" y="1110"/>
                    </a:lnTo>
                    <a:lnTo>
                      <a:pt x="2889" y="1063"/>
                    </a:lnTo>
                    <a:lnTo>
                      <a:pt x="2959" y="1017"/>
                    </a:lnTo>
                    <a:lnTo>
                      <a:pt x="2982" y="953"/>
                    </a:lnTo>
                    <a:lnTo>
                      <a:pt x="3045" y="883"/>
                    </a:lnTo>
                    <a:lnTo>
                      <a:pt x="3045" y="836"/>
                    </a:lnTo>
                    <a:lnTo>
                      <a:pt x="3069" y="796"/>
                    </a:lnTo>
                    <a:lnTo>
                      <a:pt x="3092" y="703"/>
                    </a:lnTo>
                    <a:lnTo>
                      <a:pt x="3161" y="726"/>
                    </a:lnTo>
                    <a:lnTo>
                      <a:pt x="3231" y="546"/>
                    </a:lnTo>
                    <a:lnTo>
                      <a:pt x="3184" y="436"/>
                    </a:lnTo>
                    <a:lnTo>
                      <a:pt x="3080" y="494"/>
                    </a:lnTo>
                    <a:lnTo>
                      <a:pt x="2959" y="454"/>
                    </a:lnTo>
                    <a:lnTo>
                      <a:pt x="2959" y="407"/>
                    </a:lnTo>
                    <a:lnTo>
                      <a:pt x="2889" y="360"/>
                    </a:lnTo>
                    <a:lnTo>
                      <a:pt x="2778" y="360"/>
                    </a:lnTo>
                    <a:lnTo>
                      <a:pt x="2638" y="203"/>
                    </a:lnTo>
                    <a:lnTo>
                      <a:pt x="2621" y="70"/>
                    </a:lnTo>
                    <a:lnTo>
                      <a:pt x="2528" y="0"/>
                    </a:lnTo>
                    <a:lnTo>
                      <a:pt x="2279" y="93"/>
                    </a:lnTo>
                    <a:lnTo>
                      <a:pt x="2348" y="116"/>
                    </a:lnTo>
                    <a:lnTo>
                      <a:pt x="2324" y="163"/>
                    </a:lnTo>
                    <a:lnTo>
                      <a:pt x="2324" y="320"/>
                    </a:lnTo>
                    <a:lnTo>
                      <a:pt x="2214" y="389"/>
                    </a:lnTo>
                    <a:lnTo>
                      <a:pt x="2167" y="436"/>
                    </a:lnTo>
                    <a:lnTo>
                      <a:pt x="2167" y="546"/>
                    </a:lnTo>
                    <a:lnTo>
                      <a:pt x="2279" y="546"/>
                    </a:lnTo>
                    <a:lnTo>
                      <a:pt x="2324" y="523"/>
                    </a:lnTo>
                    <a:lnTo>
                      <a:pt x="2371" y="593"/>
                    </a:lnTo>
                    <a:lnTo>
                      <a:pt x="2371" y="639"/>
                    </a:lnTo>
                    <a:lnTo>
                      <a:pt x="2371" y="680"/>
                    </a:lnTo>
                    <a:lnTo>
                      <a:pt x="2301" y="680"/>
                    </a:lnTo>
                    <a:lnTo>
                      <a:pt x="2167" y="813"/>
                    </a:lnTo>
                    <a:lnTo>
                      <a:pt x="2010" y="860"/>
                    </a:lnTo>
                    <a:lnTo>
                      <a:pt x="2010" y="953"/>
                    </a:lnTo>
                    <a:lnTo>
                      <a:pt x="1900" y="1045"/>
                    </a:lnTo>
                    <a:lnTo>
                      <a:pt x="1674" y="1110"/>
                    </a:lnTo>
                    <a:lnTo>
                      <a:pt x="1627" y="1132"/>
                    </a:lnTo>
                    <a:lnTo>
                      <a:pt x="1424" y="1063"/>
                    </a:lnTo>
                    <a:lnTo>
                      <a:pt x="1377" y="1045"/>
                    </a:lnTo>
                    <a:lnTo>
                      <a:pt x="1220" y="1045"/>
                    </a:lnTo>
                    <a:lnTo>
                      <a:pt x="1063" y="906"/>
                    </a:lnTo>
                    <a:lnTo>
                      <a:pt x="948" y="906"/>
                    </a:lnTo>
                    <a:lnTo>
                      <a:pt x="836" y="860"/>
                    </a:lnTo>
                    <a:lnTo>
                      <a:pt x="836" y="726"/>
                    </a:lnTo>
                    <a:lnTo>
                      <a:pt x="791" y="656"/>
                    </a:lnTo>
                    <a:lnTo>
                      <a:pt x="680" y="639"/>
                    </a:lnTo>
                    <a:lnTo>
                      <a:pt x="634" y="593"/>
                    </a:lnTo>
                    <a:lnTo>
                      <a:pt x="587" y="680"/>
                    </a:lnTo>
                    <a:lnTo>
                      <a:pt x="447" y="726"/>
                    </a:lnTo>
                    <a:lnTo>
                      <a:pt x="383" y="813"/>
                    </a:lnTo>
                    <a:lnTo>
                      <a:pt x="430" y="883"/>
                    </a:lnTo>
                    <a:lnTo>
                      <a:pt x="290" y="906"/>
                    </a:lnTo>
                    <a:lnTo>
                      <a:pt x="360" y="1000"/>
                    </a:lnTo>
                    <a:lnTo>
                      <a:pt x="360" y="1063"/>
                    </a:lnTo>
                    <a:lnTo>
                      <a:pt x="273" y="1156"/>
                    </a:lnTo>
                    <a:lnTo>
                      <a:pt x="203" y="1226"/>
                    </a:lnTo>
                    <a:lnTo>
                      <a:pt x="116" y="1226"/>
                    </a:lnTo>
                    <a:lnTo>
                      <a:pt x="0" y="1313"/>
                    </a:lnTo>
                    <a:lnTo>
                      <a:pt x="81" y="1458"/>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61" name="Google Shape;2961;g805494e7d0_2_86"/>
              <p:cNvSpPr/>
              <p:nvPr/>
            </p:nvSpPr>
            <p:spPr>
              <a:xfrm>
                <a:off x="3517" y="628"/>
                <a:ext cx="192" cy="77"/>
              </a:xfrm>
              <a:custGeom>
                <a:avLst/>
                <a:gdLst/>
                <a:ahLst/>
                <a:cxnLst/>
                <a:rect l="l" t="t" r="r" b="b"/>
                <a:pathLst>
                  <a:path w="1744" h="835" extrusionOk="0">
                    <a:moveTo>
                      <a:pt x="0" y="267"/>
                    </a:moveTo>
                    <a:lnTo>
                      <a:pt x="99" y="202"/>
                    </a:lnTo>
                    <a:lnTo>
                      <a:pt x="268" y="98"/>
                    </a:lnTo>
                    <a:lnTo>
                      <a:pt x="326" y="92"/>
                    </a:lnTo>
                    <a:lnTo>
                      <a:pt x="454" y="174"/>
                    </a:lnTo>
                    <a:lnTo>
                      <a:pt x="530" y="157"/>
                    </a:lnTo>
                    <a:lnTo>
                      <a:pt x="617" y="0"/>
                    </a:lnTo>
                    <a:lnTo>
                      <a:pt x="710" y="0"/>
                    </a:lnTo>
                    <a:lnTo>
                      <a:pt x="797" y="139"/>
                    </a:lnTo>
                    <a:lnTo>
                      <a:pt x="867" y="139"/>
                    </a:lnTo>
                    <a:lnTo>
                      <a:pt x="994" y="75"/>
                    </a:lnTo>
                    <a:lnTo>
                      <a:pt x="1111" y="157"/>
                    </a:lnTo>
                    <a:lnTo>
                      <a:pt x="1338" y="139"/>
                    </a:lnTo>
                    <a:lnTo>
                      <a:pt x="1407" y="46"/>
                    </a:lnTo>
                    <a:lnTo>
                      <a:pt x="1488" y="87"/>
                    </a:lnTo>
                    <a:lnTo>
                      <a:pt x="1582" y="92"/>
                    </a:lnTo>
                    <a:lnTo>
                      <a:pt x="1540" y="127"/>
                    </a:lnTo>
                    <a:lnTo>
                      <a:pt x="1540" y="249"/>
                    </a:lnTo>
                    <a:lnTo>
                      <a:pt x="1652" y="244"/>
                    </a:lnTo>
                    <a:lnTo>
                      <a:pt x="1704" y="232"/>
                    </a:lnTo>
                    <a:lnTo>
                      <a:pt x="1744" y="302"/>
                    </a:lnTo>
                    <a:lnTo>
                      <a:pt x="1744" y="383"/>
                    </a:lnTo>
                    <a:lnTo>
                      <a:pt x="1674" y="383"/>
                    </a:lnTo>
                    <a:lnTo>
                      <a:pt x="1535" y="528"/>
                    </a:lnTo>
                    <a:lnTo>
                      <a:pt x="1383" y="557"/>
                    </a:lnTo>
                    <a:lnTo>
                      <a:pt x="1383" y="650"/>
                    </a:lnTo>
                    <a:lnTo>
                      <a:pt x="1268" y="743"/>
                    </a:lnTo>
                    <a:lnTo>
                      <a:pt x="1000" y="835"/>
                    </a:lnTo>
                    <a:lnTo>
                      <a:pt x="785" y="766"/>
                    </a:lnTo>
                    <a:lnTo>
                      <a:pt x="750" y="748"/>
                    </a:lnTo>
                    <a:lnTo>
                      <a:pt x="593" y="748"/>
                    </a:lnTo>
                    <a:lnTo>
                      <a:pt x="436" y="609"/>
                    </a:lnTo>
                    <a:lnTo>
                      <a:pt x="303" y="609"/>
                    </a:lnTo>
                    <a:lnTo>
                      <a:pt x="209" y="563"/>
                    </a:lnTo>
                    <a:lnTo>
                      <a:pt x="209" y="429"/>
                    </a:lnTo>
                    <a:lnTo>
                      <a:pt x="140" y="359"/>
                    </a:lnTo>
                    <a:lnTo>
                      <a:pt x="59" y="342"/>
                    </a:lnTo>
                    <a:lnTo>
                      <a:pt x="0" y="307"/>
                    </a:lnTo>
                    <a:lnTo>
                      <a:pt x="0" y="267"/>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62" name="Google Shape;2962;g805494e7d0_2_86"/>
              <p:cNvSpPr/>
              <p:nvPr/>
            </p:nvSpPr>
            <p:spPr>
              <a:xfrm>
                <a:off x="3753" y="674"/>
                <a:ext cx="36" cy="53"/>
              </a:xfrm>
              <a:custGeom>
                <a:avLst/>
                <a:gdLst/>
                <a:ahLst/>
                <a:cxnLst/>
                <a:rect l="l" t="t" r="r" b="b"/>
                <a:pathLst>
                  <a:path w="337" h="563" extrusionOk="0">
                    <a:moveTo>
                      <a:pt x="267" y="0"/>
                    </a:moveTo>
                    <a:lnTo>
                      <a:pt x="337" y="64"/>
                    </a:lnTo>
                    <a:lnTo>
                      <a:pt x="290" y="134"/>
                    </a:lnTo>
                    <a:lnTo>
                      <a:pt x="267" y="221"/>
                    </a:lnTo>
                    <a:lnTo>
                      <a:pt x="267" y="291"/>
                    </a:lnTo>
                    <a:lnTo>
                      <a:pt x="180" y="383"/>
                    </a:lnTo>
                    <a:lnTo>
                      <a:pt x="157" y="448"/>
                    </a:lnTo>
                    <a:lnTo>
                      <a:pt x="225" y="517"/>
                    </a:lnTo>
                    <a:lnTo>
                      <a:pt x="203" y="540"/>
                    </a:lnTo>
                    <a:lnTo>
                      <a:pt x="133" y="563"/>
                    </a:lnTo>
                    <a:lnTo>
                      <a:pt x="70" y="563"/>
                    </a:lnTo>
                    <a:lnTo>
                      <a:pt x="70" y="470"/>
                    </a:lnTo>
                    <a:lnTo>
                      <a:pt x="46" y="430"/>
                    </a:lnTo>
                    <a:lnTo>
                      <a:pt x="0" y="383"/>
                    </a:lnTo>
                    <a:lnTo>
                      <a:pt x="80" y="273"/>
                    </a:lnTo>
                    <a:lnTo>
                      <a:pt x="133" y="249"/>
                    </a:lnTo>
                    <a:lnTo>
                      <a:pt x="180" y="157"/>
                    </a:lnTo>
                    <a:lnTo>
                      <a:pt x="243" y="87"/>
                    </a:lnTo>
                    <a:lnTo>
                      <a:pt x="243" y="17"/>
                    </a:lnTo>
                    <a:lnTo>
                      <a:pt x="267"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63" name="Google Shape;2963;g805494e7d0_2_86"/>
              <p:cNvSpPr/>
              <p:nvPr/>
            </p:nvSpPr>
            <p:spPr>
              <a:xfrm>
                <a:off x="3765" y="722"/>
                <a:ext cx="22" cy="25"/>
              </a:xfrm>
              <a:custGeom>
                <a:avLst/>
                <a:gdLst/>
                <a:ahLst/>
                <a:cxnLst/>
                <a:rect l="l" t="t" r="r" b="b"/>
                <a:pathLst>
                  <a:path w="203" h="267" extrusionOk="0">
                    <a:moveTo>
                      <a:pt x="0" y="46"/>
                    </a:moveTo>
                    <a:lnTo>
                      <a:pt x="47" y="88"/>
                    </a:lnTo>
                    <a:lnTo>
                      <a:pt x="70" y="180"/>
                    </a:lnTo>
                    <a:lnTo>
                      <a:pt x="70" y="267"/>
                    </a:lnTo>
                    <a:lnTo>
                      <a:pt x="115" y="267"/>
                    </a:lnTo>
                    <a:lnTo>
                      <a:pt x="203" y="250"/>
                    </a:lnTo>
                    <a:lnTo>
                      <a:pt x="203" y="180"/>
                    </a:lnTo>
                    <a:lnTo>
                      <a:pt x="157" y="88"/>
                    </a:lnTo>
                    <a:lnTo>
                      <a:pt x="115" y="0"/>
                    </a:lnTo>
                    <a:lnTo>
                      <a:pt x="70" y="23"/>
                    </a:lnTo>
                    <a:lnTo>
                      <a:pt x="0" y="46"/>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64" name="Google Shape;2964;g805494e7d0_2_86"/>
              <p:cNvSpPr/>
              <p:nvPr/>
            </p:nvSpPr>
            <p:spPr>
              <a:xfrm>
                <a:off x="3821" y="582"/>
                <a:ext cx="30" cy="73"/>
              </a:xfrm>
              <a:custGeom>
                <a:avLst/>
                <a:gdLst/>
                <a:ahLst/>
                <a:cxnLst/>
                <a:rect l="l" t="t" r="r" b="b"/>
                <a:pathLst>
                  <a:path w="273" h="791" extrusionOk="0">
                    <a:moveTo>
                      <a:pt x="0" y="0"/>
                    </a:moveTo>
                    <a:lnTo>
                      <a:pt x="46" y="87"/>
                    </a:lnTo>
                    <a:lnTo>
                      <a:pt x="69" y="251"/>
                    </a:lnTo>
                    <a:lnTo>
                      <a:pt x="116" y="587"/>
                    </a:lnTo>
                    <a:lnTo>
                      <a:pt x="139" y="767"/>
                    </a:lnTo>
                    <a:lnTo>
                      <a:pt x="139" y="791"/>
                    </a:lnTo>
                    <a:lnTo>
                      <a:pt x="203" y="744"/>
                    </a:lnTo>
                    <a:lnTo>
                      <a:pt x="250" y="791"/>
                    </a:lnTo>
                    <a:lnTo>
                      <a:pt x="273" y="744"/>
                    </a:lnTo>
                    <a:lnTo>
                      <a:pt x="203" y="697"/>
                    </a:lnTo>
                    <a:lnTo>
                      <a:pt x="163" y="495"/>
                    </a:lnTo>
                    <a:lnTo>
                      <a:pt x="203" y="495"/>
                    </a:lnTo>
                    <a:lnTo>
                      <a:pt x="203" y="425"/>
                    </a:lnTo>
                    <a:lnTo>
                      <a:pt x="116" y="314"/>
                    </a:lnTo>
                    <a:lnTo>
                      <a:pt x="116" y="157"/>
                    </a:lnTo>
                    <a:lnTo>
                      <a:pt x="69" y="24"/>
                    </a:lnTo>
                    <a:lnTo>
                      <a:pt x="23" y="0"/>
                    </a:lnTo>
                    <a:lnTo>
                      <a:pt x="0"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65" name="Google Shape;2965;g805494e7d0_2_86"/>
              <p:cNvSpPr/>
              <p:nvPr/>
            </p:nvSpPr>
            <p:spPr>
              <a:xfrm>
                <a:off x="3841" y="659"/>
                <a:ext cx="31" cy="31"/>
              </a:xfrm>
              <a:custGeom>
                <a:avLst/>
                <a:gdLst/>
                <a:ahLst/>
                <a:cxnLst/>
                <a:rect l="l" t="t" r="r" b="b"/>
                <a:pathLst>
                  <a:path w="291" h="331" extrusionOk="0">
                    <a:moveTo>
                      <a:pt x="0" y="0"/>
                    </a:moveTo>
                    <a:lnTo>
                      <a:pt x="17" y="134"/>
                    </a:lnTo>
                    <a:lnTo>
                      <a:pt x="0" y="314"/>
                    </a:lnTo>
                    <a:lnTo>
                      <a:pt x="87" y="291"/>
                    </a:lnTo>
                    <a:lnTo>
                      <a:pt x="151" y="331"/>
                    </a:lnTo>
                    <a:lnTo>
                      <a:pt x="180" y="314"/>
                    </a:lnTo>
                    <a:lnTo>
                      <a:pt x="180" y="267"/>
                    </a:lnTo>
                    <a:lnTo>
                      <a:pt x="291" y="174"/>
                    </a:lnTo>
                    <a:lnTo>
                      <a:pt x="244" y="134"/>
                    </a:lnTo>
                    <a:lnTo>
                      <a:pt x="151" y="111"/>
                    </a:lnTo>
                    <a:lnTo>
                      <a:pt x="40" y="17"/>
                    </a:lnTo>
                    <a:lnTo>
                      <a:pt x="0"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66" name="Google Shape;2966;g805494e7d0_2_86"/>
              <p:cNvSpPr/>
              <p:nvPr/>
            </p:nvSpPr>
            <p:spPr>
              <a:xfrm>
                <a:off x="3800" y="695"/>
                <a:ext cx="56" cy="59"/>
              </a:xfrm>
              <a:custGeom>
                <a:avLst/>
                <a:gdLst/>
                <a:ahLst/>
                <a:cxnLst/>
                <a:rect l="l" t="t" r="r" b="b"/>
                <a:pathLst>
                  <a:path w="518" h="633" extrusionOk="0">
                    <a:moveTo>
                      <a:pt x="384" y="0"/>
                    </a:moveTo>
                    <a:lnTo>
                      <a:pt x="361" y="209"/>
                    </a:lnTo>
                    <a:lnTo>
                      <a:pt x="361" y="296"/>
                    </a:lnTo>
                    <a:lnTo>
                      <a:pt x="198" y="429"/>
                    </a:lnTo>
                    <a:lnTo>
                      <a:pt x="198" y="476"/>
                    </a:lnTo>
                    <a:lnTo>
                      <a:pt x="47" y="523"/>
                    </a:lnTo>
                    <a:lnTo>
                      <a:pt x="0" y="586"/>
                    </a:lnTo>
                    <a:lnTo>
                      <a:pt x="65" y="610"/>
                    </a:lnTo>
                    <a:lnTo>
                      <a:pt x="110" y="586"/>
                    </a:lnTo>
                    <a:lnTo>
                      <a:pt x="157" y="586"/>
                    </a:lnTo>
                    <a:lnTo>
                      <a:pt x="221" y="563"/>
                    </a:lnTo>
                    <a:lnTo>
                      <a:pt x="244" y="633"/>
                    </a:lnTo>
                    <a:lnTo>
                      <a:pt x="314" y="610"/>
                    </a:lnTo>
                    <a:lnTo>
                      <a:pt x="314" y="546"/>
                    </a:lnTo>
                    <a:lnTo>
                      <a:pt x="337" y="546"/>
                    </a:lnTo>
                    <a:lnTo>
                      <a:pt x="361" y="523"/>
                    </a:lnTo>
                    <a:lnTo>
                      <a:pt x="448" y="523"/>
                    </a:lnTo>
                    <a:lnTo>
                      <a:pt x="448" y="476"/>
                    </a:lnTo>
                    <a:lnTo>
                      <a:pt x="518" y="499"/>
                    </a:lnTo>
                    <a:lnTo>
                      <a:pt x="494" y="366"/>
                    </a:lnTo>
                    <a:lnTo>
                      <a:pt x="471" y="296"/>
                    </a:lnTo>
                    <a:lnTo>
                      <a:pt x="494" y="227"/>
                    </a:lnTo>
                    <a:lnTo>
                      <a:pt x="494" y="185"/>
                    </a:lnTo>
                    <a:lnTo>
                      <a:pt x="518" y="115"/>
                    </a:lnTo>
                    <a:lnTo>
                      <a:pt x="471" y="28"/>
                    </a:lnTo>
                    <a:lnTo>
                      <a:pt x="448" y="28"/>
                    </a:lnTo>
                    <a:lnTo>
                      <a:pt x="384"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67" name="Google Shape;2967;g805494e7d0_2_86"/>
              <p:cNvSpPr/>
              <p:nvPr/>
            </p:nvSpPr>
            <p:spPr>
              <a:xfrm>
                <a:off x="3812" y="753"/>
                <a:ext cx="9" cy="7"/>
              </a:xfrm>
              <a:custGeom>
                <a:avLst/>
                <a:gdLst/>
                <a:ahLst/>
                <a:cxnLst/>
                <a:rect l="l" t="t" r="r" b="b"/>
                <a:pathLst>
                  <a:path w="88" h="70" extrusionOk="0">
                    <a:moveTo>
                      <a:pt x="47" y="0"/>
                    </a:moveTo>
                    <a:lnTo>
                      <a:pt x="0" y="23"/>
                    </a:lnTo>
                    <a:lnTo>
                      <a:pt x="0" y="70"/>
                    </a:lnTo>
                    <a:lnTo>
                      <a:pt x="88" y="70"/>
                    </a:lnTo>
                    <a:lnTo>
                      <a:pt x="88" y="23"/>
                    </a:lnTo>
                    <a:lnTo>
                      <a:pt x="47"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68" name="Google Shape;2968;g805494e7d0_2_86"/>
              <p:cNvSpPr/>
              <p:nvPr/>
            </p:nvSpPr>
            <p:spPr>
              <a:xfrm>
                <a:off x="3797" y="756"/>
                <a:ext cx="9" cy="18"/>
              </a:xfrm>
              <a:custGeom>
                <a:avLst/>
                <a:gdLst/>
                <a:ahLst/>
                <a:cxnLst/>
                <a:rect l="l" t="t" r="r" b="b"/>
                <a:pathLst>
                  <a:path w="88" h="204" extrusionOk="0">
                    <a:moveTo>
                      <a:pt x="88" y="47"/>
                    </a:moveTo>
                    <a:lnTo>
                      <a:pt x="41" y="0"/>
                    </a:lnTo>
                    <a:lnTo>
                      <a:pt x="0" y="47"/>
                    </a:lnTo>
                    <a:lnTo>
                      <a:pt x="0" y="157"/>
                    </a:lnTo>
                    <a:lnTo>
                      <a:pt x="41" y="204"/>
                    </a:lnTo>
                    <a:lnTo>
                      <a:pt x="70" y="157"/>
                    </a:lnTo>
                    <a:lnTo>
                      <a:pt x="70" y="94"/>
                    </a:lnTo>
                    <a:lnTo>
                      <a:pt x="88" y="47"/>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69" name="Google Shape;2969;g805494e7d0_2_86"/>
              <p:cNvSpPr/>
              <p:nvPr/>
            </p:nvSpPr>
            <p:spPr>
              <a:xfrm>
                <a:off x="3672" y="849"/>
                <a:ext cx="15" cy="9"/>
              </a:xfrm>
              <a:custGeom>
                <a:avLst/>
                <a:gdLst/>
                <a:ahLst/>
                <a:cxnLst/>
                <a:rect l="l" t="t" r="r" b="b"/>
                <a:pathLst>
                  <a:path w="134" h="93" extrusionOk="0">
                    <a:moveTo>
                      <a:pt x="110" y="0"/>
                    </a:moveTo>
                    <a:lnTo>
                      <a:pt x="47" y="0"/>
                    </a:lnTo>
                    <a:lnTo>
                      <a:pt x="0" y="47"/>
                    </a:lnTo>
                    <a:lnTo>
                      <a:pt x="47" y="93"/>
                    </a:lnTo>
                    <a:lnTo>
                      <a:pt x="134" y="47"/>
                    </a:lnTo>
                    <a:lnTo>
                      <a:pt x="110"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70" name="Google Shape;2970;g805494e7d0_2_86"/>
              <p:cNvSpPr/>
              <p:nvPr/>
            </p:nvSpPr>
            <p:spPr>
              <a:xfrm>
                <a:off x="3635" y="831"/>
                <a:ext cx="47" cy="83"/>
              </a:xfrm>
              <a:custGeom>
                <a:avLst/>
                <a:gdLst/>
                <a:ahLst/>
                <a:cxnLst/>
                <a:rect l="l" t="t" r="r" b="b"/>
                <a:pathLst>
                  <a:path w="424" h="901" extrusionOk="0">
                    <a:moveTo>
                      <a:pt x="0" y="47"/>
                    </a:moveTo>
                    <a:lnTo>
                      <a:pt x="18" y="111"/>
                    </a:lnTo>
                    <a:lnTo>
                      <a:pt x="88" y="111"/>
                    </a:lnTo>
                    <a:lnTo>
                      <a:pt x="133" y="181"/>
                    </a:lnTo>
                    <a:lnTo>
                      <a:pt x="111" y="251"/>
                    </a:lnTo>
                    <a:lnTo>
                      <a:pt x="221" y="384"/>
                    </a:lnTo>
                    <a:lnTo>
                      <a:pt x="314" y="518"/>
                    </a:lnTo>
                    <a:lnTo>
                      <a:pt x="268" y="587"/>
                    </a:lnTo>
                    <a:lnTo>
                      <a:pt x="314" y="704"/>
                    </a:lnTo>
                    <a:lnTo>
                      <a:pt x="221" y="744"/>
                    </a:lnTo>
                    <a:lnTo>
                      <a:pt x="221" y="791"/>
                    </a:lnTo>
                    <a:lnTo>
                      <a:pt x="157" y="814"/>
                    </a:lnTo>
                    <a:lnTo>
                      <a:pt x="157" y="861"/>
                    </a:lnTo>
                    <a:lnTo>
                      <a:pt x="180" y="901"/>
                    </a:lnTo>
                    <a:lnTo>
                      <a:pt x="221" y="878"/>
                    </a:lnTo>
                    <a:lnTo>
                      <a:pt x="355" y="767"/>
                    </a:lnTo>
                    <a:lnTo>
                      <a:pt x="402" y="721"/>
                    </a:lnTo>
                    <a:lnTo>
                      <a:pt x="424" y="634"/>
                    </a:lnTo>
                    <a:lnTo>
                      <a:pt x="402" y="518"/>
                    </a:lnTo>
                    <a:lnTo>
                      <a:pt x="355" y="453"/>
                    </a:lnTo>
                    <a:lnTo>
                      <a:pt x="355" y="408"/>
                    </a:lnTo>
                    <a:lnTo>
                      <a:pt x="290" y="408"/>
                    </a:lnTo>
                    <a:lnTo>
                      <a:pt x="245" y="338"/>
                    </a:lnTo>
                    <a:lnTo>
                      <a:pt x="198" y="251"/>
                    </a:lnTo>
                    <a:lnTo>
                      <a:pt x="198" y="181"/>
                    </a:lnTo>
                    <a:lnTo>
                      <a:pt x="268" y="111"/>
                    </a:lnTo>
                    <a:lnTo>
                      <a:pt x="290" y="87"/>
                    </a:lnTo>
                    <a:lnTo>
                      <a:pt x="268" y="87"/>
                    </a:lnTo>
                    <a:lnTo>
                      <a:pt x="221" y="47"/>
                    </a:lnTo>
                    <a:lnTo>
                      <a:pt x="221" y="0"/>
                    </a:lnTo>
                    <a:lnTo>
                      <a:pt x="198" y="0"/>
                    </a:lnTo>
                    <a:lnTo>
                      <a:pt x="133" y="0"/>
                    </a:lnTo>
                    <a:lnTo>
                      <a:pt x="18" y="70"/>
                    </a:lnTo>
                    <a:lnTo>
                      <a:pt x="0" y="47"/>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71" name="Google Shape;2971;g805494e7d0_2_86"/>
              <p:cNvSpPr/>
              <p:nvPr/>
            </p:nvSpPr>
            <p:spPr>
              <a:xfrm>
                <a:off x="3621" y="835"/>
                <a:ext cx="49" cy="75"/>
              </a:xfrm>
              <a:custGeom>
                <a:avLst/>
                <a:gdLst/>
                <a:ahLst/>
                <a:cxnLst/>
                <a:rect l="l" t="t" r="r" b="b"/>
                <a:pathLst>
                  <a:path w="453" h="814" extrusionOk="0">
                    <a:moveTo>
                      <a:pt x="110" y="0"/>
                    </a:moveTo>
                    <a:lnTo>
                      <a:pt x="52" y="52"/>
                    </a:lnTo>
                    <a:lnTo>
                      <a:pt x="0" y="134"/>
                    </a:lnTo>
                    <a:lnTo>
                      <a:pt x="70" y="180"/>
                    </a:lnTo>
                    <a:lnTo>
                      <a:pt x="70" y="291"/>
                    </a:lnTo>
                    <a:lnTo>
                      <a:pt x="110" y="314"/>
                    </a:lnTo>
                    <a:lnTo>
                      <a:pt x="180" y="267"/>
                    </a:lnTo>
                    <a:lnTo>
                      <a:pt x="227" y="267"/>
                    </a:lnTo>
                    <a:lnTo>
                      <a:pt x="337" y="406"/>
                    </a:lnTo>
                    <a:lnTo>
                      <a:pt x="337" y="453"/>
                    </a:lnTo>
                    <a:lnTo>
                      <a:pt x="360" y="494"/>
                    </a:lnTo>
                    <a:lnTo>
                      <a:pt x="360" y="563"/>
                    </a:lnTo>
                    <a:lnTo>
                      <a:pt x="337" y="587"/>
                    </a:lnTo>
                    <a:lnTo>
                      <a:pt x="272" y="563"/>
                    </a:lnTo>
                    <a:lnTo>
                      <a:pt x="227" y="518"/>
                    </a:lnTo>
                    <a:lnTo>
                      <a:pt x="174" y="570"/>
                    </a:lnTo>
                    <a:lnTo>
                      <a:pt x="157" y="610"/>
                    </a:lnTo>
                    <a:lnTo>
                      <a:pt x="180" y="697"/>
                    </a:lnTo>
                    <a:lnTo>
                      <a:pt x="227" y="744"/>
                    </a:lnTo>
                    <a:lnTo>
                      <a:pt x="296" y="814"/>
                    </a:lnTo>
                    <a:lnTo>
                      <a:pt x="319" y="790"/>
                    </a:lnTo>
                    <a:lnTo>
                      <a:pt x="360" y="744"/>
                    </a:lnTo>
                    <a:lnTo>
                      <a:pt x="360" y="697"/>
                    </a:lnTo>
                    <a:lnTo>
                      <a:pt x="407" y="674"/>
                    </a:lnTo>
                    <a:lnTo>
                      <a:pt x="447" y="650"/>
                    </a:lnTo>
                    <a:lnTo>
                      <a:pt x="453" y="610"/>
                    </a:lnTo>
                    <a:lnTo>
                      <a:pt x="407" y="563"/>
                    </a:lnTo>
                    <a:lnTo>
                      <a:pt x="436" y="494"/>
                    </a:lnTo>
                    <a:lnTo>
                      <a:pt x="447" y="471"/>
                    </a:lnTo>
                    <a:lnTo>
                      <a:pt x="424" y="424"/>
                    </a:lnTo>
                    <a:lnTo>
                      <a:pt x="319" y="267"/>
                    </a:lnTo>
                    <a:lnTo>
                      <a:pt x="250" y="204"/>
                    </a:lnTo>
                    <a:lnTo>
                      <a:pt x="272" y="134"/>
                    </a:lnTo>
                    <a:lnTo>
                      <a:pt x="250" y="87"/>
                    </a:lnTo>
                    <a:lnTo>
                      <a:pt x="227" y="64"/>
                    </a:lnTo>
                    <a:lnTo>
                      <a:pt x="157" y="64"/>
                    </a:lnTo>
                    <a:lnTo>
                      <a:pt x="157" y="23"/>
                    </a:lnTo>
                    <a:lnTo>
                      <a:pt x="110"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72" name="Google Shape;2972;g805494e7d0_2_86"/>
              <p:cNvSpPr/>
              <p:nvPr/>
            </p:nvSpPr>
            <p:spPr>
              <a:xfrm>
                <a:off x="3607" y="847"/>
                <a:ext cx="53" cy="79"/>
              </a:xfrm>
              <a:custGeom>
                <a:avLst/>
                <a:gdLst/>
                <a:ahLst/>
                <a:cxnLst/>
                <a:rect l="l" t="t" r="r" b="b"/>
                <a:pathLst>
                  <a:path w="482" h="854" extrusionOk="0">
                    <a:moveTo>
                      <a:pt x="122" y="0"/>
                    </a:moveTo>
                    <a:lnTo>
                      <a:pt x="99" y="28"/>
                    </a:lnTo>
                    <a:lnTo>
                      <a:pt x="58" y="75"/>
                    </a:lnTo>
                    <a:lnTo>
                      <a:pt x="0" y="140"/>
                    </a:lnTo>
                    <a:lnTo>
                      <a:pt x="75" y="272"/>
                    </a:lnTo>
                    <a:lnTo>
                      <a:pt x="75" y="360"/>
                    </a:lnTo>
                    <a:lnTo>
                      <a:pt x="75" y="406"/>
                    </a:lnTo>
                    <a:lnTo>
                      <a:pt x="99" y="476"/>
                    </a:lnTo>
                    <a:lnTo>
                      <a:pt x="75" y="656"/>
                    </a:lnTo>
                    <a:lnTo>
                      <a:pt x="75" y="720"/>
                    </a:lnTo>
                    <a:lnTo>
                      <a:pt x="145" y="767"/>
                    </a:lnTo>
                    <a:lnTo>
                      <a:pt x="168" y="848"/>
                    </a:lnTo>
                    <a:lnTo>
                      <a:pt x="232" y="854"/>
                    </a:lnTo>
                    <a:lnTo>
                      <a:pt x="192" y="743"/>
                    </a:lnTo>
                    <a:lnTo>
                      <a:pt x="145" y="697"/>
                    </a:lnTo>
                    <a:lnTo>
                      <a:pt x="168" y="540"/>
                    </a:lnTo>
                    <a:lnTo>
                      <a:pt x="168" y="453"/>
                    </a:lnTo>
                    <a:lnTo>
                      <a:pt x="232" y="476"/>
                    </a:lnTo>
                    <a:lnTo>
                      <a:pt x="279" y="476"/>
                    </a:lnTo>
                    <a:lnTo>
                      <a:pt x="302" y="429"/>
                    </a:lnTo>
                    <a:lnTo>
                      <a:pt x="349" y="384"/>
                    </a:lnTo>
                    <a:lnTo>
                      <a:pt x="394" y="429"/>
                    </a:lnTo>
                    <a:lnTo>
                      <a:pt x="476" y="453"/>
                    </a:lnTo>
                    <a:lnTo>
                      <a:pt x="482" y="406"/>
                    </a:lnTo>
                    <a:lnTo>
                      <a:pt x="482" y="337"/>
                    </a:lnTo>
                    <a:lnTo>
                      <a:pt x="459" y="272"/>
                    </a:lnTo>
                    <a:lnTo>
                      <a:pt x="394" y="180"/>
                    </a:lnTo>
                    <a:lnTo>
                      <a:pt x="349" y="133"/>
                    </a:lnTo>
                    <a:lnTo>
                      <a:pt x="296" y="140"/>
                    </a:lnTo>
                    <a:lnTo>
                      <a:pt x="232" y="180"/>
                    </a:lnTo>
                    <a:lnTo>
                      <a:pt x="192" y="133"/>
                    </a:lnTo>
                    <a:lnTo>
                      <a:pt x="185" y="58"/>
                    </a:lnTo>
                    <a:lnTo>
                      <a:pt x="168" y="23"/>
                    </a:lnTo>
                    <a:lnTo>
                      <a:pt x="122"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73" name="Google Shape;2973;g805494e7d0_2_86"/>
              <p:cNvSpPr/>
              <p:nvPr/>
            </p:nvSpPr>
            <p:spPr>
              <a:xfrm>
                <a:off x="3575" y="797"/>
                <a:ext cx="57" cy="102"/>
              </a:xfrm>
              <a:custGeom>
                <a:avLst/>
                <a:gdLst/>
                <a:ahLst/>
                <a:cxnLst/>
                <a:rect l="l" t="t" r="r" b="b"/>
                <a:pathLst>
                  <a:path w="534" h="1075" extrusionOk="0">
                    <a:moveTo>
                      <a:pt x="244" y="0"/>
                    </a:moveTo>
                    <a:lnTo>
                      <a:pt x="203" y="47"/>
                    </a:lnTo>
                    <a:lnTo>
                      <a:pt x="133" y="110"/>
                    </a:lnTo>
                    <a:lnTo>
                      <a:pt x="93" y="204"/>
                    </a:lnTo>
                    <a:lnTo>
                      <a:pt x="93" y="308"/>
                    </a:lnTo>
                    <a:lnTo>
                      <a:pt x="35" y="308"/>
                    </a:lnTo>
                    <a:lnTo>
                      <a:pt x="23" y="354"/>
                    </a:lnTo>
                    <a:lnTo>
                      <a:pt x="17" y="459"/>
                    </a:lnTo>
                    <a:lnTo>
                      <a:pt x="0" y="511"/>
                    </a:lnTo>
                    <a:lnTo>
                      <a:pt x="63" y="558"/>
                    </a:lnTo>
                    <a:lnTo>
                      <a:pt x="110" y="715"/>
                    </a:lnTo>
                    <a:lnTo>
                      <a:pt x="150" y="785"/>
                    </a:lnTo>
                    <a:lnTo>
                      <a:pt x="180" y="807"/>
                    </a:lnTo>
                    <a:lnTo>
                      <a:pt x="220" y="807"/>
                    </a:lnTo>
                    <a:lnTo>
                      <a:pt x="244" y="715"/>
                    </a:lnTo>
                    <a:lnTo>
                      <a:pt x="290" y="762"/>
                    </a:lnTo>
                    <a:lnTo>
                      <a:pt x="290" y="825"/>
                    </a:lnTo>
                    <a:lnTo>
                      <a:pt x="337" y="895"/>
                    </a:lnTo>
                    <a:lnTo>
                      <a:pt x="354" y="919"/>
                    </a:lnTo>
                    <a:lnTo>
                      <a:pt x="354" y="1011"/>
                    </a:lnTo>
                    <a:lnTo>
                      <a:pt x="401" y="1075"/>
                    </a:lnTo>
                    <a:lnTo>
                      <a:pt x="401" y="988"/>
                    </a:lnTo>
                    <a:lnTo>
                      <a:pt x="377" y="941"/>
                    </a:lnTo>
                    <a:lnTo>
                      <a:pt x="377" y="825"/>
                    </a:lnTo>
                    <a:lnTo>
                      <a:pt x="337" y="738"/>
                    </a:lnTo>
                    <a:lnTo>
                      <a:pt x="302" y="663"/>
                    </a:lnTo>
                    <a:lnTo>
                      <a:pt x="349" y="610"/>
                    </a:lnTo>
                    <a:lnTo>
                      <a:pt x="384" y="575"/>
                    </a:lnTo>
                    <a:lnTo>
                      <a:pt x="424" y="535"/>
                    </a:lnTo>
                    <a:lnTo>
                      <a:pt x="470" y="465"/>
                    </a:lnTo>
                    <a:lnTo>
                      <a:pt x="534" y="406"/>
                    </a:lnTo>
                    <a:lnTo>
                      <a:pt x="505" y="291"/>
                    </a:lnTo>
                    <a:lnTo>
                      <a:pt x="424" y="284"/>
                    </a:lnTo>
                    <a:lnTo>
                      <a:pt x="354" y="221"/>
                    </a:lnTo>
                    <a:lnTo>
                      <a:pt x="354" y="134"/>
                    </a:lnTo>
                    <a:lnTo>
                      <a:pt x="314" y="30"/>
                    </a:lnTo>
                    <a:lnTo>
                      <a:pt x="290" y="24"/>
                    </a:lnTo>
                    <a:lnTo>
                      <a:pt x="244"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74" name="Google Shape;2974;g805494e7d0_2_86"/>
              <p:cNvSpPr/>
              <p:nvPr/>
            </p:nvSpPr>
            <p:spPr>
              <a:xfrm>
                <a:off x="3545" y="811"/>
                <a:ext cx="31" cy="35"/>
              </a:xfrm>
              <a:custGeom>
                <a:avLst/>
                <a:gdLst/>
                <a:ahLst/>
                <a:cxnLst/>
                <a:rect l="l" t="t" r="r" b="b"/>
                <a:pathLst>
                  <a:path w="291" h="366" extrusionOk="0">
                    <a:moveTo>
                      <a:pt x="274" y="366"/>
                    </a:moveTo>
                    <a:lnTo>
                      <a:pt x="245" y="289"/>
                    </a:lnTo>
                    <a:lnTo>
                      <a:pt x="175" y="202"/>
                    </a:lnTo>
                    <a:lnTo>
                      <a:pt x="134" y="156"/>
                    </a:lnTo>
                    <a:lnTo>
                      <a:pt x="88" y="92"/>
                    </a:lnTo>
                    <a:lnTo>
                      <a:pt x="65" y="110"/>
                    </a:lnTo>
                    <a:lnTo>
                      <a:pt x="65" y="179"/>
                    </a:lnTo>
                    <a:lnTo>
                      <a:pt x="18" y="249"/>
                    </a:lnTo>
                    <a:lnTo>
                      <a:pt x="18" y="179"/>
                    </a:lnTo>
                    <a:lnTo>
                      <a:pt x="18" y="69"/>
                    </a:lnTo>
                    <a:lnTo>
                      <a:pt x="0" y="45"/>
                    </a:lnTo>
                    <a:lnTo>
                      <a:pt x="0" y="5"/>
                    </a:lnTo>
                    <a:lnTo>
                      <a:pt x="30" y="0"/>
                    </a:lnTo>
                    <a:lnTo>
                      <a:pt x="140" y="22"/>
                    </a:lnTo>
                    <a:lnTo>
                      <a:pt x="152" y="63"/>
                    </a:lnTo>
                    <a:lnTo>
                      <a:pt x="204" y="57"/>
                    </a:lnTo>
                    <a:lnTo>
                      <a:pt x="227" y="98"/>
                    </a:lnTo>
                    <a:lnTo>
                      <a:pt x="233" y="162"/>
                    </a:lnTo>
                    <a:lnTo>
                      <a:pt x="279" y="226"/>
                    </a:lnTo>
                    <a:lnTo>
                      <a:pt x="291" y="249"/>
                    </a:lnTo>
                    <a:lnTo>
                      <a:pt x="285" y="313"/>
                    </a:lnTo>
                    <a:lnTo>
                      <a:pt x="274" y="366"/>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75" name="Google Shape;2975;g805494e7d0_2_86"/>
              <p:cNvSpPr/>
              <p:nvPr/>
            </p:nvSpPr>
            <p:spPr>
              <a:xfrm>
                <a:off x="3542" y="791"/>
                <a:ext cx="58" cy="49"/>
              </a:xfrm>
              <a:custGeom>
                <a:avLst/>
                <a:gdLst/>
                <a:ahLst/>
                <a:cxnLst/>
                <a:rect l="l" t="t" r="r" b="b"/>
                <a:pathLst>
                  <a:path w="535" h="535" extrusionOk="0">
                    <a:moveTo>
                      <a:pt x="314" y="535"/>
                    </a:moveTo>
                    <a:lnTo>
                      <a:pt x="314" y="471"/>
                    </a:lnTo>
                    <a:lnTo>
                      <a:pt x="250" y="378"/>
                    </a:lnTo>
                    <a:lnTo>
                      <a:pt x="250" y="332"/>
                    </a:lnTo>
                    <a:lnTo>
                      <a:pt x="250" y="309"/>
                    </a:lnTo>
                    <a:lnTo>
                      <a:pt x="238" y="285"/>
                    </a:lnTo>
                    <a:lnTo>
                      <a:pt x="175" y="291"/>
                    </a:lnTo>
                    <a:lnTo>
                      <a:pt x="163" y="250"/>
                    </a:lnTo>
                    <a:lnTo>
                      <a:pt x="41" y="222"/>
                    </a:lnTo>
                    <a:lnTo>
                      <a:pt x="6" y="222"/>
                    </a:lnTo>
                    <a:lnTo>
                      <a:pt x="0" y="198"/>
                    </a:lnTo>
                    <a:lnTo>
                      <a:pt x="35" y="94"/>
                    </a:lnTo>
                    <a:lnTo>
                      <a:pt x="70" y="94"/>
                    </a:lnTo>
                    <a:lnTo>
                      <a:pt x="70" y="157"/>
                    </a:lnTo>
                    <a:lnTo>
                      <a:pt x="111" y="204"/>
                    </a:lnTo>
                    <a:lnTo>
                      <a:pt x="227" y="180"/>
                    </a:lnTo>
                    <a:lnTo>
                      <a:pt x="227" y="77"/>
                    </a:lnTo>
                    <a:lnTo>
                      <a:pt x="273" y="65"/>
                    </a:lnTo>
                    <a:lnTo>
                      <a:pt x="325" y="30"/>
                    </a:lnTo>
                    <a:lnTo>
                      <a:pt x="367" y="0"/>
                    </a:lnTo>
                    <a:lnTo>
                      <a:pt x="424" y="0"/>
                    </a:lnTo>
                    <a:lnTo>
                      <a:pt x="442" y="0"/>
                    </a:lnTo>
                    <a:lnTo>
                      <a:pt x="459" y="42"/>
                    </a:lnTo>
                    <a:lnTo>
                      <a:pt x="535" y="70"/>
                    </a:lnTo>
                    <a:lnTo>
                      <a:pt x="506" y="105"/>
                    </a:lnTo>
                    <a:lnTo>
                      <a:pt x="424" y="192"/>
                    </a:lnTo>
                    <a:lnTo>
                      <a:pt x="395" y="250"/>
                    </a:lnTo>
                    <a:lnTo>
                      <a:pt x="384" y="332"/>
                    </a:lnTo>
                    <a:lnTo>
                      <a:pt x="384" y="378"/>
                    </a:lnTo>
                    <a:lnTo>
                      <a:pt x="337" y="378"/>
                    </a:lnTo>
                    <a:lnTo>
                      <a:pt x="314" y="448"/>
                    </a:lnTo>
                    <a:lnTo>
                      <a:pt x="314" y="535"/>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76" name="Google Shape;2976;g805494e7d0_2_86"/>
              <p:cNvSpPr/>
              <p:nvPr/>
            </p:nvSpPr>
            <p:spPr>
              <a:xfrm>
                <a:off x="3549" y="798"/>
                <a:ext cx="19" cy="12"/>
              </a:xfrm>
              <a:custGeom>
                <a:avLst/>
                <a:gdLst/>
                <a:ahLst/>
                <a:cxnLst/>
                <a:rect l="l" t="t" r="r" b="b"/>
                <a:pathLst>
                  <a:path w="168" h="127" extrusionOk="0">
                    <a:moveTo>
                      <a:pt x="0" y="17"/>
                    </a:moveTo>
                    <a:lnTo>
                      <a:pt x="0" y="75"/>
                    </a:lnTo>
                    <a:lnTo>
                      <a:pt x="18" y="103"/>
                    </a:lnTo>
                    <a:lnTo>
                      <a:pt x="46" y="127"/>
                    </a:lnTo>
                    <a:lnTo>
                      <a:pt x="116" y="110"/>
                    </a:lnTo>
                    <a:lnTo>
                      <a:pt x="168" y="98"/>
                    </a:lnTo>
                    <a:lnTo>
                      <a:pt x="163" y="33"/>
                    </a:lnTo>
                    <a:lnTo>
                      <a:pt x="168" y="0"/>
                    </a:lnTo>
                    <a:lnTo>
                      <a:pt x="98" y="17"/>
                    </a:lnTo>
                    <a:lnTo>
                      <a:pt x="29" y="17"/>
                    </a:lnTo>
                    <a:lnTo>
                      <a:pt x="0" y="17"/>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77" name="Google Shape;2977;g805494e7d0_2_86"/>
              <p:cNvSpPr/>
              <p:nvPr/>
            </p:nvSpPr>
            <p:spPr>
              <a:xfrm>
                <a:off x="3420" y="739"/>
                <a:ext cx="126" cy="171"/>
              </a:xfrm>
              <a:custGeom>
                <a:avLst/>
                <a:gdLst/>
                <a:ahLst/>
                <a:cxnLst/>
                <a:rect l="l" t="t" r="r" b="b"/>
                <a:pathLst>
                  <a:path w="1169" h="1848" extrusionOk="0">
                    <a:moveTo>
                      <a:pt x="356" y="0"/>
                    </a:moveTo>
                    <a:lnTo>
                      <a:pt x="222" y="47"/>
                    </a:lnTo>
                    <a:lnTo>
                      <a:pt x="199" y="70"/>
                    </a:lnTo>
                    <a:lnTo>
                      <a:pt x="199" y="110"/>
                    </a:lnTo>
                    <a:lnTo>
                      <a:pt x="268" y="180"/>
                    </a:lnTo>
                    <a:lnTo>
                      <a:pt x="222" y="250"/>
                    </a:lnTo>
                    <a:lnTo>
                      <a:pt x="244" y="314"/>
                    </a:lnTo>
                    <a:lnTo>
                      <a:pt x="384" y="337"/>
                    </a:lnTo>
                    <a:lnTo>
                      <a:pt x="384" y="361"/>
                    </a:lnTo>
                    <a:lnTo>
                      <a:pt x="338" y="406"/>
                    </a:lnTo>
                    <a:lnTo>
                      <a:pt x="268" y="587"/>
                    </a:lnTo>
                    <a:lnTo>
                      <a:pt x="222" y="657"/>
                    </a:lnTo>
                    <a:lnTo>
                      <a:pt x="88" y="697"/>
                    </a:lnTo>
                    <a:lnTo>
                      <a:pt x="112" y="767"/>
                    </a:lnTo>
                    <a:lnTo>
                      <a:pt x="175" y="854"/>
                    </a:lnTo>
                    <a:lnTo>
                      <a:pt x="112" y="895"/>
                    </a:lnTo>
                    <a:lnTo>
                      <a:pt x="65" y="872"/>
                    </a:lnTo>
                    <a:lnTo>
                      <a:pt x="0" y="854"/>
                    </a:lnTo>
                    <a:lnTo>
                      <a:pt x="0" y="895"/>
                    </a:lnTo>
                    <a:lnTo>
                      <a:pt x="24" y="941"/>
                    </a:lnTo>
                    <a:lnTo>
                      <a:pt x="134" y="941"/>
                    </a:lnTo>
                    <a:lnTo>
                      <a:pt x="134" y="964"/>
                    </a:lnTo>
                    <a:lnTo>
                      <a:pt x="65" y="987"/>
                    </a:lnTo>
                    <a:lnTo>
                      <a:pt x="134" y="1074"/>
                    </a:lnTo>
                    <a:lnTo>
                      <a:pt x="199" y="1074"/>
                    </a:lnTo>
                    <a:lnTo>
                      <a:pt x="244" y="964"/>
                    </a:lnTo>
                    <a:lnTo>
                      <a:pt x="268" y="1034"/>
                    </a:lnTo>
                    <a:lnTo>
                      <a:pt x="291" y="1261"/>
                    </a:lnTo>
                    <a:lnTo>
                      <a:pt x="401" y="1552"/>
                    </a:lnTo>
                    <a:lnTo>
                      <a:pt x="471" y="1708"/>
                    </a:lnTo>
                    <a:lnTo>
                      <a:pt x="541" y="1824"/>
                    </a:lnTo>
                    <a:lnTo>
                      <a:pt x="558" y="1848"/>
                    </a:lnTo>
                    <a:lnTo>
                      <a:pt x="675" y="1778"/>
                    </a:lnTo>
                    <a:lnTo>
                      <a:pt x="785" y="1552"/>
                    </a:lnTo>
                    <a:lnTo>
                      <a:pt x="832" y="1325"/>
                    </a:lnTo>
                    <a:lnTo>
                      <a:pt x="902" y="1284"/>
                    </a:lnTo>
                    <a:lnTo>
                      <a:pt x="1082" y="1168"/>
                    </a:lnTo>
                    <a:lnTo>
                      <a:pt x="1151" y="1057"/>
                    </a:lnTo>
                    <a:lnTo>
                      <a:pt x="1169" y="1034"/>
                    </a:lnTo>
                    <a:lnTo>
                      <a:pt x="1169" y="854"/>
                    </a:lnTo>
                    <a:lnTo>
                      <a:pt x="1151" y="807"/>
                    </a:lnTo>
                    <a:lnTo>
                      <a:pt x="1128" y="767"/>
                    </a:lnTo>
                    <a:lnTo>
                      <a:pt x="1128" y="743"/>
                    </a:lnTo>
                    <a:lnTo>
                      <a:pt x="994" y="743"/>
                    </a:lnTo>
                    <a:lnTo>
                      <a:pt x="948" y="720"/>
                    </a:lnTo>
                    <a:lnTo>
                      <a:pt x="878" y="680"/>
                    </a:lnTo>
                    <a:lnTo>
                      <a:pt x="785" y="680"/>
                    </a:lnTo>
                    <a:lnTo>
                      <a:pt x="675" y="563"/>
                    </a:lnTo>
                    <a:lnTo>
                      <a:pt x="675" y="541"/>
                    </a:lnTo>
                    <a:lnTo>
                      <a:pt x="675" y="471"/>
                    </a:lnTo>
                    <a:lnTo>
                      <a:pt x="605" y="453"/>
                    </a:lnTo>
                    <a:lnTo>
                      <a:pt x="558" y="406"/>
                    </a:lnTo>
                    <a:lnTo>
                      <a:pt x="541" y="314"/>
                    </a:lnTo>
                    <a:lnTo>
                      <a:pt x="541" y="274"/>
                    </a:lnTo>
                    <a:lnTo>
                      <a:pt x="581" y="180"/>
                    </a:lnTo>
                    <a:lnTo>
                      <a:pt x="605" y="134"/>
                    </a:lnTo>
                    <a:lnTo>
                      <a:pt x="605" y="47"/>
                    </a:lnTo>
                    <a:lnTo>
                      <a:pt x="541" y="99"/>
                    </a:lnTo>
                    <a:lnTo>
                      <a:pt x="506" y="105"/>
                    </a:lnTo>
                    <a:lnTo>
                      <a:pt x="401" y="93"/>
                    </a:lnTo>
                    <a:lnTo>
                      <a:pt x="373" y="23"/>
                    </a:lnTo>
                    <a:lnTo>
                      <a:pt x="356"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78" name="Google Shape;2978;g805494e7d0_2_86"/>
              <p:cNvSpPr/>
              <p:nvPr/>
            </p:nvSpPr>
            <p:spPr>
              <a:xfrm>
                <a:off x="3493" y="782"/>
                <a:ext cx="52" cy="26"/>
              </a:xfrm>
              <a:custGeom>
                <a:avLst/>
                <a:gdLst/>
                <a:ahLst/>
                <a:cxnLst/>
                <a:rect l="l" t="t" r="r" b="b"/>
                <a:pathLst>
                  <a:path w="488" h="272" extrusionOk="0">
                    <a:moveTo>
                      <a:pt x="0" y="0"/>
                    </a:moveTo>
                    <a:lnTo>
                      <a:pt x="0" y="47"/>
                    </a:lnTo>
                    <a:lnTo>
                      <a:pt x="0" y="92"/>
                    </a:lnTo>
                    <a:lnTo>
                      <a:pt x="93" y="186"/>
                    </a:lnTo>
                    <a:lnTo>
                      <a:pt x="116" y="209"/>
                    </a:lnTo>
                    <a:lnTo>
                      <a:pt x="203" y="209"/>
                    </a:lnTo>
                    <a:lnTo>
                      <a:pt x="273" y="249"/>
                    </a:lnTo>
                    <a:lnTo>
                      <a:pt x="314" y="272"/>
                    </a:lnTo>
                    <a:lnTo>
                      <a:pt x="337" y="272"/>
                    </a:lnTo>
                    <a:lnTo>
                      <a:pt x="429" y="272"/>
                    </a:lnTo>
                    <a:lnTo>
                      <a:pt x="459" y="272"/>
                    </a:lnTo>
                    <a:lnTo>
                      <a:pt x="488" y="226"/>
                    </a:lnTo>
                    <a:lnTo>
                      <a:pt x="488" y="186"/>
                    </a:lnTo>
                    <a:lnTo>
                      <a:pt x="407" y="186"/>
                    </a:lnTo>
                    <a:lnTo>
                      <a:pt x="384" y="162"/>
                    </a:lnTo>
                    <a:lnTo>
                      <a:pt x="360" y="122"/>
                    </a:lnTo>
                    <a:lnTo>
                      <a:pt x="319" y="122"/>
                    </a:lnTo>
                    <a:lnTo>
                      <a:pt x="279" y="134"/>
                    </a:lnTo>
                    <a:lnTo>
                      <a:pt x="192" y="92"/>
                    </a:lnTo>
                    <a:lnTo>
                      <a:pt x="128" y="47"/>
                    </a:lnTo>
                    <a:lnTo>
                      <a:pt x="63" y="23"/>
                    </a:lnTo>
                    <a:lnTo>
                      <a:pt x="0"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79" name="Google Shape;2979;g805494e7d0_2_86"/>
              <p:cNvSpPr/>
              <p:nvPr/>
            </p:nvSpPr>
            <p:spPr>
              <a:xfrm>
                <a:off x="3375" y="745"/>
                <a:ext cx="88" cy="76"/>
              </a:xfrm>
              <a:custGeom>
                <a:avLst/>
                <a:gdLst/>
                <a:ahLst/>
                <a:cxnLst/>
                <a:rect l="l" t="t" r="r" b="b"/>
                <a:pathLst>
                  <a:path w="796" h="825" extrusionOk="0">
                    <a:moveTo>
                      <a:pt x="611" y="0"/>
                    </a:moveTo>
                    <a:lnTo>
                      <a:pt x="546" y="17"/>
                    </a:lnTo>
                    <a:lnTo>
                      <a:pt x="524" y="17"/>
                    </a:lnTo>
                    <a:lnTo>
                      <a:pt x="517" y="92"/>
                    </a:lnTo>
                    <a:lnTo>
                      <a:pt x="500" y="157"/>
                    </a:lnTo>
                    <a:lnTo>
                      <a:pt x="477" y="157"/>
                    </a:lnTo>
                    <a:lnTo>
                      <a:pt x="436" y="267"/>
                    </a:lnTo>
                    <a:lnTo>
                      <a:pt x="389" y="296"/>
                    </a:lnTo>
                    <a:lnTo>
                      <a:pt x="360" y="354"/>
                    </a:lnTo>
                    <a:lnTo>
                      <a:pt x="250" y="360"/>
                    </a:lnTo>
                    <a:lnTo>
                      <a:pt x="250" y="448"/>
                    </a:lnTo>
                    <a:lnTo>
                      <a:pt x="163" y="471"/>
                    </a:lnTo>
                    <a:lnTo>
                      <a:pt x="93" y="448"/>
                    </a:lnTo>
                    <a:lnTo>
                      <a:pt x="0" y="424"/>
                    </a:lnTo>
                    <a:lnTo>
                      <a:pt x="0" y="493"/>
                    </a:lnTo>
                    <a:lnTo>
                      <a:pt x="93" y="563"/>
                    </a:lnTo>
                    <a:lnTo>
                      <a:pt x="93" y="627"/>
                    </a:lnTo>
                    <a:lnTo>
                      <a:pt x="46" y="627"/>
                    </a:lnTo>
                    <a:lnTo>
                      <a:pt x="23" y="720"/>
                    </a:lnTo>
                    <a:lnTo>
                      <a:pt x="116" y="720"/>
                    </a:lnTo>
                    <a:lnTo>
                      <a:pt x="297" y="720"/>
                    </a:lnTo>
                    <a:lnTo>
                      <a:pt x="343" y="760"/>
                    </a:lnTo>
                    <a:lnTo>
                      <a:pt x="412" y="825"/>
                    </a:lnTo>
                    <a:lnTo>
                      <a:pt x="412" y="784"/>
                    </a:lnTo>
                    <a:lnTo>
                      <a:pt x="454" y="802"/>
                    </a:lnTo>
                    <a:lnTo>
                      <a:pt x="517" y="825"/>
                    </a:lnTo>
                    <a:lnTo>
                      <a:pt x="587" y="784"/>
                    </a:lnTo>
                    <a:lnTo>
                      <a:pt x="500" y="627"/>
                    </a:lnTo>
                    <a:lnTo>
                      <a:pt x="564" y="610"/>
                    </a:lnTo>
                    <a:lnTo>
                      <a:pt x="634" y="587"/>
                    </a:lnTo>
                    <a:lnTo>
                      <a:pt x="750" y="401"/>
                    </a:lnTo>
                    <a:lnTo>
                      <a:pt x="750" y="360"/>
                    </a:lnTo>
                    <a:lnTo>
                      <a:pt x="796" y="267"/>
                    </a:lnTo>
                    <a:lnTo>
                      <a:pt x="703" y="244"/>
                    </a:lnTo>
                    <a:lnTo>
                      <a:pt x="663" y="244"/>
                    </a:lnTo>
                    <a:lnTo>
                      <a:pt x="634" y="169"/>
                    </a:lnTo>
                    <a:lnTo>
                      <a:pt x="680" y="110"/>
                    </a:lnTo>
                    <a:lnTo>
                      <a:pt x="622" y="52"/>
                    </a:lnTo>
                    <a:lnTo>
                      <a:pt x="611" y="17"/>
                    </a:lnTo>
                    <a:lnTo>
                      <a:pt x="611"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80" name="Google Shape;2980;g805494e7d0_2_86"/>
              <p:cNvSpPr/>
              <p:nvPr/>
            </p:nvSpPr>
            <p:spPr>
              <a:xfrm>
                <a:off x="3365" y="732"/>
                <a:ext cx="94" cy="57"/>
              </a:xfrm>
              <a:custGeom>
                <a:avLst/>
                <a:gdLst/>
                <a:ahLst/>
                <a:cxnLst/>
                <a:rect l="l" t="t" r="r" b="b"/>
                <a:pathLst>
                  <a:path w="855" h="611" extrusionOk="0">
                    <a:moveTo>
                      <a:pt x="63" y="169"/>
                    </a:moveTo>
                    <a:lnTo>
                      <a:pt x="18" y="274"/>
                    </a:lnTo>
                    <a:lnTo>
                      <a:pt x="46" y="344"/>
                    </a:lnTo>
                    <a:lnTo>
                      <a:pt x="0" y="431"/>
                    </a:lnTo>
                    <a:lnTo>
                      <a:pt x="46" y="476"/>
                    </a:lnTo>
                    <a:lnTo>
                      <a:pt x="110" y="476"/>
                    </a:lnTo>
                    <a:lnTo>
                      <a:pt x="110" y="541"/>
                    </a:lnTo>
                    <a:lnTo>
                      <a:pt x="87" y="564"/>
                    </a:lnTo>
                    <a:lnTo>
                      <a:pt x="250" y="611"/>
                    </a:lnTo>
                    <a:lnTo>
                      <a:pt x="337" y="588"/>
                    </a:lnTo>
                    <a:lnTo>
                      <a:pt x="337" y="500"/>
                    </a:lnTo>
                    <a:lnTo>
                      <a:pt x="454" y="500"/>
                    </a:lnTo>
                    <a:lnTo>
                      <a:pt x="476" y="431"/>
                    </a:lnTo>
                    <a:lnTo>
                      <a:pt x="523" y="407"/>
                    </a:lnTo>
                    <a:lnTo>
                      <a:pt x="564" y="297"/>
                    </a:lnTo>
                    <a:lnTo>
                      <a:pt x="587" y="297"/>
                    </a:lnTo>
                    <a:lnTo>
                      <a:pt x="611" y="227"/>
                    </a:lnTo>
                    <a:lnTo>
                      <a:pt x="611" y="157"/>
                    </a:lnTo>
                    <a:lnTo>
                      <a:pt x="633" y="157"/>
                    </a:lnTo>
                    <a:lnTo>
                      <a:pt x="698" y="140"/>
                    </a:lnTo>
                    <a:lnTo>
                      <a:pt x="721" y="117"/>
                    </a:lnTo>
                    <a:lnTo>
                      <a:pt x="855" y="70"/>
                    </a:lnTo>
                    <a:lnTo>
                      <a:pt x="825" y="0"/>
                    </a:lnTo>
                    <a:lnTo>
                      <a:pt x="715" y="30"/>
                    </a:lnTo>
                    <a:lnTo>
                      <a:pt x="651" y="41"/>
                    </a:lnTo>
                    <a:lnTo>
                      <a:pt x="611" y="6"/>
                    </a:lnTo>
                    <a:lnTo>
                      <a:pt x="499" y="47"/>
                    </a:lnTo>
                    <a:lnTo>
                      <a:pt x="389" y="30"/>
                    </a:lnTo>
                    <a:lnTo>
                      <a:pt x="279" y="105"/>
                    </a:lnTo>
                    <a:lnTo>
                      <a:pt x="227" y="145"/>
                    </a:lnTo>
                    <a:lnTo>
                      <a:pt x="140" y="204"/>
                    </a:lnTo>
                    <a:lnTo>
                      <a:pt x="93" y="180"/>
                    </a:lnTo>
                    <a:lnTo>
                      <a:pt x="63" y="169"/>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81" name="Google Shape;2981;g805494e7d0_2_86"/>
              <p:cNvSpPr/>
              <p:nvPr/>
            </p:nvSpPr>
            <p:spPr>
              <a:xfrm>
                <a:off x="3266" y="721"/>
                <a:ext cx="119" cy="91"/>
              </a:xfrm>
              <a:custGeom>
                <a:avLst/>
                <a:gdLst/>
                <a:ahLst/>
                <a:cxnLst/>
                <a:rect l="l" t="t" r="r" b="b"/>
                <a:pathLst>
                  <a:path w="1104" h="982" extrusionOk="0">
                    <a:moveTo>
                      <a:pt x="17" y="0"/>
                    </a:moveTo>
                    <a:lnTo>
                      <a:pt x="0" y="100"/>
                    </a:lnTo>
                    <a:lnTo>
                      <a:pt x="0" y="145"/>
                    </a:lnTo>
                    <a:lnTo>
                      <a:pt x="70" y="262"/>
                    </a:lnTo>
                    <a:lnTo>
                      <a:pt x="157" y="279"/>
                    </a:lnTo>
                    <a:lnTo>
                      <a:pt x="110" y="372"/>
                    </a:lnTo>
                    <a:lnTo>
                      <a:pt x="134" y="442"/>
                    </a:lnTo>
                    <a:lnTo>
                      <a:pt x="227" y="466"/>
                    </a:lnTo>
                    <a:lnTo>
                      <a:pt x="249" y="576"/>
                    </a:lnTo>
                    <a:lnTo>
                      <a:pt x="314" y="663"/>
                    </a:lnTo>
                    <a:lnTo>
                      <a:pt x="383" y="686"/>
                    </a:lnTo>
                    <a:lnTo>
                      <a:pt x="430" y="779"/>
                    </a:lnTo>
                    <a:lnTo>
                      <a:pt x="471" y="802"/>
                    </a:lnTo>
                    <a:lnTo>
                      <a:pt x="586" y="872"/>
                    </a:lnTo>
                    <a:lnTo>
                      <a:pt x="651" y="889"/>
                    </a:lnTo>
                    <a:lnTo>
                      <a:pt x="767" y="872"/>
                    </a:lnTo>
                    <a:lnTo>
                      <a:pt x="790" y="935"/>
                    </a:lnTo>
                    <a:lnTo>
                      <a:pt x="947" y="959"/>
                    </a:lnTo>
                    <a:lnTo>
                      <a:pt x="1052" y="982"/>
                    </a:lnTo>
                    <a:lnTo>
                      <a:pt x="1057" y="907"/>
                    </a:lnTo>
                    <a:lnTo>
                      <a:pt x="1104" y="883"/>
                    </a:lnTo>
                    <a:lnTo>
                      <a:pt x="1104" y="825"/>
                    </a:lnTo>
                    <a:lnTo>
                      <a:pt x="1011" y="755"/>
                    </a:lnTo>
                    <a:lnTo>
                      <a:pt x="1011" y="686"/>
                    </a:lnTo>
                    <a:lnTo>
                      <a:pt x="1034" y="663"/>
                    </a:lnTo>
                    <a:lnTo>
                      <a:pt x="1034" y="598"/>
                    </a:lnTo>
                    <a:lnTo>
                      <a:pt x="970" y="598"/>
                    </a:lnTo>
                    <a:lnTo>
                      <a:pt x="924" y="553"/>
                    </a:lnTo>
                    <a:lnTo>
                      <a:pt x="970" y="471"/>
                    </a:lnTo>
                    <a:lnTo>
                      <a:pt x="947" y="396"/>
                    </a:lnTo>
                    <a:lnTo>
                      <a:pt x="987" y="279"/>
                    </a:lnTo>
                    <a:lnTo>
                      <a:pt x="970" y="215"/>
                    </a:lnTo>
                    <a:lnTo>
                      <a:pt x="900" y="145"/>
                    </a:lnTo>
                    <a:lnTo>
                      <a:pt x="767" y="128"/>
                    </a:lnTo>
                    <a:lnTo>
                      <a:pt x="685" y="122"/>
                    </a:lnTo>
                    <a:lnTo>
                      <a:pt x="639" y="128"/>
                    </a:lnTo>
                    <a:lnTo>
                      <a:pt x="586" y="145"/>
                    </a:lnTo>
                    <a:lnTo>
                      <a:pt x="581" y="192"/>
                    </a:lnTo>
                    <a:lnTo>
                      <a:pt x="453" y="215"/>
                    </a:lnTo>
                    <a:lnTo>
                      <a:pt x="361" y="169"/>
                    </a:lnTo>
                    <a:lnTo>
                      <a:pt x="267" y="58"/>
                    </a:lnTo>
                    <a:lnTo>
                      <a:pt x="244" y="35"/>
                    </a:lnTo>
                    <a:lnTo>
                      <a:pt x="122" y="82"/>
                    </a:lnTo>
                    <a:lnTo>
                      <a:pt x="64" y="0"/>
                    </a:lnTo>
                    <a:lnTo>
                      <a:pt x="40" y="0"/>
                    </a:lnTo>
                    <a:lnTo>
                      <a:pt x="17"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82" name="Google Shape;2982;g805494e7d0_2_86"/>
              <p:cNvSpPr/>
              <p:nvPr/>
            </p:nvSpPr>
            <p:spPr>
              <a:xfrm>
                <a:off x="3313" y="802"/>
                <a:ext cx="4" cy="6"/>
              </a:xfrm>
              <a:custGeom>
                <a:avLst/>
                <a:gdLst/>
                <a:ahLst/>
                <a:cxnLst/>
                <a:rect l="l" t="t" r="r" b="b"/>
                <a:pathLst>
                  <a:path w="41" h="63" extrusionOk="0">
                    <a:moveTo>
                      <a:pt x="41" y="40"/>
                    </a:moveTo>
                    <a:lnTo>
                      <a:pt x="23" y="0"/>
                    </a:lnTo>
                    <a:lnTo>
                      <a:pt x="0" y="0"/>
                    </a:lnTo>
                    <a:lnTo>
                      <a:pt x="0" y="40"/>
                    </a:lnTo>
                    <a:lnTo>
                      <a:pt x="41" y="63"/>
                    </a:lnTo>
                    <a:lnTo>
                      <a:pt x="41" y="4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83" name="Google Shape;2983;g805494e7d0_2_86"/>
              <p:cNvSpPr/>
              <p:nvPr/>
            </p:nvSpPr>
            <p:spPr>
              <a:xfrm>
                <a:off x="3208" y="772"/>
                <a:ext cx="129" cy="93"/>
              </a:xfrm>
              <a:custGeom>
                <a:avLst/>
                <a:gdLst/>
                <a:ahLst/>
                <a:cxnLst/>
                <a:rect l="l" t="t" r="r" b="b"/>
                <a:pathLst>
                  <a:path w="1196" h="1010" extrusionOk="0">
                    <a:moveTo>
                      <a:pt x="0" y="157"/>
                    </a:moveTo>
                    <a:lnTo>
                      <a:pt x="0" y="226"/>
                    </a:lnTo>
                    <a:lnTo>
                      <a:pt x="46" y="272"/>
                    </a:lnTo>
                    <a:lnTo>
                      <a:pt x="162" y="406"/>
                    </a:lnTo>
                    <a:lnTo>
                      <a:pt x="186" y="446"/>
                    </a:lnTo>
                    <a:lnTo>
                      <a:pt x="226" y="626"/>
                    </a:lnTo>
                    <a:lnTo>
                      <a:pt x="366" y="807"/>
                    </a:lnTo>
                    <a:lnTo>
                      <a:pt x="453" y="1010"/>
                    </a:lnTo>
                    <a:lnTo>
                      <a:pt x="500" y="975"/>
                    </a:lnTo>
                    <a:lnTo>
                      <a:pt x="500" y="923"/>
                    </a:lnTo>
                    <a:lnTo>
                      <a:pt x="587" y="917"/>
                    </a:lnTo>
                    <a:lnTo>
                      <a:pt x="639" y="940"/>
                    </a:lnTo>
                    <a:lnTo>
                      <a:pt x="668" y="957"/>
                    </a:lnTo>
                    <a:lnTo>
                      <a:pt x="727" y="987"/>
                    </a:lnTo>
                    <a:lnTo>
                      <a:pt x="744" y="987"/>
                    </a:lnTo>
                    <a:lnTo>
                      <a:pt x="790" y="877"/>
                    </a:lnTo>
                    <a:lnTo>
                      <a:pt x="1133" y="783"/>
                    </a:lnTo>
                    <a:lnTo>
                      <a:pt x="1174" y="783"/>
                    </a:lnTo>
                    <a:lnTo>
                      <a:pt x="1196" y="673"/>
                    </a:lnTo>
                    <a:lnTo>
                      <a:pt x="1174" y="603"/>
                    </a:lnTo>
                    <a:lnTo>
                      <a:pt x="953" y="580"/>
                    </a:lnTo>
                    <a:lnTo>
                      <a:pt x="884" y="446"/>
                    </a:lnTo>
                    <a:lnTo>
                      <a:pt x="906" y="296"/>
                    </a:lnTo>
                    <a:lnTo>
                      <a:pt x="837" y="226"/>
                    </a:lnTo>
                    <a:lnTo>
                      <a:pt x="772" y="226"/>
                    </a:lnTo>
                    <a:lnTo>
                      <a:pt x="680" y="180"/>
                    </a:lnTo>
                    <a:lnTo>
                      <a:pt x="570" y="226"/>
                    </a:lnTo>
                    <a:lnTo>
                      <a:pt x="500" y="133"/>
                    </a:lnTo>
                    <a:lnTo>
                      <a:pt x="500" y="110"/>
                    </a:lnTo>
                    <a:lnTo>
                      <a:pt x="383" y="0"/>
                    </a:lnTo>
                    <a:lnTo>
                      <a:pt x="343" y="0"/>
                    </a:lnTo>
                    <a:lnTo>
                      <a:pt x="162" y="23"/>
                    </a:lnTo>
                    <a:lnTo>
                      <a:pt x="162" y="69"/>
                    </a:lnTo>
                    <a:lnTo>
                      <a:pt x="249" y="92"/>
                    </a:lnTo>
                    <a:lnTo>
                      <a:pt x="226" y="157"/>
                    </a:lnTo>
                    <a:lnTo>
                      <a:pt x="157" y="157"/>
                    </a:lnTo>
                    <a:lnTo>
                      <a:pt x="116" y="180"/>
                    </a:lnTo>
                    <a:lnTo>
                      <a:pt x="46" y="168"/>
                    </a:lnTo>
                    <a:lnTo>
                      <a:pt x="0" y="157"/>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84" name="Google Shape;2984;g805494e7d0_2_86"/>
              <p:cNvSpPr/>
              <p:nvPr/>
            </p:nvSpPr>
            <p:spPr>
              <a:xfrm>
                <a:off x="3258" y="858"/>
                <a:ext cx="31" cy="23"/>
              </a:xfrm>
              <a:custGeom>
                <a:avLst/>
                <a:gdLst/>
                <a:ahLst/>
                <a:cxnLst/>
                <a:rect l="l" t="t" r="r" b="b"/>
                <a:pathLst>
                  <a:path w="291" h="244" extrusionOk="0">
                    <a:moveTo>
                      <a:pt x="0" y="87"/>
                    </a:moveTo>
                    <a:lnTo>
                      <a:pt x="47" y="203"/>
                    </a:lnTo>
                    <a:lnTo>
                      <a:pt x="122" y="244"/>
                    </a:lnTo>
                    <a:lnTo>
                      <a:pt x="162" y="191"/>
                    </a:lnTo>
                    <a:lnTo>
                      <a:pt x="209" y="168"/>
                    </a:lnTo>
                    <a:lnTo>
                      <a:pt x="227" y="128"/>
                    </a:lnTo>
                    <a:lnTo>
                      <a:pt x="291" y="69"/>
                    </a:lnTo>
                    <a:lnTo>
                      <a:pt x="197" y="17"/>
                    </a:lnTo>
                    <a:lnTo>
                      <a:pt x="140" y="0"/>
                    </a:lnTo>
                    <a:lnTo>
                      <a:pt x="47" y="0"/>
                    </a:lnTo>
                    <a:lnTo>
                      <a:pt x="47" y="52"/>
                    </a:lnTo>
                    <a:lnTo>
                      <a:pt x="0" y="87"/>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85" name="Google Shape;2985;g805494e7d0_2_86"/>
              <p:cNvSpPr/>
              <p:nvPr/>
            </p:nvSpPr>
            <p:spPr>
              <a:xfrm>
                <a:off x="3272" y="847"/>
                <a:ext cx="53" cy="34"/>
              </a:xfrm>
              <a:custGeom>
                <a:avLst/>
                <a:gdLst/>
                <a:ahLst/>
                <a:cxnLst/>
                <a:rect l="l" t="t" r="r" b="b"/>
                <a:pathLst>
                  <a:path w="493" h="360" extrusionOk="0">
                    <a:moveTo>
                      <a:pt x="0" y="360"/>
                    </a:moveTo>
                    <a:lnTo>
                      <a:pt x="99" y="337"/>
                    </a:lnTo>
                    <a:lnTo>
                      <a:pt x="191" y="290"/>
                    </a:lnTo>
                    <a:lnTo>
                      <a:pt x="256" y="272"/>
                    </a:lnTo>
                    <a:lnTo>
                      <a:pt x="413" y="227"/>
                    </a:lnTo>
                    <a:lnTo>
                      <a:pt x="493" y="168"/>
                    </a:lnTo>
                    <a:lnTo>
                      <a:pt x="476" y="122"/>
                    </a:lnTo>
                    <a:lnTo>
                      <a:pt x="476" y="87"/>
                    </a:lnTo>
                    <a:lnTo>
                      <a:pt x="458" y="0"/>
                    </a:lnTo>
                    <a:lnTo>
                      <a:pt x="256" y="46"/>
                    </a:lnTo>
                    <a:lnTo>
                      <a:pt x="209" y="70"/>
                    </a:lnTo>
                    <a:lnTo>
                      <a:pt x="169" y="180"/>
                    </a:lnTo>
                    <a:lnTo>
                      <a:pt x="146" y="203"/>
                    </a:lnTo>
                    <a:lnTo>
                      <a:pt x="99" y="250"/>
                    </a:lnTo>
                    <a:lnTo>
                      <a:pt x="87" y="284"/>
                    </a:lnTo>
                    <a:lnTo>
                      <a:pt x="34" y="314"/>
                    </a:lnTo>
                    <a:lnTo>
                      <a:pt x="0" y="36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86" name="Google Shape;2986;g805494e7d0_2_86"/>
              <p:cNvSpPr/>
              <p:nvPr/>
            </p:nvSpPr>
            <p:spPr>
              <a:xfrm>
                <a:off x="3319" y="814"/>
                <a:ext cx="44" cy="49"/>
              </a:xfrm>
              <a:custGeom>
                <a:avLst/>
                <a:gdLst/>
                <a:ahLst/>
                <a:cxnLst/>
                <a:rect l="l" t="t" r="r" b="b"/>
                <a:pathLst>
                  <a:path w="406" h="529" extrusionOk="0">
                    <a:moveTo>
                      <a:pt x="0" y="361"/>
                    </a:moveTo>
                    <a:lnTo>
                      <a:pt x="139" y="314"/>
                    </a:lnTo>
                    <a:lnTo>
                      <a:pt x="174" y="267"/>
                    </a:lnTo>
                    <a:lnTo>
                      <a:pt x="162" y="163"/>
                    </a:lnTo>
                    <a:lnTo>
                      <a:pt x="197" y="93"/>
                    </a:lnTo>
                    <a:lnTo>
                      <a:pt x="214" y="41"/>
                    </a:lnTo>
                    <a:lnTo>
                      <a:pt x="209" y="0"/>
                    </a:lnTo>
                    <a:lnTo>
                      <a:pt x="256" y="65"/>
                    </a:lnTo>
                    <a:lnTo>
                      <a:pt x="325" y="122"/>
                    </a:lnTo>
                    <a:lnTo>
                      <a:pt x="383" y="134"/>
                    </a:lnTo>
                    <a:lnTo>
                      <a:pt x="389" y="175"/>
                    </a:lnTo>
                    <a:lnTo>
                      <a:pt x="406" y="204"/>
                    </a:lnTo>
                    <a:lnTo>
                      <a:pt x="406" y="250"/>
                    </a:lnTo>
                    <a:lnTo>
                      <a:pt x="336" y="291"/>
                    </a:lnTo>
                    <a:lnTo>
                      <a:pt x="296" y="384"/>
                    </a:lnTo>
                    <a:lnTo>
                      <a:pt x="226" y="431"/>
                    </a:lnTo>
                    <a:lnTo>
                      <a:pt x="116" y="494"/>
                    </a:lnTo>
                    <a:lnTo>
                      <a:pt x="57" y="529"/>
                    </a:lnTo>
                    <a:lnTo>
                      <a:pt x="40" y="483"/>
                    </a:lnTo>
                    <a:lnTo>
                      <a:pt x="34" y="448"/>
                    </a:lnTo>
                    <a:lnTo>
                      <a:pt x="0" y="361"/>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87" name="Google Shape;2987;g805494e7d0_2_86"/>
              <p:cNvSpPr/>
              <p:nvPr/>
            </p:nvSpPr>
            <p:spPr>
              <a:xfrm>
                <a:off x="3305" y="802"/>
                <a:ext cx="38" cy="26"/>
              </a:xfrm>
              <a:custGeom>
                <a:avLst/>
                <a:gdLst/>
                <a:ahLst/>
                <a:cxnLst/>
                <a:rect l="l" t="t" r="r" b="b"/>
                <a:pathLst>
                  <a:path w="354" h="284" extrusionOk="0">
                    <a:moveTo>
                      <a:pt x="22" y="0"/>
                    </a:moveTo>
                    <a:lnTo>
                      <a:pt x="0" y="105"/>
                    </a:lnTo>
                    <a:lnTo>
                      <a:pt x="0" y="122"/>
                    </a:lnTo>
                    <a:lnTo>
                      <a:pt x="52" y="232"/>
                    </a:lnTo>
                    <a:lnTo>
                      <a:pt x="69" y="261"/>
                    </a:lnTo>
                    <a:lnTo>
                      <a:pt x="249" y="284"/>
                    </a:lnTo>
                    <a:lnTo>
                      <a:pt x="290" y="284"/>
                    </a:lnTo>
                    <a:lnTo>
                      <a:pt x="354" y="168"/>
                    </a:lnTo>
                    <a:lnTo>
                      <a:pt x="336" y="110"/>
                    </a:lnTo>
                    <a:lnTo>
                      <a:pt x="312" y="110"/>
                    </a:lnTo>
                    <a:lnTo>
                      <a:pt x="249" y="150"/>
                    </a:lnTo>
                    <a:lnTo>
                      <a:pt x="249" y="174"/>
                    </a:lnTo>
                    <a:lnTo>
                      <a:pt x="121" y="157"/>
                    </a:lnTo>
                    <a:lnTo>
                      <a:pt x="110" y="127"/>
                    </a:lnTo>
                    <a:lnTo>
                      <a:pt x="110" y="110"/>
                    </a:lnTo>
                    <a:lnTo>
                      <a:pt x="69" y="127"/>
                    </a:lnTo>
                    <a:lnTo>
                      <a:pt x="22" y="17"/>
                    </a:lnTo>
                    <a:lnTo>
                      <a:pt x="22"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88" name="Google Shape;2988;g805494e7d0_2_86"/>
              <p:cNvSpPr/>
              <p:nvPr/>
            </p:nvSpPr>
            <p:spPr>
              <a:xfrm>
                <a:off x="3285" y="785"/>
                <a:ext cx="12" cy="9"/>
              </a:xfrm>
              <a:custGeom>
                <a:avLst/>
                <a:gdLst/>
                <a:ahLst/>
                <a:cxnLst/>
                <a:rect l="l" t="t" r="r" b="b"/>
                <a:pathLst>
                  <a:path w="122" h="93" extrusionOk="0">
                    <a:moveTo>
                      <a:pt x="122" y="93"/>
                    </a:moveTo>
                    <a:lnTo>
                      <a:pt x="93" y="0"/>
                    </a:lnTo>
                    <a:lnTo>
                      <a:pt x="35" y="6"/>
                    </a:lnTo>
                    <a:lnTo>
                      <a:pt x="0" y="52"/>
                    </a:lnTo>
                    <a:lnTo>
                      <a:pt x="75" y="93"/>
                    </a:lnTo>
                    <a:lnTo>
                      <a:pt x="122" y="93"/>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89" name="Google Shape;2989;g805494e7d0_2_86"/>
              <p:cNvSpPr/>
              <p:nvPr/>
            </p:nvSpPr>
            <p:spPr>
              <a:xfrm>
                <a:off x="3236" y="736"/>
                <a:ext cx="61" cy="58"/>
              </a:xfrm>
              <a:custGeom>
                <a:avLst/>
                <a:gdLst/>
                <a:ahLst/>
                <a:cxnLst/>
                <a:rect l="l" t="t" r="r" b="b"/>
                <a:pathLst>
                  <a:path w="570" h="610" extrusionOk="0">
                    <a:moveTo>
                      <a:pt x="541" y="517"/>
                    </a:moveTo>
                    <a:lnTo>
                      <a:pt x="570" y="476"/>
                    </a:lnTo>
                    <a:lnTo>
                      <a:pt x="523" y="384"/>
                    </a:lnTo>
                    <a:lnTo>
                      <a:pt x="501" y="297"/>
                    </a:lnTo>
                    <a:lnTo>
                      <a:pt x="408" y="273"/>
                    </a:lnTo>
                    <a:lnTo>
                      <a:pt x="390" y="209"/>
                    </a:lnTo>
                    <a:lnTo>
                      <a:pt x="431" y="110"/>
                    </a:lnTo>
                    <a:lnTo>
                      <a:pt x="361" y="93"/>
                    </a:lnTo>
                    <a:lnTo>
                      <a:pt x="326" y="70"/>
                    </a:lnTo>
                    <a:lnTo>
                      <a:pt x="291" y="0"/>
                    </a:lnTo>
                    <a:lnTo>
                      <a:pt x="233" y="0"/>
                    </a:lnTo>
                    <a:lnTo>
                      <a:pt x="129" y="41"/>
                    </a:lnTo>
                    <a:lnTo>
                      <a:pt x="140" y="87"/>
                    </a:lnTo>
                    <a:lnTo>
                      <a:pt x="105" y="185"/>
                    </a:lnTo>
                    <a:lnTo>
                      <a:pt x="24" y="250"/>
                    </a:lnTo>
                    <a:lnTo>
                      <a:pt x="0" y="314"/>
                    </a:lnTo>
                    <a:lnTo>
                      <a:pt x="30" y="389"/>
                    </a:lnTo>
                    <a:lnTo>
                      <a:pt x="134" y="384"/>
                    </a:lnTo>
                    <a:lnTo>
                      <a:pt x="251" y="494"/>
                    </a:lnTo>
                    <a:lnTo>
                      <a:pt x="251" y="523"/>
                    </a:lnTo>
                    <a:lnTo>
                      <a:pt x="321" y="610"/>
                    </a:lnTo>
                    <a:lnTo>
                      <a:pt x="425" y="564"/>
                    </a:lnTo>
                    <a:lnTo>
                      <a:pt x="454" y="564"/>
                    </a:lnTo>
                    <a:lnTo>
                      <a:pt x="478" y="523"/>
                    </a:lnTo>
                    <a:lnTo>
                      <a:pt x="523" y="517"/>
                    </a:lnTo>
                    <a:lnTo>
                      <a:pt x="541" y="517"/>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90" name="Google Shape;2990;g805494e7d0_2_86"/>
              <p:cNvSpPr/>
              <p:nvPr/>
            </p:nvSpPr>
            <p:spPr>
              <a:xfrm>
                <a:off x="3207" y="765"/>
                <a:ext cx="32" cy="24"/>
              </a:xfrm>
              <a:custGeom>
                <a:avLst/>
                <a:gdLst/>
                <a:ahLst/>
                <a:cxnLst/>
                <a:rect l="l" t="t" r="r" b="b"/>
                <a:pathLst>
                  <a:path w="302" h="257" extrusionOk="0">
                    <a:moveTo>
                      <a:pt x="267" y="12"/>
                    </a:moveTo>
                    <a:lnTo>
                      <a:pt x="215" y="12"/>
                    </a:lnTo>
                    <a:lnTo>
                      <a:pt x="187" y="30"/>
                    </a:lnTo>
                    <a:lnTo>
                      <a:pt x="117" y="30"/>
                    </a:lnTo>
                    <a:lnTo>
                      <a:pt x="35" y="0"/>
                    </a:lnTo>
                    <a:lnTo>
                      <a:pt x="23" y="59"/>
                    </a:lnTo>
                    <a:lnTo>
                      <a:pt x="47" y="140"/>
                    </a:lnTo>
                    <a:lnTo>
                      <a:pt x="18" y="169"/>
                    </a:lnTo>
                    <a:lnTo>
                      <a:pt x="0" y="187"/>
                    </a:lnTo>
                    <a:lnTo>
                      <a:pt x="18" y="234"/>
                    </a:lnTo>
                    <a:lnTo>
                      <a:pt x="75" y="251"/>
                    </a:lnTo>
                    <a:lnTo>
                      <a:pt x="134" y="257"/>
                    </a:lnTo>
                    <a:lnTo>
                      <a:pt x="175" y="234"/>
                    </a:lnTo>
                    <a:lnTo>
                      <a:pt x="244" y="234"/>
                    </a:lnTo>
                    <a:lnTo>
                      <a:pt x="267" y="169"/>
                    </a:lnTo>
                    <a:lnTo>
                      <a:pt x="180" y="146"/>
                    </a:lnTo>
                    <a:lnTo>
                      <a:pt x="180" y="100"/>
                    </a:lnTo>
                    <a:lnTo>
                      <a:pt x="250" y="88"/>
                    </a:lnTo>
                    <a:lnTo>
                      <a:pt x="302" y="82"/>
                    </a:lnTo>
                    <a:lnTo>
                      <a:pt x="267" y="12"/>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91" name="Google Shape;2991;g805494e7d0_2_86"/>
              <p:cNvSpPr/>
              <p:nvPr/>
            </p:nvSpPr>
            <p:spPr>
              <a:xfrm>
                <a:off x="3203" y="763"/>
                <a:ext cx="10" cy="19"/>
              </a:xfrm>
              <a:custGeom>
                <a:avLst/>
                <a:gdLst/>
                <a:ahLst/>
                <a:cxnLst/>
                <a:rect l="l" t="t" r="r" b="b"/>
                <a:pathLst>
                  <a:path w="87" h="209" extrusionOk="0">
                    <a:moveTo>
                      <a:pt x="87" y="29"/>
                    </a:moveTo>
                    <a:lnTo>
                      <a:pt x="47" y="0"/>
                    </a:lnTo>
                    <a:lnTo>
                      <a:pt x="17" y="104"/>
                    </a:lnTo>
                    <a:lnTo>
                      <a:pt x="24" y="144"/>
                    </a:lnTo>
                    <a:lnTo>
                      <a:pt x="0" y="174"/>
                    </a:lnTo>
                    <a:lnTo>
                      <a:pt x="29" y="209"/>
                    </a:lnTo>
                    <a:lnTo>
                      <a:pt x="76" y="168"/>
                    </a:lnTo>
                    <a:lnTo>
                      <a:pt x="76" y="144"/>
                    </a:lnTo>
                    <a:lnTo>
                      <a:pt x="59" y="81"/>
                    </a:lnTo>
                    <a:lnTo>
                      <a:pt x="69" y="40"/>
                    </a:lnTo>
                    <a:lnTo>
                      <a:pt x="87" y="29"/>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92" name="Google Shape;2992;g805494e7d0_2_86"/>
              <p:cNvSpPr/>
              <p:nvPr/>
            </p:nvSpPr>
            <p:spPr>
              <a:xfrm>
                <a:off x="3208" y="753"/>
                <a:ext cx="11" cy="13"/>
              </a:xfrm>
              <a:custGeom>
                <a:avLst/>
                <a:gdLst/>
                <a:ahLst/>
                <a:cxnLst/>
                <a:rect l="l" t="t" r="r" b="b"/>
                <a:pathLst>
                  <a:path w="92" h="139" extrusionOk="0">
                    <a:moveTo>
                      <a:pt x="0" y="117"/>
                    </a:moveTo>
                    <a:lnTo>
                      <a:pt x="29" y="70"/>
                    </a:lnTo>
                    <a:lnTo>
                      <a:pt x="46" y="0"/>
                    </a:lnTo>
                    <a:lnTo>
                      <a:pt x="92" y="23"/>
                    </a:lnTo>
                    <a:lnTo>
                      <a:pt x="69" y="70"/>
                    </a:lnTo>
                    <a:lnTo>
                      <a:pt x="46" y="139"/>
                    </a:lnTo>
                    <a:lnTo>
                      <a:pt x="0" y="117"/>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93" name="Google Shape;2993;g805494e7d0_2_86"/>
              <p:cNvSpPr/>
              <p:nvPr/>
            </p:nvSpPr>
            <p:spPr>
              <a:xfrm>
                <a:off x="3212" y="739"/>
                <a:ext cx="38" cy="29"/>
              </a:xfrm>
              <a:custGeom>
                <a:avLst/>
                <a:gdLst/>
                <a:ahLst/>
                <a:cxnLst/>
                <a:rect l="l" t="t" r="r" b="b"/>
                <a:pathLst>
                  <a:path w="354" h="314" extrusionOk="0">
                    <a:moveTo>
                      <a:pt x="0" y="291"/>
                    </a:moveTo>
                    <a:lnTo>
                      <a:pt x="63" y="314"/>
                    </a:lnTo>
                    <a:lnTo>
                      <a:pt x="133" y="314"/>
                    </a:lnTo>
                    <a:lnTo>
                      <a:pt x="168" y="302"/>
                    </a:lnTo>
                    <a:lnTo>
                      <a:pt x="220" y="296"/>
                    </a:lnTo>
                    <a:lnTo>
                      <a:pt x="244" y="227"/>
                    </a:lnTo>
                    <a:lnTo>
                      <a:pt x="337" y="157"/>
                    </a:lnTo>
                    <a:lnTo>
                      <a:pt x="354" y="70"/>
                    </a:lnTo>
                    <a:lnTo>
                      <a:pt x="354" y="23"/>
                    </a:lnTo>
                    <a:lnTo>
                      <a:pt x="337" y="18"/>
                    </a:lnTo>
                    <a:lnTo>
                      <a:pt x="290" y="6"/>
                    </a:lnTo>
                    <a:lnTo>
                      <a:pt x="255" y="23"/>
                    </a:lnTo>
                    <a:lnTo>
                      <a:pt x="203" y="18"/>
                    </a:lnTo>
                    <a:lnTo>
                      <a:pt x="174" y="0"/>
                    </a:lnTo>
                    <a:lnTo>
                      <a:pt x="133" y="6"/>
                    </a:lnTo>
                    <a:lnTo>
                      <a:pt x="81" y="23"/>
                    </a:lnTo>
                    <a:lnTo>
                      <a:pt x="40" y="70"/>
                    </a:lnTo>
                    <a:lnTo>
                      <a:pt x="17" y="157"/>
                    </a:lnTo>
                    <a:lnTo>
                      <a:pt x="46" y="169"/>
                    </a:lnTo>
                    <a:lnTo>
                      <a:pt x="63" y="186"/>
                    </a:lnTo>
                    <a:lnTo>
                      <a:pt x="40" y="221"/>
                    </a:lnTo>
                    <a:lnTo>
                      <a:pt x="0" y="291"/>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94" name="Google Shape;2994;g805494e7d0_2_86"/>
              <p:cNvSpPr/>
              <p:nvPr/>
            </p:nvSpPr>
            <p:spPr>
              <a:xfrm>
                <a:off x="3155" y="703"/>
                <a:ext cx="114" cy="42"/>
              </a:xfrm>
              <a:custGeom>
                <a:avLst/>
                <a:gdLst/>
                <a:ahLst/>
                <a:cxnLst/>
                <a:rect l="l" t="t" r="r" b="b"/>
                <a:pathLst>
                  <a:path w="1035" h="453" extrusionOk="0">
                    <a:moveTo>
                      <a:pt x="24" y="116"/>
                    </a:moveTo>
                    <a:lnTo>
                      <a:pt x="24" y="179"/>
                    </a:lnTo>
                    <a:lnTo>
                      <a:pt x="0" y="273"/>
                    </a:lnTo>
                    <a:lnTo>
                      <a:pt x="47" y="291"/>
                    </a:lnTo>
                    <a:lnTo>
                      <a:pt x="93" y="336"/>
                    </a:lnTo>
                    <a:lnTo>
                      <a:pt x="128" y="383"/>
                    </a:lnTo>
                    <a:lnTo>
                      <a:pt x="198" y="406"/>
                    </a:lnTo>
                    <a:lnTo>
                      <a:pt x="314" y="383"/>
                    </a:lnTo>
                    <a:lnTo>
                      <a:pt x="355" y="430"/>
                    </a:lnTo>
                    <a:lnTo>
                      <a:pt x="378" y="430"/>
                    </a:lnTo>
                    <a:lnTo>
                      <a:pt x="471" y="406"/>
                    </a:lnTo>
                    <a:lnTo>
                      <a:pt x="518" y="406"/>
                    </a:lnTo>
                    <a:lnTo>
                      <a:pt x="535" y="406"/>
                    </a:lnTo>
                    <a:lnTo>
                      <a:pt x="558" y="453"/>
                    </a:lnTo>
                    <a:lnTo>
                      <a:pt x="605" y="406"/>
                    </a:lnTo>
                    <a:lnTo>
                      <a:pt x="675" y="383"/>
                    </a:lnTo>
                    <a:lnTo>
                      <a:pt x="698" y="383"/>
                    </a:lnTo>
                    <a:lnTo>
                      <a:pt x="715" y="406"/>
                    </a:lnTo>
                    <a:lnTo>
                      <a:pt x="762" y="406"/>
                    </a:lnTo>
                    <a:lnTo>
                      <a:pt x="808" y="383"/>
                    </a:lnTo>
                    <a:lnTo>
                      <a:pt x="855" y="406"/>
                    </a:lnTo>
                    <a:lnTo>
                      <a:pt x="895" y="383"/>
                    </a:lnTo>
                    <a:lnTo>
                      <a:pt x="965" y="360"/>
                    </a:lnTo>
                    <a:lnTo>
                      <a:pt x="1012" y="360"/>
                    </a:lnTo>
                    <a:lnTo>
                      <a:pt x="1012" y="291"/>
                    </a:lnTo>
                    <a:lnTo>
                      <a:pt x="1035" y="203"/>
                    </a:lnTo>
                    <a:lnTo>
                      <a:pt x="1012" y="156"/>
                    </a:lnTo>
                    <a:lnTo>
                      <a:pt x="965" y="46"/>
                    </a:lnTo>
                    <a:lnTo>
                      <a:pt x="919" y="22"/>
                    </a:lnTo>
                    <a:lnTo>
                      <a:pt x="855" y="22"/>
                    </a:lnTo>
                    <a:lnTo>
                      <a:pt x="762" y="46"/>
                    </a:lnTo>
                    <a:lnTo>
                      <a:pt x="715" y="92"/>
                    </a:lnTo>
                    <a:lnTo>
                      <a:pt x="651" y="69"/>
                    </a:lnTo>
                    <a:lnTo>
                      <a:pt x="448" y="0"/>
                    </a:lnTo>
                    <a:lnTo>
                      <a:pt x="332" y="0"/>
                    </a:lnTo>
                    <a:lnTo>
                      <a:pt x="222" y="46"/>
                    </a:lnTo>
                    <a:lnTo>
                      <a:pt x="128" y="69"/>
                    </a:lnTo>
                    <a:lnTo>
                      <a:pt x="117" y="87"/>
                    </a:lnTo>
                    <a:lnTo>
                      <a:pt x="122" y="116"/>
                    </a:lnTo>
                    <a:lnTo>
                      <a:pt x="58" y="104"/>
                    </a:lnTo>
                    <a:lnTo>
                      <a:pt x="24" y="116"/>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95" name="Google Shape;2995;g805494e7d0_2_86"/>
              <p:cNvSpPr/>
              <p:nvPr/>
            </p:nvSpPr>
            <p:spPr>
              <a:xfrm>
                <a:off x="3191" y="749"/>
                <a:ext cx="10" cy="7"/>
              </a:xfrm>
              <a:custGeom>
                <a:avLst/>
                <a:gdLst/>
                <a:ahLst/>
                <a:cxnLst/>
                <a:rect l="l" t="t" r="r" b="b"/>
                <a:pathLst>
                  <a:path w="92" h="70" extrusionOk="0">
                    <a:moveTo>
                      <a:pt x="92" y="0"/>
                    </a:moveTo>
                    <a:lnTo>
                      <a:pt x="46" y="0"/>
                    </a:lnTo>
                    <a:lnTo>
                      <a:pt x="0" y="24"/>
                    </a:lnTo>
                    <a:lnTo>
                      <a:pt x="0" y="70"/>
                    </a:lnTo>
                    <a:lnTo>
                      <a:pt x="23" y="70"/>
                    </a:lnTo>
                    <a:lnTo>
                      <a:pt x="46" y="47"/>
                    </a:lnTo>
                    <a:lnTo>
                      <a:pt x="69" y="47"/>
                    </a:lnTo>
                    <a:lnTo>
                      <a:pt x="92" y="24"/>
                    </a:lnTo>
                    <a:lnTo>
                      <a:pt x="92"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96" name="Google Shape;2996;g805494e7d0_2_86"/>
              <p:cNvSpPr/>
              <p:nvPr/>
            </p:nvSpPr>
            <p:spPr>
              <a:xfrm>
                <a:off x="3128" y="630"/>
                <a:ext cx="102" cy="52"/>
              </a:xfrm>
              <a:custGeom>
                <a:avLst/>
                <a:gdLst/>
                <a:ahLst/>
                <a:cxnLst/>
                <a:rect l="l" t="t" r="r" b="b"/>
                <a:pathLst>
                  <a:path w="924" h="558" extrusionOk="0">
                    <a:moveTo>
                      <a:pt x="877" y="360"/>
                    </a:moveTo>
                    <a:lnTo>
                      <a:pt x="830" y="383"/>
                    </a:lnTo>
                    <a:lnTo>
                      <a:pt x="784" y="430"/>
                    </a:lnTo>
                    <a:lnTo>
                      <a:pt x="697" y="453"/>
                    </a:lnTo>
                    <a:lnTo>
                      <a:pt x="650" y="453"/>
                    </a:lnTo>
                    <a:lnTo>
                      <a:pt x="650" y="493"/>
                    </a:lnTo>
                    <a:lnTo>
                      <a:pt x="697" y="516"/>
                    </a:lnTo>
                    <a:lnTo>
                      <a:pt x="650" y="540"/>
                    </a:lnTo>
                    <a:lnTo>
                      <a:pt x="627" y="540"/>
                    </a:lnTo>
                    <a:lnTo>
                      <a:pt x="581" y="476"/>
                    </a:lnTo>
                    <a:lnTo>
                      <a:pt x="563" y="453"/>
                    </a:lnTo>
                    <a:lnTo>
                      <a:pt x="516" y="453"/>
                    </a:lnTo>
                    <a:lnTo>
                      <a:pt x="471" y="453"/>
                    </a:lnTo>
                    <a:lnTo>
                      <a:pt x="447" y="516"/>
                    </a:lnTo>
                    <a:lnTo>
                      <a:pt x="401" y="540"/>
                    </a:lnTo>
                    <a:lnTo>
                      <a:pt x="377" y="540"/>
                    </a:lnTo>
                    <a:lnTo>
                      <a:pt x="359" y="558"/>
                    </a:lnTo>
                    <a:lnTo>
                      <a:pt x="359" y="441"/>
                    </a:lnTo>
                    <a:lnTo>
                      <a:pt x="412" y="395"/>
                    </a:lnTo>
                    <a:lnTo>
                      <a:pt x="447" y="383"/>
                    </a:lnTo>
                    <a:lnTo>
                      <a:pt x="424" y="336"/>
                    </a:lnTo>
                    <a:lnTo>
                      <a:pt x="377" y="273"/>
                    </a:lnTo>
                    <a:lnTo>
                      <a:pt x="342" y="273"/>
                    </a:lnTo>
                    <a:lnTo>
                      <a:pt x="273" y="296"/>
                    </a:lnTo>
                    <a:lnTo>
                      <a:pt x="249" y="343"/>
                    </a:lnTo>
                    <a:lnTo>
                      <a:pt x="162" y="336"/>
                    </a:lnTo>
                    <a:lnTo>
                      <a:pt x="57" y="343"/>
                    </a:lnTo>
                    <a:lnTo>
                      <a:pt x="17" y="308"/>
                    </a:lnTo>
                    <a:lnTo>
                      <a:pt x="0" y="249"/>
                    </a:lnTo>
                    <a:lnTo>
                      <a:pt x="92" y="116"/>
                    </a:lnTo>
                    <a:lnTo>
                      <a:pt x="69" y="69"/>
                    </a:lnTo>
                    <a:lnTo>
                      <a:pt x="116" y="40"/>
                    </a:lnTo>
                    <a:lnTo>
                      <a:pt x="162" y="40"/>
                    </a:lnTo>
                    <a:lnTo>
                      <a:pt x="180" y="40"/>
                    </a:lnTo>
                    <a:lnTo>
                      <a:pt x="249" y="87"/>
                    </a:lnTo>
                    <a:lnTo>
                      <a:pt x="359" y="40"/>
                    </a:lnTo>
                    <a:lnTo>
                      <a:pt x="377" y="69"/>
                    </a:lnTo>
                    <a:lnTo>
                      <a:pt x="401" y="40"/>
                    </a:lnTo>
                    <a:lnTo>
                      <a:pt x="447" y="23"/>
                    </a:lnTo>
                    <a:lnTo>
                      <a:pt x="493" y="23"/>
                    </a:lnTo>
                    <a:lnTo>
                      <a:pt x="581" y="0"/>
                    </a:lnTo>
                    <a:lnTo>
                      <a:pt x="697" y="0"/>
                    </a:lnTo>
                    <a:lnTo>
                      <a:pt x="738" y="69"/>
                    </a:lnTo>
                    <a:lnTo>
                      <a:pt x="784" y="116"/>
                    </a:lnTo>
                    <a:lnTo>
                      <a:pt x="854" y="116"/>
                    </a:lnTo>
                    <a:lnTo>
                      <a:pt x="900" y="226"/>
                    </a:lnTo>
                    <a:lnTo>
                      <a:pt x="900" y="249"/>
                    </a:lnTo>
                    <a:lnTo>
                      <a:pt x="924" y="319"/>
                    </a:lnTo>
                    <a:lnTo>
                      <a:pt x="854" y="336"/>
                    </a:lnTo>
                    <a:lnTo>
                      <a:pt x="877" y="36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97" name="Google Shape;2997;g805494e7d0_2_86"/>
              <p:cNvSpPr/>
              <p:nvPr/>
            </p:nvSpPr>
            <p:spPr>
              <a:xfrm>
                <a:off x="3159" y="655"/>
                <a:ext cx="19" cy="16"/>
              </a:xfrm>
              <a:custGeom>
                <a:avLst/>
                <a:gdLst/>
                <a:ahLst/>
                <a:cxnLst/>
                <a:rect l="l" t="t" r="r" b="b"/>
                <a:pathLst>
                  <a:path w="174" h="168" extrusionOk="0">
                    <a:moveTo>
                      <a:pt x="0" y="18"/>
                    </a:moveTo>
                    <a:lnTo>
                      <a:pt x="75" y="133"/>
                    </a:lnTo>
                    <a:lnTo>
                      <a:pt x="80" y="168"/>
                    </a:lnTo>
                    <a:lnTo>
                      <a:pt x="133" y="122"/>
                    </a:lnTo>
                    <a:lnTo>
                      <a:pt x="174" y="110"/>
                    </a:lnTo>
                    <a:lnTo>
                      <a:pt x="127" y="35"/>
                    </a:lnTo>
                    <a:lnTo>
                      <a:pt x="98" y="0"/>
                    </a:lnTo>
                    <a:lnTo>
                      <a:pt x="63" y="0"/>
                    </a:lnTo>
                    <a:lnTo>
                      <a:pt x="23" y="11"/>
                    </a:lnTo>
                    <a:lnTo>
                      <a:pt x="0" y="18"/>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98" name="Google Shape;2998;g805494e7d0_2_86"/>
              <p:cNvSpPr/>
              <p:nvPr/>
            </p:nvSpPr>
            <p:spPr>
              <a:xfrm>
                <a:off x="3133" y="599"/>
                <a:ext cx="61" cy="38"/>
              </a:xfrm>
              <a:custGeom>
                <a:avLst/>
                <a:gdLst/>
                <a:ahLst/>
                <a:cxnLst/>
                <a:rect l="l" t="t" r="r" b="b"/>
                <a:pathLst>
                  <a:path w="551" h="424" extrusionOk="0">
                    <a:moveTo>
                      <a:pt x="40" y="401"/>
                    </a:moveTo>
                    <a:lnTo>
                      <a:pt x="0" y="337"/>
                    </a:lnTo>
                    <a:lnTo>
                      <a:pt x="22" y="290"/>
                    </a:lnTo>
                    <a:lnTo>
                      <a:pt x="22" y="232"/>
                    </a:lnTo>
                    <a:lnTo>
                      <a:pt x="87" y="209"/>
                    </a:lnTo>
                    <a:lnTo>
                      <a:pt x="133" y="157"/>
                    </a:lnTo>
                    <a:lnTo>
                      <a:pt x="162" y="87"/>
                    </a:lnTo>
                    <a:lnTo>
                      <a:pt x="272" y="0"/>
                    </a:lnTo>
                    <a:lnTo>
                      <a:pt x="371" y="46"/>
                    </a:lnTo>
                    <a:lnTo>
                      <a:pt x="458" y="58"/>
                    </a:lnTo>
                    <a:lnTo>
                      <a:pt x="476" y="105"/>
                    </a:lnTo>
                    <a:lnTo>
                      <a:pt x="528" y="140"/>
                    </a:lnTo>
                    <a:lnTo>
                      <a:pt x="551" y="197"/>
                    </a:lnTo>
                    <a:lnTo>
                      <a:pt x="516" y="284"/>
                    </a:lnTo>
                    <a:lnTo>
                      <a:pt x="528" y="342"/>
                    </a:lnTo>
                    <a:lnTo>
                      <a:pt x="464" y="366"/>
                    </a:lnTo>
                    <a:lnTo>
                      <a:pt x="400" y="360"/>
                    </a:lnTo>
                    <a:lnTo>
                      <a:pt x="330" y="406"/>
                    </a:lnTo>
                    <a:lnTo>
                      <a:pt x="312" y="377"/>
                    </a:lnTo>
                    <a:lnTo>
                      <a:pt x="272" y="394"/>
                    </a:lnTo>
                    <a:lnTo>
                      <a:pt x="202" y="424"/>
                    </a:lnTo>
                    <a:lnTo>
                      <a:pt x="133" y="377"/>
                    </a:lnTo>
                    <a:lnTo>
                      <a:pt x="69" y="377"/>
                    </a:lnTo>
                    <a:lnTo>
                      <a:pt x="40" y="401"/>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999" name="Google Shape;2999;g805494e7d0_2_86"/>
              <p:cNvSpPr/>
              <p:nvPr/>
            </p:nvSpPr>
            <p:spPr>
              <a:xfrm>
                <a:off x="3119" y="657"/>
                <a:ext cx="48" cy="33"/>
              </a:xfrm>
              <a:custGeom>
                <a:avLst/>
                <a:gdLst/>
                <a:ahLst/>
                <a:cxnLst/>
                <a:rect l="l" t="t" r="r" b="b"/>
                <a:pathLst>
                  <a:path w="447" h="359" extrusionOk="0">
                    <a:moveTo>
                      <a:pt x="111" y="28"/>
                    </a:moveTo>
                    <a:lnTo>
                      <a:pt x="65" y="115"/>
                    </a:lnTo>
                    <a:lnTo>
                      <a:pt x="0" y="185"/>
                    </a:lnTo>
                    <a:lnTo>
                      <a:pt x="0" y="225"/>
                    </a:lnTo>
                    <a:lnTo>
                      <a:pt x="41" y="272"/>
                    </a:lnTo>
                    <a:lnTo>
                      <a:pt x="111" y="295"/>
                    </a:lnTo>
                    <a:lnTo>
                      <a:pt x="135" y="312"/>
                    </a:lnTo>
                    <a:lnTo>
                      <a:pt x="227" y="359"/>
                    </a:lnTo>
                    <a:lnTo>
                      <a:pt x="314" y="295"/>
                    </a:lnTo>
                    <a:lnTo>
                      <a:pt x="361" y="336"/>
                    </a:lnTo>
                    <a:lnTo>
                      <a:pt x="430" y="312"/>
                    </a:lnTo>
                    <a:lnTo>
                      <a:pt x="436" y="295"/>
                    </a:lnTo>
                    <a:lnTo>
                      <a:pt x="442" y="272"/>
                    </a:lnTo>
                    <a:lnTo>
                      <a:pt x="447" y="202"/>
                    </a:lnTo>
                    <a:lnTo>
                      <a:pt x="447" y="115"/>
                    </a:lnTo>
                    <a:lnTo>
                      <a:pt x="407" y="45"/>
                    </a:lnTo>
                    <a:lnTo>
                      <a:pt x="361" y="0"/>
                    </a:lnTo>
                    <a:lnTo>
                      <a:pt x="337" y="45"/>
                    </a:lnTo>
                    <a:lnTo>
                      <a:pt x="157" y="45"/>
                    </a:lnTo>
                    <a:lnTo>
                      <a:pt x="111" y="28"/>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00" name="Google Shape;3000;g805494e7d0_2_86"/>
              <p:cNvSpPr/>
              <p:nvPr/>
            </p:nvSpPr>
            <p:spPr>
              <a:xfrm>
                <a:off x="3072" y="637"/>
                <a:ext cx="58" cy="24"/>
              </a:xfrm>
              <a:custGeom>
                <a:avLst/>
                <a:gdLst/>
                <a:ahLst/>
                <a:cxnLst/>
                <a:rect l="l" t="t" r="r" b="b"/>
                <a:pathLst>
                  <a:path w="535" h="249" extrusionOk="0">
                    <a:moveTo>
                      <a:pt x="518" y="174"/>
                    </a:moveTo>
                    <a:lnTo>
                      <a:pt x="453" y="139"/>
                    </a:lnTo>
                    <a:lnTo>
                      <a:pt x="384" y="139"/>
                    </a:lnTo>
                    <a:lnTo>
                      <a:pt x="343" y="139"/>
                    </a:lnTo>
                    <a:lnTo>
                      <a:pt x="273" y="70"/>
                    </a:lnTo>
                    <a:lnTo>
                      <a:pt x="117" y="0"/>
                    </a:lnTo>
                    <a:lnTo>
                      <a:pt x="0" y="92"/>
                    </a:lnTo>
                    <a:lnTo>
                      <a:pt x="47" y="139"/>
                    </a:lnTo>
                    <a:lnTo>
                      <a:pt x="47" y="186"/>
                    </a:lnTo>
                    <a:lnTo>
                      <a:pt x="117" y="186"/>
                    </a:lnTo>
                    <a:lnTo>
                      <a:pt x="157" y="162"/>
                    </a:lnTo>
                    <a:lnTo>
                      <a:pt x="181" y="186"/>
                    </a:lnTo>
                    <a:lnTo>
                      <a:pt x="227" y="186"/>
                    </a:lnTo>
                    <a:lnTo>
                      <a:pt x="251" y="249"/>
                    </a:lnTo>
                    <a:lnTo>
                      <a:pt x="366" y="249"/>
                    </a:lnTo>
                    <a:lnTo>
                      <a:pt x="408" y="232"/>
                    </a:lnTo>
                    <a:lnTo>
                      <a:pt x="477" y="232"/>
                    </a:lnTo>
                    <a:lnTo>
                      <a:pt x="535" y="221"/>
                    </a:lnTo>
                    <a:lnTo>
                      <a:pt x="518" y="174"/>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01" name="Google Shape;3001;g805494e7d0_2_86"/>
              <p:cNvSpPr/>
              <p:nvPr/>
            </p:nvSpPr>
            <p:spPr>
              <a:xfrm>
                <a:off x="3080" y="611"/>
                <a:ext cx="59" cy="43"/>
              </a:xfrm>
              <a:custGeom>
                <a:avLst/>
                <a:gdLst/>
                <a:ahLst/>
                <a:cxnLst/>
                <a:rect l="l" t="t" r="r" b="b"/>
                <a:pathLst>
                  <a:path w="540" h="465" extrusionOk="0">
                    <a:moveTo>
                      <a:pt x="47" y="296"/>
                    </a:moveTo>
                    <a:lnTo>
                      <a:pt x="47" y="244"/>
                    </a:lnTo>
                    <a:lnTo>
                      <a:pt x="47" y="204"/>
                    </a:lnTo>
                    <a:lnTo>
                      <a:pt x="0" y="181"/>
                    </a:lnTo>
                    <a:lnTo>
                      <a:pt x="17" y="111"/>
                    </a:lnTo>
                    <a:lnTo>
                      <a:pt x="17" y="70"/>
                    </a:lnTo>
                    <a:lnTo>
                      <a:pt x="157" y="0"/>
                    </a:lnTo>
                    <a:lnTo>
                      <a:pt x="273" y="0"/>
                    </a:lnTo>
                    <a:lnTo>
                      <a:pt x="296" y="0"/>
                    </a:lnTo>
                    <a:lnTo>
                      <a:pt x="407" y="47"/>
                    </a:lnTo>
                    <a:lnTo>
                      <a:pt x="448" y="70"/>
                    </a:lnTo>
                    <a:lnTo>
                      <a:pt x="517" y="87"/>
                    </a:lnTo>
                    <a:lnTo>
                      <a:pt x="517" y="157"/>
                    </a:lnTo>
                    <a:lnTo>
                      <a:pt x="495" y="204"/>
                    </a:lnTo>
                    <a:lnTo>
                      <a:pt x="517" y="244"/>
                    </a:lnTo>
                    <a:lnTo>
                      <a:pt x="540" y="291"/>
                    </a:lnTo>
                    <a:lnTo>
                      <a:pt x="523" y="355"/>
                    </a:lnTo>
                    <a:lnTo>
                      <a:pt x="465" y="430"/>
                    </a:lnTo>
                    <a:lnTo>
                      <a:pt x="448" y="465"/>
                    </a:lnTo>
                    <a:lnTo>
                      <a:pt x="366" y="430"/>
                    </a:lnTo>
                    <a:lnTo>
                      <a:pt x="268" y="430"/>
                    </a:lnTo>
                    <a:lnTo>
                      <a:pt x="198" y="355"/>
                    </a:lnTo>
                    <a:lnTo>
                      <a:pt x="139" y="326"/>
                    </a:lnTo>
                    <a:lnTo>
                      <a:pt x="47" y="296"/>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02" name="Google Shape;3002;g805494e7d0_2_86"/>
              <p:cNvSpPr/>
              <p:nvPr/>
            </p:nvSpPr>
            <p:spPr>
              <a:xfrm>
                <a:off x="3112" y="597"/>
                <a:ext cx="39" cy="23"/>
              </a:xfrm>
              <a:custGeom>
                <a:avLst/>
                <a:gdLst/>
                <a:ahLst/>
                <a:cxnLst/>
                <a:rect l="l" t="t" r="r" b="b"/>
                <a:pathLst>
                  <a:path w="361" h="239" extrusionOk="0">
                    <a:moveTo>
                      <a:pt x="0" y="145"/>
                    </a:moveTo>
                    <a:lnTo>
                      <a:pt x="42" y="117"/>
                    </a:lnTo>
                    <a:lnTo>
                      <a:pt x="42" y="87"/>
                    </a:lnTo>
                    <a:lnTo>
                      <a:pt x="52" y="29"/>
                    </a:lnTo>
                    <a:lnTo>
                      <a:pt x="87" y="18"/>
                    </a:lnTo>
                    <a:lnTo>
                      <a:pt x="111" y="0"/>
                    </a:lnTo>
                    <a:lnTo>
                      <a:pt x="129" y="29"/>
                    </a:lnTo>
                    <a:lnTo>
                      <a:pt x="152" y="58"/>
                    </a:lnTo>
                    <a:lnTo>
                      <a:pt x="221" y="75"/>
                    </a:lnTo>
                    <a:lnTo>
                      <a:pt x="286" y="58"/>
                    </a:lnTo>
                    <a:lnTo>
                      <a:pt x="314" y="75"/>
                    </a:lnTo>
                    <a:lnTo>
                      <a:pt x="361" y="105"/>
                    </a:lnTo>
                    <a:lnTo>
                      <a:pt x="332" y="169"/>
                    </a:lnTo>
                    <a:lnTo>
                      <a:pt x="279" y="221"/>
                    </a:lnTo>
                    <a:lnTo>
                      <a:pt x="221" y="239"/>
                    </a:lnTo>
                    <a:lnTo>
                      <a:pt x="152" y="215"/>
                    </a:lnTo>
                    <a:lnTo>
                      <a:pt x="42" y="169"/>
                    </a:lnTo>
                    <a:lnTo>
                      <a:pt x="0" y="145"/>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03" name="Google Shape;3003;g805494e7d0_2_86"/>
              <p:cNvSpPr/>
              <p:nvPr/>
            </p:nvSpPr>
            <p:spPr>
              <a:xfrm>
                <a:off x="3119" y="584"/>
                <a:ext cx="44" cy="22"/>
              </a:xfrm>
              <a:custGeom>
                <a:avLst/>
                <a:gdLst/>
                <a:ahLst/>
                <a:cxnLst/>
                <a:rect l="l" t="t" r="r" b="b"/>
                <a:pathLst>
                  <a:path w="407" h="244" extrusionOk="0">
                    <a:moveTo>
                      <a:pt x="0" y="174"/>
                    </a:moveTo>
                    <a:lnTo>
                      <a:pt x="0" y="110"/>
                    </a:lnTo>
                    <a:lnTo>
                      <a:pt x="47" y="63"/>
                    </a:lnTo>
                    <a:lnTo>
                      <a:pt x="135" y="87"/>
                    </a:lnTo>
                    <a:lnTo>
                      <a:pt x="157" y="87"/>
                    </a:lnTo>
                    <a:lnTo>
                      <a:pt x="135" y="0"/>
                    </a:lnTo>
                    <a:lnTo>
                      <a:pt x="204" y="63"/>
                    </a:lnTo>
                    <a:lnTo>
                      <a:pt x="250" y="63"/>
                    </a:lnTo>
                    <a:lnTo>
                      <a:pt x="297" y="70"/>
                    </a:lnTo>
                    <a:lnTo>
                      <a:pt x="407" y="151"/>
                    </a:lnTo>
                    <a:lnTo>
                      <a:pt x="378" y="180"/>
                    </a:lnTo>
                    <a:lnTo>
                      <a:pt x="297" y="244"/>
                    </a:lnTo>
                    <a:lnTo>
                      <a:pt x="222" y="203"/>
                    </a:lnTo>
                    <a:lnTo>
                      <a:pt x="145" y="220"/>
                    </a:lnTo>
                    <a:lnTo>
                      <a:pt x="88" y="203"/>
                    </a:lnTo>
                    <a:lnTo>
                      <a:pt x="65" y="174"/>
                    </a:lnTo>
                    <a:lnTo>
                      <a:pt x="47" y="133"/>
                    </a:lnTo>
                    <a:lnTo>
                      <a:pt x="23" y="163"/>
                    </a:lnTo>
                    <a:lnTo>
                      <a:pt x="0" y="174"/>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04" name="Google Shape;3004;g805494e7d0_2_86"/>
              <p:cNvSpPr/>
              <p:nvPr/>
            </p:nvSpPr>
            <p:spPr>
              <a:xfrm>
                <a:off x="3133" y="571"/>
                <a:ext cx="33" cy="25"/>
              </a:xfrm>
              <a:custGeom>
                <a:avLst/>
                <a:gdLst/>
                <a:ahLst/>
                <a:cxnLst/>
                <a:rect l="l" t="t" r="r" b="b"/>
                <a:pathLst>
                  <a:path w="295" h="272" extrusionOk="0">
                    <a:moveTo>
                      <a:pt x="0" y="139"/>
                    </a:moveTo>
                    <a:lnTo>
                      <a:pt x="0" y="69"/>
                    </a:lnTo>
                    <a:lnTo>
                      <a:pt x="45" y="45"/>
                    </a:lnTo>
                    <a:lnTo>
                      <a:pt x="133" y="23"/>
                    </a:lnTo>
                    <a:lnTo>
                      <a:pt x="162" y="0"/>
                    </a:lnTo>
                    <a:lnTo>
                      <a:pt x="202" y="0"/>
                    </a:lnTo>
                    <a:lnTo>
                      <a:pt x="295" y="23"/>
                    </a:lnTo>
                    <a:lnTo>
                      <a:pt x="249" y="45"/>
                    </a:lnTo>
                    <a:lnTo>
                      <a:pt x="272" y="115"/>
                    </a:lnTo>
                    <a:lnTo>
                      <a:pt x="295" y="157"/>
                    </a:lnTo>
                    <a:lnTo>
                      <a:pt x="272" y="220"/>
                    </a:lnTo>
                    <a:lnTo>
                      <a:pt x="249" y="272"/>
                    </a:lnTo>
                    <a:lnTo>
                      <a:pt x="162" y="202"/>
                    </a:lnTo>
                    <a:lnTo>
                      <a:pt x="69" y="202"/>
                    </a:lnTo>
                    <a:lnTo>
                      <a:pt x="22" y="157"/>
                    </a:lnTo>
                    <a:lnTo>
                      <a:pt x="0" y="139"/>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05" name="Google Shape;3005;g805494e7d0_2_86"/>
              <p:cNvSpPr/>
              <p:nvPr/>
            </p:nvSpPr>
            <p:spPr>
              <a:xfrm>
                <a:off x="3107" y="476"/>
                <a:ext cx="70" cy="89"/>
              </a:xfrm>
              <a:custGeom>
                <a:avLst/>
                <a:gdLst/>
                <a:ahLst/>
                <a:cxnLst/>
                <a:rect l="l" t="t" r="r" b="b"/>
                <a:pathLst>
                  <a:path w="651" h="959" extrusionOk="0">
                    <a:moveTo>
                      <a:pt x="546" y="942"/>
                    </a:moveTo>
                    <a:lnTo>
                      <a:pt x="523" y="942"/>
                    </a:lnTo>
                    <a:lnTo>
                      <a:pt x="477" y="918"/>
                    </a:lnTo>
                    <a:lnTo>
                      <a:pt x="477" y="872"/>
                    </a:lnTo>
                    <a:lnTo>
                      <a:pt x="453" y="872"/>
                    </a:lnTo>
                    <a:lnTo>
                      <a:pt x="430" y="918"/>
                    </a:lnTo>
                    <a:lnTo>
                      <a:pt x="273" y="959"/>
                    </a:lnTo>
                    <a:lnTo>
                      <a:pt x="181" y="942"/>
                    </a:lnTo>
                    <a:lnTo>
                      <a:pt x="116" y="942"/>
                    </a:lnTo>
                    <a:lnTo>
                      <a:pt x="116" y="895"/>
                    </a:lnTo>
                    <a:lnTo>
                      <a:pt x="139" y="848"/>
                    </a:lnTo>
                    <a:lnTo>
                      <a:pt x="94" y="802"/>
                    </a:lnTo>
                    <a:lnTo>
                      <a:pt x="94" y="738"/>
                    </a:lnTo>
                    <a:lnTo>
                      <a:pt x="116" y="692"/>
                    </a:lnTo>
                    <a:lnTo>
                      <a:pt x="163" y="692"/>
                    </a:lnTo>
                    <a:lnTo>
                      <a:pt x="163" y="645"/>
                    </a:lnTo>
                    <a:lnTo>
                      <a:pt x="273" y="558"/>
                    </a:lnTo>
                    <a:lnTo>
                      <a:pt x="296" y="511"/>
                    </a:lnTo>
                    <a:lnTo>
                      <a:pt x="273" y="465"/>
                    </a:lnTo>
                    <a:lnTo>
                      <a:pt x="227" y="424"/>
                    </a:lnTo>
                    <a:lnTo>
                      <a:pt x="181" y="424"/>
                    </a:lnTo>
                    <a:lnTo>
                      <a:pt x="181" y="331"/>
                    </a:lnTo>
                    <a:lnTo>
                      <a:pt x="139" y="215"/>
                    </a:lnTo>
                    <a:lnTo>
                      <a:pt x="0" y="75"/>
                    </a:lnTo>
                    <a:lnTo>
                      <a:pt x="41" y="64"/>
                    </a:lnTo>
                    <a:lnTo>
                      <a:pt x="163" y="117"/>
                    </a:lnTo>
                    <a:lnTo>
                      <a:pt x="227" y="99"/>
                    </a:lnTo>
                    <a:lnTo>
                      <a:pt x="320" y="18"/>
                    </a:lnTo>
                    <a:lnTo>
                      <a:pt x="401" y="0"/>
                    </a:lnTo>
                    <a:lnTo>
                      <a:pt x="390" y="41"/>
                    </a:lnTo>
                    <a:lnTo>
                      <a:pt x="430" y="128"/>
                    </a:lnTo>
                    <a:lnTo>
                      <a:pt x="430" y="221"/>
                    </a:lnTo>
                    <a:lnTo>
                      <a:pt x="453" y="267"/>
                    </a:lnTo>
                    <a:lnTo>
                      <a:pt x="500" y="331"/>
                    </a:lnTo>
                    <a:lnTo>
                      <a:pt x="500" y="424"/>
                    </a:lnTo>
                    <a:lnTo>
                      <a:pt x="546" y="488"/>
                    </a:lnTo>
                    <a:lnTo>
                      <a:pt x="546" y="581"/>
                    </a:lnTo>
                    <a:lnTo>
                      <a:pt x="605" y="692"/>
                    </a:lnTo>
                    <a:lnTo>
                      <a:pt x="651" y="761"/>
                    </a:lnTo>
                    <a:lnTo>
                      <a:pt x="605" y="872"/>
                    </a:lnTo>
                    <a:lnTo>
                      <a:pt x="523" y="895"/>
                    </a:lnTo>
                    <a:lnTo>
                      <a:pt x="546" y="942"/>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06" name="Google Shape;3006;g805494e7d0_2_86"/>
              <p:cNvSpPr/>
              <p:nvPr/>
            </p:nvSpPr>
            <p:spPr>
              <a:xfrm>
                <a:off x="3065" y="490"/>
                <a:ext cx="62" cy="113"/>
              </a:xfrm>
              <a:custGeom>
                <a:avLst/>
                <a:gdLst/>
                <a:ahLst/>
                <a:cxnLst/>
                <a:rect l="l" t="t" r="r" b="b"/>
                <a:pathLst>
                  <a:path w="576" h="1219" extrusionOk="0">
                    <a:moveTo>
                      <a:pt x="576" y="272"/>
                    </a:moveTo>
                    <a:lnTo>
                      <a:pt x="500" y="336"/>
                    </a:lnTo>
                    <a:lnTo>
                      <a:pt x="478" y="446"/>
                    </a:lnTo>
                    <a:lnTo>
                      <a:pt x="454" y="516"/>
                    </a:lnTo>
                    <a:lnTo>
                      <a:pt x="390" y="586"/>
                    </a:lnTo>
                    <a:lnTo>
                      <a:pt x="321" y="609"/>
                    </a:lnTo>
                    <a:lnTo>
                      <a:pt x="274" y="720"/>
                    </a:lnTo>
                    <a:lnTo>
                      <a:pt x="274" y="766"/>
                    </a:lnTo>
                    <a:lnTo>
                      <a:pt x="343" y="853"/>
                    </a:lnTo>
                    <a:lnTo>
                      <a:pt x="343" y="877"/>
                    </a:lnTo>
                    <a:lnTo>
                      <a:pt x="297" y="900"/>
                    </a:lnTo>
                    <a:lnTo>
                      <a:pt x="274" y="877"/>
                    </a:lnTo>
                    <a:lnTo>
                      <a:pt x="251" y="900"/>
                    </a:lnTo>
                    <a:lnTo>
                      <a:pt x="274" y="922"/>
                    </a:lnTo>
                    <a:lnTo>
                      <a:pt x="274" y="969"/>
                    </a:lnTo>
                    <a:lnTo>
                      <a:pt x="274" y="992"/>
                    </a:lnTo>
                    <a:lnTo>
                      <a:pt x="274" y="1079"/>
                    </a:lnTo>
                    <a:lnTo>
                      <a:pt x="227" y="1126"/>
                    </a:lnTo>
                    <a:lnTo>
                      <a:pt x="157" y="1149"/>
                    </a:lnTo>
                    <a:lnTo>
                      <a:pt x="140" y="1219"/>
                    </a:lnTo>
                    <a:lnTo>
                      <a:pt x="94" y="1219"/>
                    </a:lnTo>
                    <a:lnTo>
                      <a:pt x="70" y="1149"/>
                    </a:lnTo>
                    <a:lnTo>
                      <a:pt x="47" y="1079"/>
                    </a:lnTo>
                    <a:lnTo>
                      <a:pt x="7" y="1044"/>
                    </a:lnTo>
                    <a:lnTo>
                      <a:pt x="0" y="969"/>
                    </a:lnTo>
                    <a:lnTo>
                      <a:pt x="0" y="900"/>
                    </a:lnTo>
                    <a:lnTo>
                      <a:pt x="0" y="877"/>
                    </a:lnTo>
                    <a:lnTo>
                      <a:pt x="47" y="807"/>
                    </a:lnTo>
                    <a:lnTo>
                      <a:pt x="70" y="673"/>
                    </a:lnTo>
                    <a:lnTo>
                      <a:pt x="47" y="540"/>
                    </a:lnTo>
                    <a:lnTo>
                      <a:pt x="70" y="476"/>
                    </a:lnTo>
                    <a:lnTo>
                      <a:pt x="175" y="366"/>
                    </a:lnTo>
                    <a:lnTo>
                      <a:pt x="187" y="296"/>
                    </a:lnTo>
                    <a:lnTo>
                      <a:pt x="274" y="139"/>
                    </a:lnTo>
                    <a:lnTo>
                      <a:pt x="303" y="57"/>
                    </a:lnTo>
                    <a:lnTo>
                      <a:pt x="378" y="35"/>
                    </a:lnTo>
                    <a:lnTo>
                      <a:pt x="413" y="0"/>
                    </a:lnTo>
                    <a:lnTo>
                      <a:pt x="483" y="0"/>
                    </a:lnTo>
                    <a:lnTo>
                      <a:pt x="518" y="57"/>
                    </a:lnTo>
                    <a:lnTo>
                      <a:pt x="565" y="157"/>
                    </a:lnTo>
                    <a:lnTo>
                      <a:pt x="565" y="202"/>
                    </a:lnTo>
                    <a:lnTo>
                      <a:pt x="576" y="272"/>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07" name="Google Shape;3007;g805494e7d0_2_86"/>
              <p:cNvSpPr/>
              <p:nvPr/>
            </p:nvSpPr>
            <p:spPr>
              <a:xfrm>
                <a:off x="3033" y="466"/>
                <a:ext cx="124" cy="117"/>
              </a:xfrm>
              <a:custGeom>
                <a:avLst/>
                <a:gdLst/>
                <a:ahLst/>
                <a:cxnLst/>
                <a:rect l="l" t="t" r="r" b="b"/>
                <a:pathLst>
                  <a:path w="1151" h="1267" extrusionOk="0">
                    <a:moveTo>
                      <a:pt x="1127" y="0"/>
                    </a:moveTo>
                    <a:lnTo>
                      <a:pt x="1012" y="0"/>
                    </a:lnTo>
                    <a:lnTo>
                      <a:pt x="970" y="47"/>
                    </a:lnTo>
                    <a:lnTo>
                      <a:pt x="947" y="0"/>
                    </a:lnTo>
                    <a:lnTo>
                      <a:pt x="878" y="0"/>
                    </a:lnTo>
                    <a:lnTo>
                      <a:pt x="878" y="24"/>
                    </a:lnTo>
                    <a:lnTo>
                      <a:pt x="837" y="24"/>
                    </a:lnTo>
                    <a:lnTo>
                      <a:pt x="768" y="47"/>
                    </a:lnTo>
                    <a:lnTo>
                      <a:pt x="761" y="117"/>
                    </a:lnTo>
                    <a:lnTo>
                      <a:pt x="680" y="117"/>
                    </a:lnTo>
                    <a:lnTo>
                      <a:pt x="611" y="140"/>
                    </a:lnTo>
                    <a:lnTo>
                      <a:pt x="517" y="251"/>
                    </a:lnTo>
                    <a:lnTo>
                      <a:pt x="564" y="274"/>
                    </a:lnTo>
                    <a:lnTo>
                      <a:pt x="494" y="296"/>
                    </a:lnTo>
                    <a:lnTo>
                      <a:pt x="494" y="338"/>
                    </a:lnTo>
                    <a:lnTo>
                      <a:pt x="477" y="366"/>
                    </a:lnTo>
                    <a:lnTo>
                      <a:pt x="430" y="338"/>
                    </a:lnTo>
                    <a:lnTo>
                      <a:pt x="384" y="430"/>
                    </a:lnTo>
                    <a:lnTo>
                      <a:pt x="384" y="477"/>
                    </a:lnTo>
                    <a:lnTo>
                      <a:pt x="290" y="610"/>
                    </a:lnTo>
                    <a:lnTo>
                      <a:pt x="203" y="727"/>
                    </a:lnTo>
                    <a:lnTo>
                      <a:pt x="203" y="744"/>
                    </a:lnTo>
                    <a:lnTo>
                      <a:pt x="267" y="744"/>
                    </a:lnTo>
                    <a:lnTo>
                      <a:pt x="244" y="767"/>
                    </a:lnTo>
                    <a:lnTo>
                      <a:pt x="180" y="767"/>
                    </a:lnTo>
                    <a:lnTo>
                      <a:pt x="157" y="814"/>
                    </a:lnTo>
                    <a:lnTo>
                      <a:pt x="46" y="884"/>
                    </a:lnTo>
                    <a:lnTo>
                      <a:pt x="0" y="924"/>
                    </a:lnTo>
                    <a:lnTo>
                      <a:pt x="0" y="994"/>
                    </a:lnTo>
                    <a:lnTo>
                      <a:pt x="63" y="971"/>
                    </a:lnTo>
                    <a:lnTo>
                      <a:pt x="93" y="971"/>
                    </a:lnTo>
                    <a:lnTo>
                      <a:pt x="63" y="1017"/>
                    </a:lnTo>
                    <a:lnTo>
                      <a:pt x="23" y="1017"/>
                    </a:lnTo>
                    <a:lnTo>
                      <a:pt x="23" y="1058"/>
                    </a:lnTo>
                    <a:lnTo>
                      <a:pt x="6" y="1104"/>
                    </a:lnTo>
                    <a:lnTo>
                      <a:pt x="23" y="1128"/>
                    </a:lnTo>
                    <a:lnTo>
                      <a:pt x="6" y="1145"/>
                    </a:lnTo>
                    <a:lnTo>
                      <a:pt x="23" y="1197"/>
                    </a:lnTo>
                    <a:lnTo>
                      <a:pt x="0" y="1220"/>
                    </a:lnTo>
                    <a:lnTo>
                      <a:pt x="46" y="1267"/>
                    </a:lnTo>
                    <a:lnTo>
                      <a:pt x="157" y="1243"/>
                    </a:lnTo>
                    <a:lnTo>
                      <a:pt x="227" y="1197"/>
                    </a:lnTo>
                    <a:lnTo>
                      <a:pt x="290" y="1151"/>
                    </a:lnTo>
                    <a:lnTo>
                      <a:pt x="337" y="1058"/>
                    </a:lnTo>
                    <a:lnTo>
                      <a:pt x="360" y="924"/>
                    </a:lnTo>
                    <a:lnTo>
                      <a:pt x="360" y="884"/>
                    </a:lnTo>
                    <a:lnTo>
                      <a:pt x="337" y="791"/>
                    </a:lnTo>
                    <a:lnTo>
                      <a:pt x="384" y="697"/>
                    </a:lnTo>
                    <a:lnTo>
                      <a:pt x="430" y="657"/>
                    </a:lnTo>
                    <a:lnTo>
                      <a:pt x="477" y="610"/>
                    </a:lnTo>
                    <a:lnTo>
                      <a:pt x="477" y="564"/>
                    </a:lnTo>
                    <a:lnTo>
                      <a:pt x="517" y="477"/>
                    </a:lnTo>
                    <a:lnTo>
                      <a:pt x="587" y="320"/>
                    </a:lnTo>
                    <a:lnTo>
                      <a:pt x="656" y="296"/>
                    </a:lnTo>
                    <a:lnTo>
                      <a:pt x="778" y="256"/>
                    </a:lnTo>
                    <a:lnTo>
                      <a:pt x="680" y="163"/>
                    </a:lnTo>
                    <a:lnTo>
                      <a:pt x="715" y="157"/>
                    </a:lnTo>
                    <a:lnTo>
                      <a:pt x="831" y="221"/>
                    </a:lnTo>
                    <a:lnTo>
                      <a:pt x="883" y="216"/>
                    </a:lnTo>
                    <a:lnTo>
                      <a:pt x="965" y="140"/>
                    </a:lnTo>
                    <a:lnTo>
                      <a:pt x="994" y="117"/>
                    </a:lnTo>
                    <a:lnTo>
                      <a:pt x="1087" y="94"/>
                    </a:lnTo>
                    <a:lnTo>
                      <a:pt x="1087" y="70"/>
                    </a:lnTo>
                    <a:lnTo>
                      <a:pt x="1151" y="47"/>
                    </a:lnTo>
                    <a:lnTo>
                      <a:pt x="1127"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08" name="Google Shape;3008;g805494e7d0_2_86"/>
              <p:cNvSpPr/>
              <p:nvPr/>
            </p:nvSpPr>
            <p:spPr>
              <a:xfrm>
                <a:off x="3097" y="584"/>
                <a:ext cx="7" cy="8"/>
              </a:xfrm>
              <a:custGeom>
                <a:avLst/>
                <a:gdLst/>
                <a:ahLst/>
                <a:cxnLst/>
                <a:rect l="l" t="t" r="r" b="b"/>
                <a:pathLst>
                  <a:path w="69" h="87" extrusionOk="0">
                    <a:moveTo>
                      <a:pt x="46" y="0"/>
                    </a:moveTo>
                    <a:lnTo>
                      <a:pt x="0" y="18"/>
                    </a:lnTo>
                    <a:lnTo>
                      <a:pt x="24" y="87"/>
                    </a:lnTo>
                    <a:lnTo>
                      <a:pt x="46" y="63"/>
                    </a:lnTo>
                    <a:lnTo>
                      <a:pt x="69" y="40"/>
                    </a:lnTo>
                    <a:lnTo>
                      <a:pt x="46"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09" name="Google Shape;3009;g805494e7d0_2_86"/>
              <p:cNvSpPr/>
              <p:nvPr/>
            </p:nvSpPr>
            <p:spPr>
              <a:xfrm>
                <a:off x="3062" y="605"/>
                <a:ext cx="8" cy="6"/>
              </a:xfrm>
              <a:custGeom>
                <a:avLst/>
                <a:gdLst/>
                <a:ahLst/>
                <a:cxnLst/>
                <a:rect l="l" t="t" r="r" b="b"/>
                <a:pathLst>
                  <a:path w="70" h="63" extrusionOk="0">
                    <a:moveTo>
                      <a:pt x="47" y="0"/>
                    </a:moveTo>
                    <a:lnTo>
                      <a:pt x="0" y="40"/>
                    </a:lnTo>
                    <a:lnTo>
                      <a:pt x="23" y="63"/>
                    </a:lnTo>
                    <a:lnTo>
                      <a:pt x="70" y="40"/>
                    </a:lnTo>
                    <a:lnTo>
                      <a:pt x="47"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10" name="Google Shape;3010;g805494e7d0_2_86"/>
              <p:cNvSpPr/>
              <p:nvPr/>
            </p:nvSpPr>
            <p:spPr>
              <a:xfrm>
                <a:off x="3129" y="684"/>
                <a:ext cx="37" cy="20"/>
              </a:xfrm>
              <a:custGeom>
                <a:avLst/>
                <a:gdLst/>
                <a:ahLst/>
                <a:cxnLst/>
                <a:rect l="l" t="t" r="r" b="b"/>
                <a:pathLst>
                  <a:path w="337" h="216" extrusionOk="0">
                    <a:moveTo>
                      <a:pt x="337" y="24"/>
                    </a:moveTo>
                    <a:lnTo>
                      <a:pt x="314" y="64"/>
                    </a:lnTo>
                    <a:lnTo>
                      <a:pt x="268" y="111"/>
                    </a:lnTo>
                    <a:lnTo>
                      <a:pt x="314" y="157"/>
                    </a:lnTo>
                    <a:lnTo>
                      <a:pt x="268" y="204"/>
                    </a:lnTo>
                    <a:lnTo>
                      <a:pt x="221" y="204"/>
                    </a:lnTo>
                    <a:lnTo>
                      <a:pt x="111" y="204"/>
                    </a:lnTo>
                    <a:lnTo>
                      <a:pt x="42" y="216"/>
                    </a:lnTo>
                    <a:lnTo>
                      <a:pt x="18" y="181"/>
                    </a:lnTo>
                    <a:lnTo>
                      <a:pt x="35" y="157"/>
                    </a:lnTo>
                    <a:lnTo>
                      <a:pt x="0" y="99"/>
                    </a:lnTo>
                    <a:lnTo>
                      <a:pt x="18" y="87"/>
                    </a:lnTo>
                    <a:lnTo>
                      <a:pt x="24" y="35"/>
                    </a:lnTo>
                    <a:lnTo>
                      <a:pt x="42" y="24"/>
                    </a:lnTo>
                    <a:lnTo>
                      <a:pt x="129" y="64"/>
                    </a:lnTo>
                    <a:lnTo>
                      <a:pt x="221" y="0"/>
                    </a:lnTo>
                    <a:lnTo>
                      <a:pt x="268" y="47"/>
                    </a:lnTo>
                    <a:lnTo>
                      <a:pt x="337" y="24"/>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11" name="Google Shape;3011;g805494e7d0_2_86"/>
              <p:cNvSpPr/>
              <p:nvPr/>
            </p:nvSpPr>
            <p:spPr>
              <a:xfrm>
                <a:off x="3151" y="700"/>
                <a:ext cx="16" cy="13"/>
              </a:xfrm>
              <a:custGeom>
                <a:avLst/>
                <a:gdLst/>
                <a:ahLst/>
                <a:cxnLst/>
                <a:rect l="l" t="t" r="r" b="b"/>
                <a:pathLst>
                  <a:path w="139" h="145" extrusionOk="0">
                    <a:moveTo>
                      <a:pt x="110" y="0"/>
                    </a:moveTo>
                    <a:lnTo>
                      <a:pt x="35" y="64"/>
                    </a:lnTo>
                    <a:lnTo>
                      <a:pt x="0" y="104"/>
                    </a:lnTo>
                    <a:lnTo>
                      <a:pt x="52" y="145"/>
                    </a:lnTo>
                    <a:lnTo>
                      <a:pt x="93" y="104"/>
                    </a:lnTo>
                    <a:lnTo>
                      <a:pt x="139" y="64"/>
                    </a:lnTo>
                    <a:lnTo>
                      <a:pt x="127" y="5"/>
                    </a:lnTo>
                    <a:lnTo>
                      <a:pt x="110"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12" name="Google Shape;3012;g805494e7d0_2_86"/>
              <p:cNvSpPr/>
              <p:nvPr/>
            </p:nvSpPr>
            <p:spPr>
              <a:xfrm>
                <a:off x="3121" y="703"/>
                <a:ext cx="34" cy="33"/>
              </a:xfrm>
              <a:custGeom>
                <a:avLst/>
                <a:gdLst/>
                <a:ahLst/>
                <a:cxnLst/>
                <a:rect l="l" t="t" r="r" b="b"/>
                <a:pathLst>
                  <a:path w="314" h="360" extrusionOk="0">
                    <a:moveTo>
                      <a:pt x="274" y="69"/>
                    </a:moveTo>
                    <a:lnTo>
                      <a:pt x="245" y="69"/>
                    </a:lnTo>
                    <a:lnTo>
                      <a:pt x="199" y="92"/>
                    </a:lnTo>
                    <a:lnTo>
                      <a:pt x="157" y="69"/>
                    </a:lnTo>
                    <a:lnTo>
                      <a:pt x="157" y="116"/>
                    </a:lnTo>
                    <a:lnTo>
                      <a:pt x="112" y="92"/>
                    </a:lnTo>
                    <a:lnTo>
                      <a:pt x="77" y="87"/>
                    </a:lnTo>
                    <a:lnTo>
                      <a:pt x="157" y="156"/>
                    </a:lnTo>
                    <a:lnTo>
                      <a:pt x="88" y="134"/>
                    </a:lnTo>
                    <a:lnTo>
                      <a:pt x="88" y="179"/>
                    </a:lnTo>
                    <a:lnTo>
                      <a:pt x="134" y="226"/>
                    </a:lnTo>
                    <a:lnTo>
                      <a:pt x="157" y="273"/>
                    </a:lnTo>
                    <a:lnTo>
                      <a:pt x="122" y="256"/>
                    </a:lnTo>
                    <a:lnTo>
                      <a:pt x="181" y="319"/>
                    </a:lnTo>
                    <a:lnTo>
                      <a:pt x="134" y="291"/>
                    </a:lnTo>
                    <a:lnTo>
                      <a:pt x="100" y="279"/>
                    </a:lnTo>
                    <a:lnTo>
                      <a:pt x="152" y="331"/>
                    </a:lnTo>
                    <a:lnTo>
                      <a:pt x="157" y="360"/>
                    </a:lnTo>
                    <a:lnTo>
                      <a:pt x="88" y="354"/>
                    </a:lnTo>
                    <a:lnTo>
                      <a:pt x="42" y="336"/>
                    </a:lnTo>
                    <a:lnTo>
                      <a:pt x="24" y="249"/>
                    </a:lnTo>
                    <a:lnTo>
                      <a:pt x="12" y="209"/>
                    </a:lnTo>
                    <a:lnTo>
                      <a:pt x="100" y="267"/>
                    </a:lnTo>
                    <a:lnTo>
                      <a:pt x="42" y="191"/>
                    </a:lnTo>
                    <a:lnTo>
                      <a:pt x="12" y="156"/>
                    </a:lnTo>
                    <a:lnTo>
                      <a:pt x="0" y="87"/>
                    </a:lnTo>
                    <a:lnTo>
                      <a:pt x="42" y="69"/>
                    </a:lnTo>
                    <a:lnTo>
                      <a:pt x="88" y="22"/>
                    </a:lnTo>
                    <a:lnTo>
                      <a:pt x="157" y="0"/>
                    </a:lnTo>
                    <a:lnTo>
                      <a:pt x="274" y="0"/>
                    </a:lnTo>
                    <a:lnTo>
                      <a:pt x="314" y="0"/>
                    </a:lnTo>
                    <a:lnTo>
                      <a:pt x="314" y="22"/>
                    </a:lnTo>
                    <a:lnTo>
                      <a:pt x="274" y="69"/>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13" name="Google Shape;3013;g805494e7d0_2_86"/>
              <p:cNvSpPr/>
              <p:nvPr/>
            </p:nvSpPr>
            <p:spPr>
              <a:xfrm>
                <a:off x="3141" y="725"/>
                <a:ext cx="10" cy="9"/>
              </a:xfrm>
              <a:custGeom>
                <a:avLst/>
                <a:gdLst/>
                <a:ahLst/>
                <a:cxnLst/>
                <a:rect l="l" t="t" r="r" b="b"/>
                <a:pathLst>
                  <a:path w="93" h="110" extrusionOk="0">
                    <a:moveTo>
                      <a:pt x="0" y="0"/>
                    </a:moveTo>
                    <a:lnTo>
                      <a:pt x="46" y="47"/>
                    </a:lnTo>
                    <a:lnTo>
                      <a:pt x="93" y="110"/>
                    </a:lnTo>
                    <a:lnTo>
                      <a:pt x="64" y="65"/>
                    </a:lnTo>
                    <a:lnTo>
                      <a:pt x="18" y="23"/>
                    </a:lnTo>
                    <a:lnTo>
                      <a:pt x="0"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14" name="Google Shape;3014;g805494e7d0_2_86"/>
              <p:cNvSpPr/>
              <p:nvPr/>
            </p:nvSpPr>
            <p:spPr>
              <a:xfrm>
                <a:off x="3136" y="747"/>
                <a:ext cx="15" cy="4"/>
              </a:xfrm>
              <a:custGeom>
                <a:avLst/>
                <a:gdLst/>
                <a:ahLst/>
                <a:cxnLst/>
                <a:rect l="l" t="t" r="r" b="b"/>
                <a:pathLst>
                  <a:path w="140" h="47" extrusionOk="0">
                    <a:moveTo>
                      <a:pt x="0" y="23"/>
                    </a:moveTo>
                    <a:lnTo>
                      <a:pt x="23" y="47"/>
                    </a:lnTo>
                    <a:lnTo>
                      <a:pt x="65" y="47"/>
                    </a:lnTo>
                    <a:lnTo>
                      <a:pt x="140" y="23"/>
                    </a:lnTo>
                    <a:lnTo>
                      <a:pt x="93" y="23"/>
                    </a:lnTo>
                    <a:lnTo>
                      <a:pt x="0" y="0"/>
                    </a:lnTo>
                    <a:lnTo>
                      <a:pt x="0" y="23"/>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15" name="Google Shape;3015;g805494e7d0_2_86"/>
              <p:cNvSpPr/>
              <p:nvPr/>
            </p:nvSpPr>
            <p:spPr>
              <a:xfrm>
                <a:off x="3160" y="743"/>
                <a:ext cx="0" cy="0"/>
              </a:xfrm>
              <a:prstGeom prst="rect">
                <a:avLst/>
              </a:prstGeom>
              <a:solidFill>
                <a:srgbClr val="00B0F0"/>
              </a:solidFill>
              <a:ln w="9525" cap="flat" cmpd="sng">
                <a:solidFill>
                  <a:srgbClr val="FFFFFF"/>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rgbClr val="000000"/>
                  </a:solidFill>
                  <a:latin typeface="Arial"/>
                  <a:ea typeface="Arial"/>
                  <a:cs typeface="Arial"/>
                  <a:sym typeface="Arial"/>
                </a:endParaRPr>
              </a:p>
            </p:txBody>
          </p:sp>
          <p:sp>
            <p:nvSpPr>
              <p:cNvPr id="3016" name="Google Shape;3016;g805494e7d0_2_86"/>
              <p:cNvSpPr/>
              <p:nvPr/>
            </p:nvSpPr>
            <p:spPr>
              <a:xfrm>
                <a:off x="3070" y="670"/>
                <a:ext cx="63" cy="38"/>
              </a:xfrm>
              <a:custGeom>
                <a:avLst/>
                <a:gdLst/>
                <a:ahLst/>
                <a:cxnLst/>
                <a:rect l="l" t="t" r="r" b="b"/>
                <a:pathLst>
                  <a:path w="588" h="406" extrusionOk="0">
                    <a:moveTo>
                      <a:pt x="23" y="23"/>
                    </a:moveTo>
                    <a:lnTo>
                      <a:pt x="0" y="63"/>
                    </a:lnTo>
                    <a:lnTo>
                      <a:pt x="47" y="86"/>
                    </a:lnTo>
                    <a:lnTo>
                      <a:pt x="180" y="110"/>
                    </a:lnTo>
                    <a:lnTo>
                      <a:pt x="180" y="133"/>
                    </a:lnTo>
                    <a:lnTo>
                      <a:pt x="157" y="133"/>
                    </a:lnTo>
                    <a:lnTo>
                      <a:pt x="204" y="203"/>
                    </a:lnTo>
                    <a:lnTo>
                      <a:pt x="274" y="250"/>
                    </a:lnTo>
                    <a:lnTo>
                      <a:pt x="366" y="267"/>
                    </a:lnTo>
                    <a:lnTo>
                      <a:pt x="389" y="313"/>
                    </a:lnTo>
                    <a:lnTo>
                      <a:pt x="431" y="313"/>
                    </a:lnTo>
                    <a:lnTo>
                      <a:pt x="476" y="337"/>
                    </a:lnTo>
                    <a:lnTo>
                      <a:pt x="518" y="382"/>
                    </a:lnTo>
                    <a:lnTo>
                      <a:pt x="541" y="406"/>
                    </a:lnTo>
                    <a:lnTo>
                      <a:pt x="588" y="382"/>
                    </a:lnTo>
                    <a:lnTo>
                      <a:pt x="564" y="337"/>
                    </a:lnTo>
                    <a:lnTo>
                      <a:pt x="588" y="313"/>
                    </a:lnTo>
                    <a:lnTo>
                      <a:pt x="541" y="250"/>
                    </a:lnTo>
                    <a:lnTo>
                      <a:pt x="570" y="243"/>
                    </a:lnTo>
                    <a:lnTo>
                      <a:pt x="570" y="203"/>
                    </a:lnTo>
                    <a:lnTo>
                      <a:pt x="581" y="173"/>
                    </a:lnTo>
                    <a:lnTo>
                      <a:pt x="570" y="156"/>
                    </a:lnTo>
                    <a:lnTo>
                      <a:pt x="500" y="133"/>
                    </a:lnTo>
                    <a:lnTo>
                      <a:pt x="453" y="86"/>
                    </a:lnTo>
                    <a:lnTo>
                      <a:pt x="453" y="63"/>
                    </a:lnTo>
                    <a:lnTo>
                      <a:pt x="366" y="86"/>
                    </a:lnTo>
                    <a:lnTo>
                      <a:pt x="319" y="110"/>
                    </a:lnTo>
                    <a:lnTo>
                      <a:pt x="274" y="46"/>
                    </a:lnTo>
                    <a:lnTo>
                      <a:pt x="180" y="0"/>
                    </a:lnTo>
                    <a:lnTo>
                      <a:pt x="140" y="23"/>
                    </a:lnTo>
                    <a:lnTo>
                      <a:pt x="110" y="23"/>
                    </a:lnTo>
                    <a:lnTo>
                      <a:pt x="70" y="23"/>
                    </a:lnTo>
                    <a:lnTo>
                      <a:pt x="23" y="23"/>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17" name="Google Shape;3017;g805494e7d0_2_86"/>
              <p:cNvSpPr/>
              <p:nvPr/>
            </p:nvSpPr>
            <p:spPr>
              <a:xfrm>
                <a:off x="3055" y="653"/>
                <a:ext cx="46" cy="19"/>
              </a:xfrm>
              <a:custGeom>
                <a:avLst/>
                <a:gdLst/>
                <a:ahLst/>
                <a:cxnLst/>
                <a:rect l="l" t="t" r="r" b="b"/>
                <a:pathLst>
                  <a:path w="425" h="204" extrusionOk="0">
                    <a:moveTo>
                      <a:pt x="0" y="134"/>
                    </a:moveTo>
                    <a:lnTo>
                      <a:pt x="6" y="157"/>
                    </a:lnTo>
                    <a:lnTo>
                      <a:pt x="70" y="181"/>
                    </a:lnTo>
                    <a:lnTo>
                      <a:pt x="100" y="134"/>
                    </a:lnTo>
                    <a:lnTo>
                      <a:pt x="187" y="152"/>
                    </a:lnTo>
                    <a:lnTo>
                      <a:pt x="187" y="181"/>
                    </a:lnTo>
                    <a:lnTo>
                      <a:pt x="163" y="204"/>
                    </a:lnTo>
                    <a:lnTo>
                      <a:pt x="285" y="198"/>
                    </a:lnTo>
                    <a:lnTo>
                      <a:pt x="320" y="181"/>
                    </a:lnTo>
                    <a:lnTo>
                      <a:pt x="344" y="181"/>
                    </a:lnTo>
                    <a:lnTo>
                      <a:pt x="367" y="134"/>
                    </a:lnTo>
                    <a:lnTo>
                      <a:pt x="425" y="94"/>
                    </a:lnTo>
                    <a:lnTo>
                      <a:pt x="407" y="47"/>
                    </a:lnTo>
                    <a:lnTo>
                      <a:pt x="390" y="24"/>
                    </a:lnTo>
                    <a:lnTo>
                      <a:pt x="372" y="24"/>
                    </a:lnTo>
                    <a:lnTo>
                      <a:pt x="320" y="0"/>
                    </a:lnTo>
                    <a:lnTo>
                      <a:pt x="280" y="12"/>
                    </a:lnTo>
                    <a:lnTo>
                      <a:pt x="210" y="24"/>
                    </a:lnTo>
                    <a:lnTo>
                      <a:pt x="163" y="42"/>
                    </a:lnTo>
                    <a:lnTo>
                      <a:pt x="163" y="87"/>
                    </a:lnTo>
                    <a:lnTo>
                      <a:pt x="140" y="87"/>
                    </a:lnTo>
                    <a:lnTo>
                      <a:pt x="53" y="87"/>
                    </a:lnTo>
                    <a:lnTo>
                      <a:pt x="12" y="99"/>
                    </a:lnTo>
                    <a:lnTo>
                      <a:pt x="0" y="134"/>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18" name="Google Shape;3018;g805494e7d0_2_86"/>
              <p:cNvSpPr/>
              <p:nvPr/>
            </p:nvSpPr>
            <p:spPr>
              <a:xfrm>
                <a:off x="3090" y="659"/>
                <a:ext cx="41" cy="21"/>
              </a:xfrm>
              <a:custGeom>
                <a:avLst/>
                <a:gdLst/>
                <a:ahLst/>
                <a:cxnLst/>
                <a:rect l="l" t="t" r="r" b="b"/>
                <a:pathLst>
                  <a:path w="372" h="227" extrusionOk="0">
                    <a:moveTo>
                      <a:pt x="104" y="23"/>
                    </a:moveTo>
                    <a:lnTo>
                      <a:pt x="35" y="70"/>
                    </a:lnTo>
                    <a:lnTo>
                      <a:pt x="0" y="123"/>
                    </a:lnTo>
                    <a:lnTo>
                      <a:pt x="70" y="157"/>
                    </a:lnTo>
                    <a:lnTo>
                      <a:pt x="104" y="203"/>
                    </a:lnTo>
                    <a:lnTo>
                      <a:pt x="116" y="227"/>
                    </a:lnTo>
                    <a:lnTo>
                      <a:pt x="174" y="203"/>
                    </a:lnTo>
                    <a:lnTo>
                      <a:pt x="204" y="198"/>
                    </a:lnTo>
                    <a:lnTo>
                      <a:pt x="239" y="180"/>
                    </a:lnTo>
                    <a:lnTo>
                      <a:pt x="261" y="163"/>
                    </a:lnTo>
                    <a:lnTo>
                      <a:pt x="308" y="117"/>
                    </a:lnTo>
                    <a:lnTo>
                      <a:pt x="349" y="65"/>
                    </a:lnTo>
                    <a:lnTo>
                      <a:pt x="372" y="0"/>
                    </a:lnTo>
                    <a:lnTo>
                      <a:pt x="261" y="6"/>
                    </a:lnTo>
                    <a:lnTo>
                      <a:pt x="197" y="23"/>
                    </a:lnTo>
                    <a:lnTo>
                      <a:pt x="104" y="23"/>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19" name="Google Shape;3019;g805494e7d0_2_86"/>
              <p:cNvSpPr/>
              <p:nvPr/>
            </p:nvSpPr>
            <p:spPr>
              <a:xfrm>
                <a:off x="3050" y="662"/>
                <a:ext cx="6" cy="4"/>
              </a:xfrm>
              <a:custGeom>
                <a:avLst/>
                <a:gdLst/>
                <a:ahLst/>
                <a:cxnLst/>
                <a:rect l="l" t="t" r="r" b="b"/>
                <a:pathLst>
                  <a:path w="52" h="41" extrusionOk="0">
                    <a:moveTo>
                      <a:pt x="52" y="0"/>
                    </a:moveTo>
                    <a:lnTo>
                      <a:pt x="0" y="0"/>
                    </a:lnTo>
                    <a:lnTo>
                      <a:pt x="6" y="35"/>
                    </a:lnTo>
                    <a:lnTo>
                      <a:pt x="35" y="41"/>
                    </a:lnTo>
                    <a:lnTo>
                      <a:pt x="52"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20" name="Google Shape;3020;g805494e7d0_2_86"/>
              <p:cNvSpPr/>
              <p:nvPr/>
            </p:nvSpPr>
            <p:spPr>
              <a:xfrm>
                <a:off x="3030" y="660"/>
                <a:ext cx="21" cy="15"/>
              </a:xfrm>
              <a:custGeom>
                <a:avLst/>
                <a:gdLst/>
                <a:ahLst/>
                <a:cxnLst/>
                <a:rect l="l" t="t" r="r" b="b"/>
                <a:pathLst>
                  <a:path w="192" h="162" extrusionOk="0">
                    <a:moveTo>
                      <a:pt x="181" y="23"/>
                    </a:moveTo>
                    <a:lnTo>
                      <a:pt x="99" y="0"/>
                    </a:lnTo>
                    <a:lnTo>
                      <a:pt x="47" y="29"/>
                    </a:lnTo>
                    <a:lnTo>
                      <a:pt x="0" y="75"/>
                    </a:lnTo>
                    <a:lnTo>
                      <a:pt x="24" y="145"/>
                    </a:lnTo>
                    <a:lnTo>
                      <a:pt x="70" y="162"/>
                    </a:lnTo>
                    <a:lnTo>
                      <a:pt x="117" y="145"/>
                    </a:lnTo>
                    <a:lnTo>
                      <a:pt x="122" y="99"/>
                    </a:lnTo>
                    <a:lnTo>
                      <a:pt x="140" y="99"/>
                    </a:lnTo>
                    <a:lnTo>
                      <a:pt x="164" y="87"/>
                    </a:lnTo>
                    <a:lnTo>
                      <a:pt x="181" y="75"/>
                    </a:lnTo>
                    <a:lnTo>
                      <a:pt x="192" y="52"/>
                    </a:lnTo>
                    <a:lnTo>
                      <a:pt x="181" y="23"/>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21" name="Google Shape;3021;g805494e7d0_2_86"/>
              <p:cNvSpPr/>
              <p:nvPr/>
            </p:nvSpPr>
            <p:spPr>
              <a:xfrm>
                <a:off x="3028" y="666"/>
                <a:ext cx="75" cy="61"/>
              </a:xfrm>
              <a:custGeom>
                <a:avLst/>
                <a:gdLst/>
                <a:ahLst/>
                <a:cxnLst/>
                <a:rect l="l" t="t" r="r" b="b"/>
                <a:pathLst>
                  <a:path w="680" h="656" extrusionOk="0">
                    <a:moveTo>
                      <a:pt x="53" y="93"/>
                    </a:moveTo>
                    <a:lnTo>
                      <a:pt x="41" y="128"/>
                    </a:lnTo>
                    <a:lnTo>
                      <a:pt x="18" y="140"/>
                    </a:lnTo>
                    <a:lnTo>
                      <a:pt x="6" y="175"/>
                    </a:lnTo>
                    <a:lnTo>
                      <a:pt x="0" y="203"/>
                    </a:lnTo>
                    <a:lnTo>
                      <a:pt x="0" y="255"/>
                    </a:lnTo>
                    <a:lnTo>
                      <a:pt x="30" y="238"/>
                    </a:lnTo>
                    <a:lnTo>
                      <a:pt x="65" y="220"/>
                    </a:lnTo>
                    <a:lnTo>
                      <a:pt x="122" y="203"/>
                    </a:lnTo>
                    <a:lnTo>
                      <a:pt x="180" y="180"/>
                    </a:lnTo>
                    <a:lnTo>
                      <a:pt x="274" y="203"/>
                    </a:lnTo>
                    <a:lnTo>
                      <a:pt x="297" y="250"/>
                    </a:lnTo>
                    <a:lnTo>
                      <a:pt x="297" y="290"/>
                    </a:lnTo>
                    <a:lnTo>
                      <a:pt x="431" y="429"/>
                    </a:lnTo>
                    <a:lnTo>
                      <a:pt x="494" y="441"/>
                    </a:lnTo>
                    <a:lnTo>
                      <a:pt x="564" y="499"/>
                    </a:lnTo>
                    <a:lnTo>
                      <a:pt x="588" y="563"/>
                    </a:lnTo>
                    <a:lnTo>
                      <a:pt x="558" y="610"/>
                    </a:lnTo>
                    <a:lnTo>
                      <a:pt x="564" y="656"/>
                    </a:lnTo>
                    <a:lnTo>
                      <a:pt x="628" y="575"/>
                    </a:lnTo>
                    <a:lnTo>
                      <a:pt x="605" y="511"/>
                    </a:lnTo>
                    <a:lnTo>
                      <a:pt x="611" y="453"/>
                    </a:lnTo>
                    <a:lnTo>
                      <a:pt x="651" y="499"/>
                    </a:lnTo>
                    <a:lnTo>
                      <a:pt x="680" y="523"/>
                    </a:lnTo>
                    <a:lnTo>
                      <a:pt x="680" y="476"/>
                    </a:lnTo>
                    <a:lnTo>
                      <a:pt x="611" y="407"/>
                    </a:lnTo>
                    <a:lnTo>
                      <a:pt x="588" y="407"/>
                    </a:lnTo>
                    <a:lnTo>
                      <a:pt x="564" y="360"/>
                    </a:lnTo>
                    <a:lnTo>
                      <a:pt x="524" y="342"/>
                    </a:lnTo>
                    <a:lnTo>
                      <a:pt x="477" y="314"/>
                    </a:lnTo>
                    <a:lnTo>
                      <a:pt x="424" y="279"/>
                    </a:lnTo>
                    <a:lnTo>
                      <a:pt x="384" y="227"/>
                    </a:lnTo>
                    <a:lnTo>
                      <a:pt x="361" y="180"/>
                    </a:lnTo>
                    <a:lnTo>
                      <a:pt x="361" y="157"/>
                    </a:lnTo>
                    <a:lnTo>
                      <a:pt x="361" y="110"/>
                    </a:lnTo>
                    <a:lnTo>
                      <a:pt x="384" y="110"/>
                    </a:lnTo>
                    <a:lnTo>
                      <a:pt x="407" y="70"/>
                    </a:lnTo>
                    <a:lnTo>
                      <a:pt x="431" y="47"/>
                    </a:lnTo>
                    <a:lnTo>
                      <a:pt x="431" y="23"/>
                    </a:lnTo>
                    <a:lnTo>
                      <a:pt x="337" y="0"/>
                    </a:lnTo>
                    <a:lnTo>
                      <a:pt x="314" y="47"/>
                    </a:lnTo>
                    <a:lnTo>
                      <a:pt x="250" y="23"/>
                    </a:lnTo>
                    <a:lnTo>
                      <a:pt x="227" y="0"/>
                    </a:lnTo>
                    <a:lnTo>
                      <a:pt x="180" y="41"/>
                    </a:lnTo>
                    <a:lnTo>
                      <a:pt x="140" y="47"/>
                    </a:lnTo>
                    <a:lnTo>
                      <a:pt x="134" y="87"/>
                    </a:lnTo>
                    <a:lnTo>
                      <a:pt x="100" y="110"/>
                    </a:lnTo>
                    <a:lnTo>
                      <a:pt x="70" y="110"/>
                    </a:lnTo>
                    <a:lnTo>
                      <a:pt x="53" y="93"/>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22" name="Google Shape;3022;g805494e7d0_2_86"/>
              <p:cNvSpPr/>
              <p:nvPr/>
            </p:nvSpPr>
            <p:spPr>
              <a:xfrm>
                <a:off x="3067" y="725"/>
                <a:ext cx="18" cy="9"/>
              </a:xfrm>
              <a:custGeom>
                <a:avLst/>
                <a:gdLst/>
                <a:ahLst/>
                <a:cxnLst/>
                <a:rect l="l" t="t" r="r" b="b"/>
                <a:pathLst>
                  <a:path w="163" h="105" extrusionOk="0">
                    <a:moveTo>
                      <a:pt x="163" y="23"/>
                    </a:moveTo>
                    <a:lnTo>
                      <a:pt x="133" y="47"/>
                    </a:lnTo>
                    <a:lnTo>
                      <a:pt x="145" y="105"/>
                    </a:lnTo>
                    <a:lnTo>
                      <a:pt x="70" y="93"/>
                    </a:lnTo>
                    <a:lnTo>
                      <a:pt x="0" y="93"/>
                    </a:lnTo>
                    <a:lnTo>
                      <a:pt x="0" y="65"/>
                    </a:lnTo>
                    <a:lnTo>
                      <a:pt x="23" y="23"/>
                    </a:lnTo>
                    <a:lnTo>
                      <a:pt x="70" y="23"/>
                    </a:lnTo>
                    <a:lnTo>
                      <a:pt x="116" y="0"/>
                    </a:lnTo>
                    <a:lnTo>
                      <a:pt x="133" y="0"/>
                    </a:lnTo>
                    <a:lnTo>
                      <a:pt x="163" y="23"/>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23" name="Google Shape;3023;g805494e7d0_2_86"/>
              <p:cNvSpPr/>
              <p:nvPr/>
            </p:nvSpPr>
            <p:spPr>
              <a:xfrm>
                <a:off x="2969" y="637"/>
                <a:ext cx="72" cy="65"/>
              </a:xfrm>
              <a:custGeom>
                <a:avLst/>
                <a:gdLst/>
                <a:ahLst/>
                <a:cxnLst/>
                <a:rect l="l" t="t" r="r" b="b"/>
                <a:pathLst>
                  <a:path w="657" h="680" extrusionOk="0">
                    <a:moveTo>
                      <a:pt x="540" y="546"/>
                    </a:moveTo>
                    <a:lnTo>
                      <a:pt x="471" y="546"/>
                    </a:lnTo>
                    <a:lnTo>
                      <a:pt x="471" y="593"/>
                    </a:lnTo>
                    <a:lnTo>
                      <a:pt x="430" y="593"/>
                    </a:lnTo>
                    <a:lnTo>
                      <a:pt x="406" y="610"/>
                    </a:lnTo>
                    <a:lnTo>
                      <a:pt x="383" y="680"/>
                    </a:lnTo>
                    <a:lnTo>
                      <a:pt x="273" y="593"/>
                    </a:lnTo>
                    <a:lnTo>
                      <a:pt x="250" y="563"/>
                    </a:lnTo>
                    <a:lnTo>
                      <a:pt x="116" y="546"/>
                    </a:lnTo>
                    <a:lnTo>
                      <a:pt x="69" y="499"/>
                    </a:lnTo>
                    <a:lnTo>
                      <a:pt x="116" y="453"/>
                    </a:lnTo>
                    <a:lnTo>
                      <a:pt x="134" y="319"/>
                    </a:lnTo>
                    <a:lnTo>
                      <a:pt x="116" y="273"/>
                    </a:lnTo>
                    <a:lnTo>
                      <a:pt x="69" y="232"/>
                    </a:lnTo>
                    <a:lnTo>
                      <a:pt x="0" y="186"/>
                    </a:lnTo>
                    <a:lnTo>
                      <a:pt x="0" y="162"/>
                    </a:lnTo>
                    <a:lnTo>
                      <a:pt x="47" y="139"/>
                    </a:lnTo>
                    <a:lnTo>
                      <a:pt x="93" y="116"/>
                    </a:lnTo>
                    <a:lnTo>
                      <a:pt x="204" y="70"/>
                    </a:lnTo>
                    <a:lnTo>
                      <a:pt x="273" y="70"/>
                    </a:lnTo>
                    <a:lnTo>
                      <a:pt x="360" y="0"/>
                    </a:lnTo>
                    <a:lnTo>
                      <a:pt x="424" y="47"/>
                    </a:lnTo>
                    <a:lnTo>
                      <a:pt x="540" y="116"/>
                    </a:lnTo>
                    <a:lnTo>
                      <a:pt x="581" y="139"/>
                    </a:lnTo>
                    <a:lnTo>
                      <a:pt x="616" y="134"/>
                    </a:lnTo>
                    <a:lnTo>
                      <a:pt x="650" y="162"/>
                    </a:lnTo>
                    <a:lnTo>
                      <a:pt x="650" y="197"/>
                    </a:lnTo>
                    <a:lnTo>
                      <a:pt x="657" y="244"/>
                    </a:lnTo>
                    <a:lnTo>
                      <a:pt x="587" y="296"/>
                    </a:lnTo>
                    <a:lnTo>
                      <a:pt x="563" y="319"/>
                    </a:lnTo>
                    <a:lnTo>
                      <a:pt x="587" y="406"/>
                    </a:lnTo>
                    <a:lnTo>
                      <a:pt x="587" y="429"/>
                    </a:lnTo>
                    <a:lnTo>
                      <a:pt x="563" y="429"/>
                    </a:lnTo>
                    <a:lnTo>
                      <a:pt x="540" y="499"/>
                    </a:lnTo>
                    <a:lnTo>
                      <a:pt x="540" y="546"/>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24" name="Google Shape;3024;g805494e7d0_2_86"/>
              <p:cNvSpPr/>
              <p:nvPr/>
            </p:nvSpPr>
            <p:spPr>
              <a:xfrm>
                <a:off x="2940" y="681"/>
                <a:ext cx="71" cy="62"/>
              </a:xfrm>
              <a:custGeom>
                <a:avLst/>
                <a:gdLst/>
                <a:ahLst/>
                <a:cxnLst/>
                <a:rect l="l" t="t" r="r" b="b"/>
                <a:pathLst>
                  <a:path w="656" h="673" extrusionOk="0">
                    <a:moveTo>
                      <a:pt x="342" y="28"/>
                    </a:moveTo>
                    <a:lnTo>
                      <a:pt x="297" y="28"/>
                    </a:lnTo>
                    <a:lnTo>
                      <a:pt x="250" y="17"/>
                    </a:lnTo>
                    <a:lnTo>
                      <a:pt x="185" y="0"/>
                    </a:lnTo>
                    <a:lnTo>
                      <a:pt x="116" y="5"/>
                    </a:lnTo>
                    <a:lnTo>
                      <a:pt x="70" y="5"/>
                    </a:lnTo>
                    <a:lnTo>
                      <a:pt x="0" y="52"/>
                    </a:lnTo>
                    <a:lnTo>
                      <a:pt x="0" y="122"/>
                    </a:lnTo>
                    <a:lnTo>
                      <a:pt x="58" y="144"/>
                    </a:lnTo>
                    <a:lnTo>
                      <a:pt x="122" y="144"/>
                    </a:lnTo>
                    <a:lnTo>
                      <a:pt x="157" y="185"/>
                    </a:lnTo>
                    <a:lnTo>
                      <a:pt x="116" y="261"/>
                    </a:lnTo>
                    <a:lnTo>
                      <a:pt x="116" y="348"/>
                    </a:lnTo>
                    <a:lnTo>
                      <a:pt x="75" y="458"/>
                    </a:lnTo>
                    <a:lnTo>
                      <a:pt x="116" y="505"/>
                    </a:lnTo>
                    <a:lnTo>
                      <a:pt x="116" y="551"/>
                    </a:lnTo>
                    <a:lnTo>
                      <a:pt x="157" y="673"/>
                    </a:lnTo>
                    <a:lnTo>
                      <a:pt x="238" y="627"/>
                    </a:lnTo>
                    <a:lnTo>
                      <a:pt x="337" y="633"/>
                    </a:lnTo>
                    <a:lnTo>
                      <a:pt x="407" y="598"/>
                    </a:lnTo>
                    <a:lnTo>
                      <a:pt x="447" y="568"/>
                    </a:lnTo>
                    <a:lnTo>
                      <a:pt x="482" y="458"/>
                    </a:lnTo>
                    <a:lnTo>
                      <a:pt x="564" y="301"/>
                    </a:lnTo>
                    <a:lnTo>
                      <a:pt x="656" y="209"/>
                    </a:lnTo>
                    <a:lnTo>
                      <a:pt x="517" y="98"/>
                    </a:lnTo>
                    <a:lnTo>
                      <a:pt x="465" y="87"/>
                    </a:lnTo>
                    <a:lnTo>
                      <a:pt x="377" y="57"/>
                    </a:lnTo>
                    <a:lnTo>
                      <a:pt x="342" y="28"/>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25" name="Google Shape;3025;g805494e7d0_2_86"/>
              <p:cNvSpPr/>
              <p:nvPr/>
            </p:nvSpPr>
            <p:spPr>
              <a:xfrm>
                <a:off x="2936" y="693"/>
                <a:ext cx="21" cy="41"/>
              </a:xfrm>
              <a:custGeom>
                <a:avLst/>
                <a:gdLst/>
                <a:ahLst/>
                <a:cxnLst/>
                <a:rect l="l" t="t" r="r" b="b"/>
                <a:pathLst>
                  <a:path w="198" h="441" extrusionOk="0">
                    <a:moveTo>
                      <a:pt x="41" y="0"/>
                    </a:moveTo>
                    <a:lnTo>
                      <a:pt x="59" y="110"/>
                    </a:lnTo>
                    <a:lnTo>
                      <a:pt x="24" y="202"/>
                    </a:lnTo>
                    <a:lnTo>
                      <a:pt x="0" y="266"/>
                    </a:lnTo>
                    <a:lnTo>
                      <a:pt x="24" y="336"/>
                    </a:lnTo>
                    <a:lnTo>
                      <a:pt x="0" y="429"/>
                    </a:lnTo>
                    <a:lnTo>
                      <a:pt x="104" y="441"/>
                    </a:lnTo>
                    <a:lnTo>
                      <a:pt x="157" y="429"/>
                    </a:lnTo>
                    <a:lnTo>
                      <a:pt x="157" y="383"/>
                    </a:lnTo>
                    <a:lnTo>
                      <a:pt x="116" y="342"/>
                    </a:lnTo>
                    <a:lnTo>
                      <a:pt x="157" y="220"/>
                    </a:lnTo>
                    <a:lnTo>
                      <a:pt x="157" y="156"/>
                    </a:lnTo>
                    <a:lnTo>
                      <a:pt x="181" y="110"/>
                    </a:lnTo>
                    <a:lnTo>
                      <a:pt x="198" y="63"/>
                    </a:lnTo>
                    <a:lnTo>
                      <a:pt x="157" y="17"/>
                    </a:lnTo>
                    <a:lnTo>
                      <a:pt x="111" y="17"/>
                    </a:lnTo>
                    <a:lnTo>
                      <a:pt x="41"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26" name="Google Shape;3026;g805494e7d0_2_86"/>
              <p:cNvSpPr/>
              <p:nvPr/>
            </p:nvSpPr>
            <p:spPr>
              <a:xfrm>
                <a:off x="3001" y="712"/>
                <a:ext cx="5" cy="6"/>
              </a:xfrm>
              <a:custGeom>
                <a:avLst/>
                <a:gdLst/>
                <a:ahLst/>
                <a:cxnLst/>
                <a:rect l="l" t="t" r="r" b="b"/>
                <a:pathLst>
                  <a:path w="46" h="64" extrusionOk="0">
                    <a:moveTo>
                      <a:pt x="46" y="0"/>
                    </a:moveTo>
                    <a:lnTo>
                      <a:pt x="0" y="42"/>
                    </a:lnTo>
                    <a:lnTo>
                      <a:pt x="46" y="64"/>
                    </a:lnTo>
                    <a:lnTo>
                      <a:pt x="46" y="24"/>
                    </a:lnTo>
                    <a:lnTo>
                      <a:pt x="46"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27" name="Google Shape;3027;g805494e7d0_2_86"/>
              <p:cNvSpPr/>
              <p:nvPr/>
            </p:nvSpPr>
            <p:spPr>
              <a:xfrm>
                <a:off x="3040" y="695"/>
                <a:ext cx="10" cy="8"/>
              </a:xfrm>
              <a:custGeom>
                <a:avLst/>
                <a:gdLst/>
                <a:ahLst/>
                <a:cxnLst/>
                <a:rect l="l" t="t" r="r" b="b"/>
                <a:pathLst>
                  <a:path w="94" h="93" extrusionOk="0">
                    <a:moveTo>
                      <a:pt x="70" y="0"/>
                    </a:moveTo>
                    <a:lnTo>
                      <a:pt x="0" y="46"/>
                    </a:lnTo>
                    <a:lnTo>
                      <a:pt x="47" y="70"/>
                    </a:lnTo>
                    <a:lnTo>
                      <a:pt x="47" y="93"/>
                    </a:lnTo>
                    <a:lnTo>
                      <a:pt x="94" y="93"/>
                    </a:lnTo>
                    <a:lnTo>
                      <a:pt x="94" y="28"/>
                    </a:lnTo>
                    <a:lnTo>
                      <a:pt x="94" y="0"/>
                    </a:lnTo>
                    <a:lnTo>
                      <a:pt x="70"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28" name="Google Shape;3028;g805494e7d0_2_86"/>
              <p:cNvSpPr/>
              <p:nvPr/>
            </p:nvSpPr>
            <p:spPr>
              <a:xfrm>
                <a:off x="3035" y="705"/>
                <a:ext cx="15" cy="17"/>
              </a:xfrm>
              <a:custGeom>
                <a:avLst/>
                <a:gdLst/>
                <a:ahLst/>
                <a:cxnLst/>
                <a:rect l="l" t="t" r="r" b="b"/>
                <a:pathLst>
                  <a:path w="134" h="181" extrusionOk="0">
                    <a:moveTo>
                      <a:pt x="93" y="35"/>
                    </a:moveTo>
                    <a:lnTo>
                      <a:pt x="47" y="35"/>
                    </a:lnTo>
                    <a:lnTo>
                      <a:pt x="0" y="112"/>
                    </a:lnTo>
                    <a:lnTo>
                      <a:pt x="0" y="157"/>
                    </a:lnTo>
                    <a:lnTo>
                      <a:pt x="23" y="157"/>
                    </a:lnTo>
                    <a:lnTo>
                      <a:pt x="82" y="181"/>
                    </a:lnTo>
                    <a:lnTo>
                      <a:pt x="110" y="112"/>
                    </a:lnTo>
                    <a:lnTo>
                      <a:pt x="87" y="112"/>
                    </a:lnTo>
                    <a:lnTo>
                      <a:pt x="134" y="24"/>
                    </a:lnTo>
                    <a:lnTo>
                      <a:pt x="134" y="0"/>
                    </a:lnTo>
                    <a:lnTo>
                      <a:pt x="93" y="35"/>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29" name="Google Shape;3029;g805494e7d0_2_86"/>
              <p:cNvSpPr/>
              <p:nvPr/>
            </p:nvSpPr>
            <p:spPr>
              <a:xfrm>
                <a:off x="3028" y="645"/>
                <a:ext cx="7" cy="6"/>
              </a:xfrm>
              <a:custGeom>
                <a:avLst/>
                <a:gdLst/>
                <a:ahLst/>
                <a:cxnLst/>
                <a:rect l="l" t="t" r="r" b="b"/>
                <a:pathLst>
                  <a:path w="70" h="64" extrusionOk="0">
                    <a:moveTo>
                      <a:pt x="53" y="0"/>
                    </a:moveTo>
                    <a:lnTo>
                      <a:pt x="23" y="17"/>
                    </a:lnTo>
                    <a:lnTo>
                      <a:pt x="0" y="35"/>
                    </a:lnTo>
                    <a:lnTo>
                      <a:pt x="47" y="64"/>
                    </a:lnTo>
                    <a:lnTo>
                      <a:pt x="70" y="59"/>
                    </a:lnTo>
                    <a:lnTo>
                      <a:pt x="70" y="17"/>
                    </a:lnTo>
                    <a:lnTo>
                      <a:pt x="53"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30" name="Google Shape;3030;g805494e7d0_2_86"/>
              <p:cNvSpPr/>
              <p:nvPr/>
            </p:nvSpPr>
            <p:spPr>
              <a:xfrm>
                <a:off x="3033" y="613"/>
                <a:ext cx="52" cy="49"/>
              </a:xfrm>
              <a:custGeom>
                <a:avLst/>
                <a:gdLst/>
                <a:ahLst/>
                <a:cxnLst/>
                <a:rect l="l" t="t" r="r" b="b"/>
                <a:pathLst>
                  <a:path w="477" h="534" extrusionOk="0">
                    <a:moveTo>
                      <a:pt x="0" y="267"/>
                    </a:moveTo>
                    <a:lnTo>
                      <a:pt x="0" y="314"/>
                    </a:lnTo>
                    <a:lnTo>
                      <a:pt x="23" y="359"/>
                    </a:lnTo>
                    <a:lnTo>
                      <a:pt x="23" y="383"/>
                    </a:lnTo>
                    <a:lnTo>
                      <a:pt x="63" y="429"/>
                    </a:lnTo>
                    <a:lnTo>
                      <a:pt x="63" y="499"/>
                    </a:lnTo>
                    <a:lnTo>
                      <a:pt x="87" y="516"/>
                    </a:lnTo>
                    <a:lnTo>
                      <a:pt x="140" y="534"/>
                    </a:lnTo>
                    <a:lnTo>
                      <a:pt x="197" y="528"/>
                    </a:lnTo>
                    <a:lnTo>
                      <a:pt x="250" y="516"/>
                    </a:lnTo>
                    <a:lnTo>
                      <a:pt x="297" y="516"/>
                    </a:lnTo>
                    <a:lnTo>
                      <a:pt x="360" y="516"/>
                    </a:lnTo>
                    <a:lnTo>
                      <a:pt x="372" y="476"/>
                    </a:lnTo>
                    <a:lnTo>
                      <a:pt x="407" y="459"/>
                    </a:lnTo>
                    <a:lnTo>
                      <a:pt x="407" y="406"/>
                    </a:lnTo>
                    <a:lnTo>
                      <a:pt x="360" y="359"/>
                    </a:lnTo>
                    <a:lnTo>
                      <a:pt x="384" y="337"/>
                    </a:lnTo>
                    <a:lnTo>
                      <a:pt x="454" y="279"/>
                    </a:lnTo>
                    <a:lnTo>
                      <a:pt x="477" y="261"/>
                    </a:lnTo>
                    <a:lnTo>
                      <a:pt x="477" y="180"/>
                    </a:lnTo>
                    <a:lnTo>
                      <a:pt x="430" y="157"/>
                    </a:lnTo>
                    <a:lnTo>
                      <a:pt x="447" y="87"/>
                    </a:lnTo>
                    <a:lnTo>
                      <a:pt x="447" y="46"/>
                    </a:lnTo>
                    <a:lnTo>
                      <a:pt x="360" y="23"/>
                    </a:lnTo>
                    <a:lnTo>
                      <a:pt x="267" y="23"/>
                    </a:lnTo>
                    <a:lnTo>
                      <a:pt x="209" y="0"/>
                    </a:lnTo>
                    <a:lnTo>
                      <a:pt x="157" y="0"/>
                    </a:lnTo>
                    <a:lnTo>
                      <a:pt x="157" y="46"/>
                    </a:lnTo>
                    <a:lnTo>
                      <a:pt x="110" y="63"/>
                    </a:lnTo>
                    <a:lnTo>
                      <a:pt x="63" y="87"/>
                    </a:lnTo>
                    <a:lnTo>
                      <a:pt x="93" y="133"/>
                    </a:lnTo>
                    <a:lnTo>
                      <a:pt x="46" y="180"/>
                    </a:lnTo>
                    <a:lnTo>
                      <a:pt x="63" y="220"/>
                    </a:lnTo>
                    <a:lnTo>
                      <a:pt x="63" y="249"/>
                    </a:lnTo>
                    <a:lnTo>
                      <a:pt x="46" y="249"/>
                    </a:lnTo>
                    <a:lnTo>
                      <a:pt x="0" y="267"/>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31" name="Google Shape;3031;g805494e7d0_2_86"/>
              <p:cNvSpPr/>
              <p:nvPr/>
            </p:nvSpPr>
            <p:spPr>
              <a:xfrm>
                <a:off x="3008" y="634"/>
                <a:ext cx="25" cy="14"/>
              </a:xfrm>
              <a:custGeom>
                <a:avLst/>
                <a:gdLst/>
                <a:ahLst/>
                <a:cxnLst/>
                <a:rect l="l" t="t" r="r" b="b"/>
                <a:pathLst>
                  <a:path w="233" h="157" extrusionOk="0">
                    <a:moveTo>
                      <a:pt x="140" y="0"/>
                    </a:moveTo>
                    <a:lnTo>
                      <a:pt x="227" y="76"/>
                    </a:lnTo>
                    <a:lnTo>
                      <a:pt x="227" y="94"/>
                    </a:lnTo>
                    <a:lnTo>
                      <a:pt x="233" y="117"/>
                    </a:lnTo>
                    <a:lnTo>
                      <a:pt x="203" y="139"/>
                    </a:lnTo>
                    <a:lnTo>
                      <a:pt x="168" y="157"/>
                    </a:lnTo>
                    <a:lnTo>
                      <a:pt x="23" y="76"/>
                    </a:lnTo>
                    <a:lnTo>
                      <a:pt x="0" y="47"/>
                    </a:lnTo>
                    <a:lnTo>
                      <a:pt x="46" y="29"/>
                    </a:lnTo>
                    <a:lnTo>
                      <a:pt x="70" y="29"/>
                    </a:lnTo>
                    <a:lnTo>
                      <a:pt x="93" y="0"/>
                    </a:lnTo>
                    <a:lnTo>
                      <a:pt x="140"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32" name="Google Shape;3032;g805494e7d0_2_86"/>
              <p:cNvSpPr/>
              <p:nvPr/>
            </p:nvSpPr>
            <p:spPr>
              <a:xfrm>
                <a:off x="3021" y="620"/>
                <a:ext cx="22" cy="21"/>
              </a:xfrm>
              <a:custGeom>
                <a:avLst/>
                <a:gdLst/>
                <a:ahLst/>
                <a:cxnLst/>
                <a:rect l="l" t="t" r="r" b="b"/>
                <a:pathLst>
                  <a:path w="209" h="226" extrusionOk="0">
                    <a:moveTo>
                      <a:pt x="0" y="150"/>
                    </a:moveTo>
                    <a:lnTo>
                      <a:pt x="46" y="179"/>
                    </a:lnTo>
                    <a:lnTo>
                      <a:pt x="116" y="226"/>
                    </a:lnTo>
                    <a:lnTo>
                      <a:pt x="122" y="197"/>
                    </a:lnTo>
                    <a:lnTo>
                      <a:pt x="157" y="185"/>
                    </a:lnTo>
                    <a:lnTo>
                      <a:pt x="179" y="179"/>
                    </a:lnTo>
                    <a:lnTo>
                      <a:pt x="186" y="150"/>
                    </a:lnTo>
                    <a:lnTo>
                      <a:pt x="162" y="110"/>
                    </a:lnTo>
                    <a:lnTo>
                      <a:pt x="209" y="63"/>
                    </a:lnTo>
                    <a:lnTo>
                      <a:pt x="209" y="40"/>
                    </a:lnTo>
                    <a:lnTo>
                      <a:pt x="191" y="23"/>
                    </a:lnTo>
                    <a:lnTo>
                      <a:pt x="209" y="0"/>
                    </a:lnTo>
                    <a:lnTo>
                      <a:pt x="92" y="40"/>
                    </a:lnTo>
                    <a:lnTo>
                      <a:pt x="92" y="87"/>
                    </a:lnTo>
                    <a:lnTo>
                      <a:pt x="46" y="110"/>
                    </a:lnTo>
                    <a:lnTo>
                      <a:pt x="5" y="115"/>
                    </a:lnTo>
                    <a:lnTo>
                      <a:pt x="0" y="15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33" name="Google Shape;3033;g805494e7d0_2_86"/>
              <p:cNvSpPr/>
              <p:nvPr/>
            </p:nvSpPr>
            <p:spPr>
              <a:xfrm>
                <a:off x="3050" y="588"/>
                <a:ext cx="12" cy="26"/>
              </a:xfrm>
              <a:custGeom>
                <a:avLst/>
                <a:gdLst/>
                <a:ahLst/>
                <a:cxnLst/>
                <a:rect l="l" t="t" r="r" b="b"/>
                <a:pathLst>
                  <a:path w="110" h="279" extrusionOk="0">
                    <a:moveTo>
                      <a:pt x="0" y="274"/>
                    </a:moveTo>
                    <a:lnTo>
                      <a:pt x="0" y="204"/>
                    </a:lnTo>
                    <a:lnTo>
                      <a:pt x="23" y="117"/>
                    </a:lnTo>
                    <a:lnTo>
                      <a:pt x="0" y="70"/>
                    </a:lnTo>
                    <a:lnTo>
                      <a:pt x="46" y="0"/>
                    </a:lnTo>
                    <a:lnTo>
                      <a:pt x="93" y="70"/>
                    </a:lnTo>
                    <a:lnTo>
                      <a:pt x="110" y="117"/>
                    </a:lnTo>
                    <a:lnTo>
                      <a:pt x="70" y="187"/>
                    </a:lnTo>
                    <a:lnTo>
                      <a:pt x="70" y="250"/>
                    </a:lnTo>
                    <a:lnTo>
                      <a:pt x="93" y="279"/>
                    </a:lnTo>
                    <a:lnTo>
                      <a:pt x="40" y="274"/>
                    </a:lnTo>
                    <a:lnTo>
                      <a:pt x="0" y="274"/>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34" name="Google Shape;3034;g805494e7d0_2_86"/>
              <p:cNvSpPr/>
              <p:nvPr/>
            </p:nvSpPr>
            <p:spPr>
              <a:xfrm>
                <a:off x="3160" y="372"/>
                <a:ext cx="837" cy="377"/>
              </a:xfrm>
              <a:custGeom>
                <a:avLst/>
                <a:gdLst/>
                <a:ahLst/>
                <a:cxnLst/>
                <a:rect l="l" t="t" r="r" b="b"/>
                <a:pathLst>
                  <a:path w="7782" h="4078" extrusionOk="0">
                    <a:moveTo>
                      <a:pt x="146" y="1887"/>
                    </a:moveTo>
                    <a:lnTo>
                      <a:pt x="116" y="1981"/>
                    </a:lnTo>
                    <a:lnTo>
                      <a:pt x="29" y="2004"/>
                    </a:lnTo>
                    <a:lnTo>
                      <a:pt x="46" y="2044"/>
                    </a:lnTo>
                    <a:lnTo>
                      <a:pt x="87" y="2114"/>
                    </a:lnTo>
                    <a:lnTo>
                      <a:pt x="58" y="2138"/>
                    </a:lnTo>
                    <a:lnTo>
                      <a:pt x="41" y="2155"/>
                    </a:lnTo>
                    <a:lnTo>
                      <a:pt x="0" y="2183"/>
                    </a:lnTo>
                    <a:lnTo>
                      <a:pt x="46" y="2288"/>
                    </a:lnTo>
                    <a:lnTo>
                      <a:pt x="0" y="2410"/>
                    </a:lnTo>
                    <a:lnTo>
                      <a:pt x="34" y="2434"/>
                    </a:lnTo>
                    <a:lnTo>
                      <a:pt x="146" y="2486"/>
                    </a:lnTo>
                    <a:lnTo>
                      <a:pt x="215" y="2497"/>
                    </a:lnTo>
                    <a:lnTo>
                      <a:pt x="238" y="2544"/>
                    </a:lnTo>
                    <a:lnTo>
                      <a:pt x="285" y="2562"/>
                    </a:lnTo>
                    <a:lnTo>
                      <a:pt x="308" y="2631"/>
                    </a:lnTo>
                    <a:lnTo>
                      <a:pt x="273" y="2724"/>
                    </a:lnTo>
                    <a:lnTo>
                      <a:pt x="285" y="2771"/>
                    </a:lnTo>
                    <a:lnTo>
                      <a:pt x="407" y="2776"/>
                    </a:lnTo>
                    <a:lnTo>
                      <a:pt x="448" y="2840"/>
                    </a:lnTo>
                    <a:lnTo>
                      <a:pt x="494" y="2881"/>
                    </a:lnTo>
                    <a:lnTo>
                      <a:pt x="558" y="2881"/>
                    </a:lnTo>
                    <a:lnTo>
                      <a:pt x="605" y="2974"/>
                    </a:lnTo>
                    <a:lnTo>
                      <a:pt x="610" y="3027"/>
                    </a:lnTo>
                    <a:lnTo>
                      <a:pt x="622" y="3090"/>
                    </a:lnTo>
                    <a:lnTo>
                      <a:pt x="570" y="3107"/>
                    </a:lnTo>
                    <a:lnTo>
                      <a:pt x="587" y="3125"/>
                    </a:lnTo>
                    <a:lnTo>
                      <a:pt x="547" y="3149"/>
                    </a:lnTo>
                    <a:lnTo>
                      <a:pt x="622" y="3177"/>
                    </a:lnTo>
                    <a:lnTo>
                      <a:pt x="622" y="3224"/>
                    </a:lnTo>
                    <a:lnTo>
                      <a:pt x="605" y="3311"/>
                    </a:lnTo>
                    <a:lnTo>
                      <a:pt x="622" y="3381"/>
                    </a:lnTo>
                    <a:lnTo>
                      <a:pt x="692" y="3427"/>
                    </a:lnTo>
                    <a:lnTo>
                      <a:pt x="784" y="3473"/>
                    </a:lnTo>
                    <a:lnTo>
                      <a:pt x="831" y="3561"/>
                    </a:lnTo>
                    <a:lnTo>
                      <a:pt x="831" y="3583"/>
                    </a:lnTo>
                    <a:lnTo>
                      <a:pt x="918" y="3607"/>
                    </a:lnTo>
                    <a:lnTo>
                      <a:pt x="976" y="3729"/>
                    </a:lnTo>
                    <a:lnTo>
                      <a:pt x="1006" y="3752"/>
                    </a:lnTo>
                    <a:lnTo>
                      <a:pt x="1035" y="3752"/>
                    </a:lnTo>
                    <a:lnTo>
                      <a:pt x="1087" y="3845"/>
                    </a:lnTo>
                    <a:lnTo>
                      <a:pt x="1220" y="3787"/>
                    </a:lnTo>
                    <a:lnTo>
                      <a:pt x="1244" y="3810"/>
                    </a:lnTo>
                    <a:lnTo>
                      <a:pt x="1308" y="3700"/>
                    </a:lnTo>
                    <a:lnTo>
                      <a:pt x="1238" y="3653"/>
                    </a:lnTo>
                    <a:lnTo>
                      <a:pt x="1105" y="3404"/>
                    </a:lnTo>
                    <a:lnTo>
                      <a:pt x="1105" y="3381"/>
                    </a:lnTo>
                    <a:lnTo>
                      <a:pt x="1145" y="3247"/>
                    </a:lnTo>
                    <a:lnTo>
                      <a:pt x="1215" y="3247"/>
                    </a:lnTo>
                    <a:lnTo>
                      <a:pt x="1285" y="3247"/>
                    </a:lnTo>
                    <a:lnTo>
                      <a:pt x="1395" y="3177"/>
                    </a:lnTo>
                    <a:lnTo>
                      <a:pt x="1465" y="3247"/>
                    </a:lnTo>
                    <a:lnTo>
                      <a:pt x="1442" y="3311"/>
                    </a:lnTo>
                    <a:lnTo>
                      <a:pt x="1372" y="3311"/>
                    </a:lnTo>
                    <a:lnTo>
                      <a:pt x="1349" y="3381"/>
                    </a:lnTo>
                    <a:lnTo>
                      <a:pt x="1349" y="3473"/>
                    </a:lnTo>
                    <a:lnTo>
                      <a:pt x="1581" y="3630"/>
                    </a:lnTo>
                    <a:lnTo>
                      <a:pt x="1557" y="3677"/>
                    </a:lnTo>
                    <a:lnTo>
                      <a:pt x="1487" y="3677"/>
                    </a:lnTo>
                    <a:lnTo>
                      <a:pt x="1557" y="3787"/>
                    </a:lnTo>
                    <a:lnTo>
                      <a:pt x="1552" y="3904"/>
                    </a:lnTo>
                    <a:lnTo>
                      <a:pt x="1616" y="3874"/>
                    </a:lnTo>
                    <a:lnTo>
                      <a:pt x="1761" y="3880"/>
                    </a:lnTo>
                    <a:lnTo>
                      <a:pt x="1871" y="3904"/>
                    </a:lnTo>
                    <a:lnTo>
                      <a:pt x="1935" y="3962"/>
                    </a:lnTo>
                    <a:lnTo>
                      <a:pt x="1970" y="4043"/>
                    </a:lnTo>
                    <a:lnTo>
                      <a:pt x="2028" y="4078"/>
                    </a:lnTo>
                    <a:lnTo>
                      <a:pt x="2115" y="4031"/>
                    </a:lnTo>
                    <a:lnTo>
                      <a:pt x="2174" y="3974"/>
                    </a:lnTo>
                    <a:lnTo>
                      <a:pt x="2284" y="3904"/>
                    </a:lnTo>
                    <a:lnTo>
                      <a:pt x="2394" y="3927"/>
                    </a:lnTo>
                    <a:lnTo>
                      <a:pt x="2499" y="3880"/>
                    </a:lnTo>
                    <a:lnTo>
                      <a:pt x="2540" y="3921"/>
                    </a:lnTo>
                    <a:lnTo>
                      <a:pt x="2720" y="3880"/>
                    </a:lnTo>
                    <a:lnTo>
                      <a:pt x="2668" y="3764"/>
                    </a:lnTo>
                    <a:lnTo>
                      <a:pt x="2790" y="3677"/>
                    </a:lnTo>
                    <a:lnTo>
                      <a:pt x="2865" y="3677"/>
                    </a:lnTo>
                    <a:lnTo>
                      <a:pt x="3017" y="3508"/>
                    </a:lnTo>
                    <a:lnTo>
                      <a:pt x="2987" y="3357"/>
                    </a:lnTo>
                    <a:lnTo>
                      <a:pt x="3086" y="3329"/>
                    </a:lnTo>
                    <a:lnTo>
                      <a:pt x="3057" y="3264"/>
                    </a:lnTo>
                    <a:lnTo>
                      <a:pt x="3115" y="3184"/>
                    </a:lnTo>
                    <a:lnTo>
                      <a:pt x="3266" y="3114"/>
                    </a:lnTo>
                    <a:lnTo>
                      <a:pt x="3289" y="3015"/>
                    </a:lnTo>
                    <a:lnTo>
                      <a:pt x="3366" y="2968"/>
                    </a:lnTo>
                    <a:lnTo>
                      <a:pt x="3545" y="2852"/>
                    </a:lnTo>
                    <a:lnTo>
                      <a:pt x="3610" y="2846"/>
                    </a:lnTo>
                    <a:lnTo>
                      <a:pt x="3732" y="2922"/>
                    </a:lnTo>
                    <a:lnTo>
                      <a:pt x="3824" y="2893"/>
                    </a:lnTo>
                    <a:lnTo>
                      <a:pt x="3912" y="2748"/>
                    </a:lnTo>
                    <a:lnTo>
                      <a:pt x="3987" y="2741"/>
                    </a:lnTo>
                    <a:lnTo>
                      <a:pt x="4034" y="2806"/>
                    </a:lnTo>
                    <a:lnTo>
                      <a:pt x="4091" y="2881"/>
                    </a:lnTo>
                    <a:lnTo>
                      <a:pt x="4156" y="2875"/>
                    </a:lnTo>
                    <a:lnTo>
                      <a:pt x="4278" y="2823"/>
                    </a:lnTo>
                    <a:lnTo>
                      <a:pt x="4393" y="2905"/>
                    </a:lnTo>
                    <a:lnTo>
                      <a:pt x="4620" y="2881"/>
                    </a:lnTo>
                    <a:lnTo>
                      <a:pt x="4690" y="2794"/>
                    </a:lnTo>
                    <a:lnTo>
                      <a:pt x="4784" y="2840"/>
                    </a:lnTo>
                    <a:lnTo>
                      <a:pt x="4871" y="2840"/>
                    </a:lnTo>
                    <a:lnTo>
                      <a:pt x="4986" y="2765"/>
                    </a:lnTo>
                    <a:lnTo>
                      <a:pt x="4986" y="2631"/>
                    </a:lnTo>
                    <a:lnTo>
                      <a:pt x="5010" y="2562"/>
                    </a:lnTo>
                    <a:lnTo>
                      <a:pt x="4951" y="2544"/>
                    </a:lnTo>
                    <a:lnTo>
                      <a:pt x="5045" y="2497"/>
                    </a:lnTo>
                    <a:lnTo>
                      <a:pt x="5190" y="2457"/>
                    </a:lnTo>
                    <a:lnTo>
                      <a:pt x="5283" y="2515"/>
                    </a:lnTo>
                    <a:lnTo>
                      <a:pt x="5307" y="2654"/>
                    </a:lnTo>
                    <a:lnTo>
                      <a:pt x="5440" y="2811"/>
                    </a:lnTo>
                    <a:lnTo>
                      <a:pt x="5568" y="2818"/>
                    </a:lnTo>
                    <a:lnTo>
                      <a:pt x="5603" y="2846"/>
                    </a:lnTo>
                    <a:lnTo>
                      <a:pt x="5621" y="2905"/>
                    </a:lnTo>
                    <a:lnTo>
                      <a:pt x="5736" y="2945"/>
                    </a:lnTo>
                    <a:lnTo>
                      <a:pt x="5853" y="2881"/>
                    </a:lnTo>
                    <a:lnTo>
                      <a:pt x="5888" y="2985"/>
                    </a:lnTo>
                    <a:lnTo>
                      <a:pt x="5823" y="3172"/>
                    </a:lnTo>
                    <a:lnTo>
                      <a:pt x="5754" y="3154"/>
                    </a:lnTo>
                    <a:lnTo>
                      <a:pt x="5731" y="3247"/>
                    </a:lnTo>
                    <a:lnTo>
                      <a:pt x="5829" y="3334"/>
                    </a:lnTo>
                    <a:lnTo>
                      <a:pt x="5853" y="3404"/>
                    </a:lnTo>
                    <a:lnTo>
                      <a:pt x="5916" y="3357"/>
                    </a:lnTo>
                    <a:lnTo>
                      <a:pt x="6097" y="3107"/>
                    </a:lnTo>
                    <a:lnTo>
                      <a:pt x="6143" y="2474"/>
                    </a:lnTo>
                    <a:lnTo>
                      <a:pt x="6080" y="2451"/>
                    </a:lnTo>
                    <a:lnTo>
                      <a:pt x="6080" y="2312"/>
                    </a:lnTo>
                    <a:lnTo>
                      <a:pt x="5986" y="2271"/>
                    </a:lnTo>
                    <a:lnTo>
                      <a:pt x="5829" y="2340"/>
                    </a:lnTo>
                    <a:lnTo>
                      <a:pt x="5806" y="2225"/>
                    </a:lnTo>
                    <a:lnTo>
                      <a:pt x="5713" y="2201"/>
                    </a:lnTo>
                    <a:lnTo>
                      <a:pt x="5829" y="1929"/>
                    </a:lnTo>
                    <a:lnTo>
                      <a:pt x="5829" y="1749"/>
                    </a:lnTo>
                    <a:lnTo>
                      <a:pt x="5893" y="1679"/>
                    </a:lnTo>
                    <a:lnTo>
                      <a:pt x="6097" y="1632"/>
                    </a:lnTo>
                    <a:lnTo>
                      <a:pt x="6190" y="1562"/>
                    </a:lnTo>
                    <a:lnTo>
                      <a:pt x="6329" y="1545"/>
                    </a:lnTo>
                    <a:lnTo>
                      <a:pt x="6306" y="1632"/>
                    </a:lnTo>
                    <a:lnTo>
                      <a:pt x="6416" y="1592"/>
                    </a:lnTo>
                    <a:lnTo>
                      <a:pt x="6486" y="1516"/>
                    </a:lnTo>
                    <a:lnTo>
                      <a:pt x="6439" y="1475"/>
                    </a:lnTo>
                    <a:lnTo>
                      <a:pt x="6486" y="1249"/>
                    </a:lnTo>
                    <a:lnTo>
                      <a:pt x="6579" y="1202"/>
                    </a:lnTo>
                    <a:lnTo>
                      <a:pt x="6620" y="1266"/>
                    </a:lnTo>
                    <a:lnTo>
                      <a:pt x="6643" y="1266"/>
                    </a:lnTo>
                    <a:lnTo>
                      <a:pt x="6713" y="1062"/>
                    </a:lnTo>
                    <a:lnTo>
                      <a:pt x="6736" y="1062"/>
                    </a:lnTo>
                    <a:lnTo>
                      <a:pt x="6783" y="1226"/>
                    </a:lnTo>
                    <a:lnTo>
                      <a:pt x="6806" y="1266"/>
                    </a:lnTo>
                    <a:lnTo>
                      <a:pt x="6760" y="1383"/>
                    </a:lnTo>
                    <a:lnTo>
                      <a:pt x="6713" y="1609"/>
                    </a:lnTo>
                    <a:lnTo>
                      <a:pt x="6666" y="1725"/>
                    </a:lnTo>
                    <a:lnTo>
                      <a:pt x="6666" y="1929"/>
                    </a:lnTo>
                    <a:lnTo>
                      <a:pt x="6783" y="2248"/>
                    </a:lnTo>
                    <a:lnTo>
                      <a:pt x="6870" y="2312"/>
                    </a:lnTo>
                    <a:lnTo>
                      <a:pt x="6940" y="2474"/>
                    </a:lnTo>
                    <a:lnTo>
                      <a:pt x="7009" y="2312"/>
                    </a:lnTo>
                    <a:lnTo>
                      <a:pt x="7009" y="2201"/>
                    </a:lnTo>
                    <a:lnTo>
                      <a:pt x="7056" y="2178"/>
                    </a:lnTo>
                    <a:lnTo>
                      <a:pt x="7032" y="2091"/>
                    </a:lnTo>
                    <a:lnTo>
                      <a:pt x="7056" y="2021"/>
                    </a:lnTo>
                    <a:lnTo>
                      <a:pt x="6986" y="1887"/>
                    </a:lnTo>
                    <a:lnTo>
                      <a:pt x="7009" y="1795"/>
                    </a:lnTo>
                    <a:lnTo>
                      <a:pt x="6986" y="1632"/>
                    </a:lnTo>
                    <a:lnTo>
                      <a:pt x="6917" y="1679"/>
                    </a:lnTo>
                    <a:lnTo>
                      <a:pt x="6893" y="1428"/>
                    </a:lnTo>
                    <a:lnTo>
                      <a:pt x="6893" y="1383"/>
                    </a:lnTo>
                    <a:lnTo>
                      <a:pt x="7009" y="1289"/>
                    </a:lnTo>
                    <a:lnTo>
                      <a:pt x="7125" y="1249"/>
                    </a:lnTo>
                    <a:lnTo>
                      <a:pt x="7212" y="1359"/>
                    </a:lnTo>
                    <a:lnTo>
                      <a:pt x="7282" y="952"/>
                    </a:lnTo>
                    <a:lnTo>
                      <a:pt x="7439" y="860"/>
                    </a:lnTo>
                    <a:lnTo>
                      <a:pt x="7346" y="790"/>
                    </a:lnTo>
                    <a:lnTo>
                      <a:pt x="7376" y="726"/>
                    </a:lnTo>
                    <a:lnTo>
                      <a:pt x="7259" y="726"/>
                    </a:lnTo>
                    <a:lnTo>
                      <a:pt x="7189" y="656"/>
                    </a:lnTo>
                    <a:lnTo>
                      <a:pt x="7079" y="563"/>
                    </a:lnTo>
                    <a:lnTo>
                      <a:pt x="7142" y="546"/>
                    </a:lnTo>
                    <a:lnTo>
                      <a:pt x="7189" y="563"/>
                    </a:lnTo>
                    <a:lnTo>
                      <a:pt x="7299" y="499"/>
                    </a:lnTo>
                    <a:lnTo>
                      <a:pt x="7236" y="452"/>
                    </a:lnTo>
                    <a:lnTo>
                      <a:pt x="7212" y="337"/>
                    </a:lnTo>
                    <a:lnTo>
                      <a:pt x="7282" y="384"/>
                    </a:lnTo>
                    <a:lnTo>
                      <a:pt x="7463" y="406"/>
                    </a:lnTo>
                    <a:lnTo>
                      <a:pt x="7533" y="476"/>
                    </a:lnTo>
                    <a:lnTo>
                      <a:pt x="7690" y="452"/>
                    </a:lnTo>
                    <a:lnTo>
                      <a:pt x="7782" y="360"/>
                    </a:lnTo>
                    <a:lnTo>
                      <a:pt x="7596" y="337"/>
                    </a:lnTo>
                    <a:lnTo>
                      <a:pt x="7666" y="203"/>
                    </a:lnTo>
                    <a:lnTo>
                      <a:pt x="7533" y="116"/>
                    </a:lnTo>
                    <a:lnTo>
                      <a:pt x="7393" y="180"/>
                    </a:lnTo>
                    <a:lnTo>
                      <a:pt x="7259" y="70"/>
                    </a:lnTo>
                    <a:lnTo>
                      <a:pt x="7166" y="23"/>
                    </a:lnTo>
                    <a:lnTo>
                      <a:pt x="7125" y="46"/>
                    </a:lnTo>
                    <a:lnTo>
                      <a:pt x="7056" y="0"/>
                    </a:lnTo>
                    <a:lnTo>
                      <a:pt x="1308" y="2724"/>
                    </a:lnTo>
                    <a:lnTo>
                      <a:pt x="146" y="1887"/>
                    </a:lnTo>
                    <a:close/>
                  </a:path>
                </a:pathLst>
              </a:custGeom>
              <a:solidFill>
                <a:srgbClr val="00B0F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35" name="Google Shape;3035;g805494e7d0_2_86"/>
              <p:cNvSpPr/>
              <p:nvPr/>
            </p:nvSpPr>
            <p:spPr>
              <a:xfrm>
                <a:off x="3148" y="334"/>
                <a:ext cx="770" cy="289"/>
              </a:xfrm>
              <a:custGeom>
                <a:avLst/>
                <a:gdLst/>
                <a:ahLst/>
                <a:cxnLst/>
                <a:rect l="l" t="t" r="r" b="b"/>
                <a:pathLst>
                  <a:path w="7160" h="3125" extrusionOk="0">
                    <a:moveTo>
                      <a:pt x="7160" y="407"/>
                    </a:moveTo>
                    <a:lnTo>
                      <a:pt x="7021" y="383"/>
                    </a:lnTo>
                    <a:lnTo>
                      <a:pt x="6770" y="291"/>
                    </a:lnTo>
                    <a:lnTo>
                      <a:pt x="6590" y="291"/>
                    </a:lnTo>
                    <a:lnTo>
                      <a:pt x="6451" y="360"/>
                    </a:lnTo>
                    <a:lnTo>
                      <a:pt x="6451" y="383"/>
                    </a:lnTo>
                    <a:lnTo>
                      <a:pt x="6567" y="453"/>
                    </a:lnTo>
                    <a:lnTo>
                      <a:pt x="6567" y="523"/>
                    </a:lnTo>
                    <a:lnTo>
                      <a:pt x="6520" y="523"/>
                    </a:lnTo>
                    <a:lnTo>
                      <a:pt x="6410" y="430"/>
                    </a:lnTo>
                    <a:lnTo>
                      <a:pt x="6184" y="477"/>
                    </a:lnTo>
                    <a:lnTo>
                      <a:pt x="6137" y="587"/>
                    </a:lnTo>
                    <a:lnTo>
                      <a:pt x="6044" y="540"/>
                    </a:lnTo>
                    <a:lnTo>
                      <a:pt x="5957" y="540"/>
                    </a:lnTo>
                    <a:lnTo>
                      <a:pt x="5863" y="383"/>
                    </a:lnTo>
                    <a:lnTo>
                      <a:pt x="5638" y="383"/>
                    </a:lnTo>
                    <a:lnTo>
                      <a:pt x="5573" y="477"/>
                    </a:lnTo>
                    <a:lnTo>
                      <a:pt x="5457" y="407"/>
                    </a:lnTo>
                    <a:lnTo>
                      <a:pt x="5341" y="430"/>
                    </a:lnTo>
                    <a:lnTo>
                      <a:pt x="5364" y="313"/>
                    </a:lnTo>
                    <a:lnTo>
                      <a:pt x="5271" y="313"/>
                    </a:lnTo>
                    <a:lnTo>
                      <a:pt x="5114" y="477"/>
                    </a:lnTo>
                    <a:lnTo>
                      <a:pt x="5090" y="360"/>
                    </a:lnTo>
                    <a:lnTo>
                      <a:pt x="4957" y="360"/>
                    </a:lnTo>
                    <a:lnTo>
                      <a:pt x="4864" y="407"/>
                    </a:lnTo>
                    <a:lnTo>
                      <a:pt x="4957" y="540"/>
                    </a:lnTo>
                    <a:lnTo>
                      <a:pt x="4910" y="540"/>
                    </a:lnTo>
                    <a:lnTo>
                      <a:pt x="4910" y="587"/>
                    </a:lnTo>
                    <a:lnTo>
                      <a:pt x="4818" y="587"/>
                    </a:lnTo>
                    <a:lnTo>
                      <a:pt x="4754" y="564"/>
                    </a:lnTo>
                    <a:lnTo>
                      <a:pt x="4637" y="657"/>
                    </a:lnTo>
                    <a:lnTo>
                      <a:pt x="4661" y="744"/>
                    </a:lnTo>
                    <a:lnTo>
                      <a:pt x="4544" y="679"/>
                    </a:lnTo>
                    <a:lnTo>
                      <a:pt x="4497" y="610"/>
                    </a:lnTo>
                    <a:lnTo>
                      <a:pt x="4434" y="610"/>
                    </a:lnTo>
                    <a:lnTo>
                      <a:pt x="4434" y="564"/>
                    </a:lnTo>
                    <a:lnTo>
                      <a:pt x="4318" y="430"/>
                    </a:lnTo>
                    <a:lnTo>
                      <a:pt x="4161" y="430"/>
                    </a:lnTo>
                    <a:lnTo>
                      <a:pt x="4115" y="453"/>
                    </a:lnTo>
                    <a:lnTo>
                      <a:pt x="4138" y="523"/>
                    </a:lnTo>
                    <a:lnTo>
                      <a:pt x="3934" y="564"/>
                    </a:lnTo>
                    <a:lnTo>
                      <a:pt x="3911" y="540"/>
                    </a:lnTo>
                    <a:lnTo>
                      <a:pt x="3888" y="523"/>
                    </a:lnTo>
                    <a:lnTo>
                      <a:pt x="3731" y="564"/>
                    </a:lnTo>
                    <a:lnTo>
                      <a:pt x="3522" y="540"/>
                    </a:lnTo>
                    <a:lnTo>
                      <a:pt x="3522" y="610"/>
                    </a:lnTo>
                    <a:lnTo>
                      <a:pt x="3458" y="657"/>
                    </a:lnTo>
                    <a:lnTo>
                      <a:pt x="3388" y="744"/>
                    </a:lnTo>
                    <a:lnTo>
                      <a:pt x="3365" y="721"/>
                    </a:lnTo>
                    <a:lnTo>
                      <a:pt x="3435" y="540"/>
                    </a:lnTo>
                    <a:lnTo>
                      <a:pt x="3475" y="477"/>
                    </a:lnTo>
                    <a:lnTo>
                      <a:pt x="3475" y="407"/>
                    </a:lnTo>
                    <a:lnTo>
                      <a:pt x="3498" y="313"/>
                    </a:lnTo>
                    <a:lnTo>
                      <a:pt x="3458" y="226"/>
                    </a:lnTo>
                    <a:lnTo>
                      <a:pt x="3458" y="157"/>
                    </a:lnTo>
                    <a:lnTo>
                      <a:pt x="3301" y="111"/>
                    </a:lnTo>
                    <a:lnTo>
                      <a:pt x="3184" y="87"/>
                    </a:lnTo>
                    <a:lnTo>
                      <a:pt x="3138" y="111"/>
                    </a:lnTo>
                    <a:lnTo>
                      <a:pt x="3138" y="180"/>
                    </a:lnTo>
                    <a:lnTo>
                      <a:pt x="3091" y="180"/>
                    </a:lnTo>
                    <a:lnTo>
                      <a:pt x="3044" y="111"/>
                    </a:lnTo>
                    <a:lnTo>
                      <a:pt x="2957" y="64"/>
                    </a:lnTo>
                    <a:lnTo>
                      <a:pt x="2911" y="0"/>
                    </a:lnTo>
                    <a:lnTo>
                      <a:pt x="2865" y="17"/>
                    </a:lnTo>
                    <a:lnTo>
                      <a:pt x="2819" y="111"/>
                    </a:lnTo>
                    <a:lnTo>
                      <a:pt x="2819" y="157"/>
                    </a:lnTo>
                    <a:lnTo>
                      <a:pt x="2911" y="203"/>
                    </a:lnTo>
                    <a:lnTo>
                      <a:pt x="2889" y="226"/>
                    </a:lnTo>
                    <a:lnTo>
                      <a:pt x="2929" y="268"/>
                    </a:lnTo>
                    <a:lnTo>
                      <a:pt x="2889" y="268"/>
                    </a:lnTo>
                    <a:lnTo>
                      <a:pt x="2819" y="360"/>
                    </a:lnTo>
                    <a:lnTo>
                      <a:pt x="2679" y="383"/>
                    </a:lnTo>
                    <a:lnTo>
                      <a:pt x="2638" y="360"/>
                    </a:lnTo>
                    <a:lnTo>
                      <a:pt x="2568" y="383"/>
                    </a:lnTo>
                    <a:lnTo>
                      <a:pt x="2592" y="430"/>
                    </a:lnTo>
                    <a:lnTo>
                      <a:pt x="2453" y="540"/>
                    </a:lnTo>
                    <a:lnTo>
                      <a:pt x="2435" y="679"/>
                    </a:lnTo>
                    <a:lnTo>
                      <a:pt x="2498" y="791"/>
                    </a:lnTo>
                    <a:lnTo>
                      <a:pt x="2435" y="767"/>
                    </a:lnTo>
                    <a:lnTo>
                      <a:pt x="2296" y="836"/>
                    </a:lnTo>
                    <a:lnTo>
                      <a:pt x="2249" y="859"/>
                    </a:lnTo>
                    <a:lnTo>
                      <a:pt x="2272" y="999"/>
                    </a:lnTo>
                    <a:lnTo>
                      <a:pt x="2411" y="1016"/>
                    </a:lnTo>
                    <a:lnTo>
                      <a:pt x="2453" y="1086"/>
                    </a:lnTo>
                    <a:lnTo>
                      <a:pt x="2545" y="1220"/>
                    </a:lnTo>
                    <a:lnTo>
                      <a:pt x="2592" y="1359"/>
                    </a:lnTo>
                    <a:lnTo>
                      <a:pt x="2475" y="1267"/>
                    </a:lnTo>
                    <a:lnTo>
                      <a:pt x="2411" y="1086"/>
                    </a:lnTo>
                    <a:lnTo>
                      <a:pt x="2249" y="1016"/>
                    </a:lnTo>
                    <a:lnTo>
                      <a:pt x="2202" y="1016"/>
                    </a:lnTo>
                    <a:lnTo>
                      <a:pt x="2184" y="1063"/>
                    </a:lnTo>
                    <a:lnTo>
                      <a:pt x="2092" y="1133"/>
                    </a:lnTo>
                    <a:lnTo>
                      <a:pt x="2115" y="1156"/>
                    </a:lnTo>
                    <a:lnTo>
                      <a:pt x="2202" y="1156"/>
                    </a:lnTo>
                    <a:lnTo>
                      <a:pt x="2226" y="1220"/>
                    </a:lnTo>
                    <a:lnTo>
                      <a:pt x="2115" y="1197"/>
                    </a:lnTo>
                    <a:lnTo>
                      <a:pt x="1999" y="1110"/>
                    </a:lnTo>
                    <a:lnTo>
                      <a:pt x="1999" y="1197"/>
                    </a:lnTo>
                    <a:lnTo>
                      <a:pt x="2092" y="1359"/>
                    </a:lnTo>
                    <a:lnTo>
                      <a:pt x="2092" y="1406"/>
                    </a:lnTo>
                    <a:lnTo>
                      <a:pt x="2162" y="1446"/>
                    </a:lnTo>
                    <a:lnTo>
                      <a:pt x="2272" y="1446"/>
                    </a:lnTo>
                    <a:lnTo>
                      <a:pt x="2365" y="1586"/>
                    </a:lnTo>
                    <a:lnTo>
                      <a:pt x="2411" y="1609"/>
                    </a:lnTo>
                    <a:lnTo>
                      <a:pt x="2249" y="1493"/>
                    </a:lnTo>
                    <a:lnTo>
                      <a:pt x="2202" y="1493"/>
                    </a:lnTo>
                    <a:lnTo>
                      <a:pt x="2139" y="1563"/>
                    </a:lnTo>
                    <a:lnTo>
                      <a:pt x="2184" y="1673"/>
                    </a:lnTo>
                    <a:lnTo>
                      <a:pt x="2139" y="1813"/>
                    </a:lnTo>
                    <a:lnTo>
                      <a:pt x="2045" y="1835"/>
                    </a:lnTo>
                    <a:lnTo>
                      <a:pt x="1935" y="1813"/>
                    </a:lnTo>
                    <a:lnTo>
                      <a:pt x="2022" y="1766"/>
                    </a:lnTo>
                    <a:lnTo>
                      <a:pt x="2069" y="1609"/>
                    </a:lnTo>
                    <a:lnTo>
                      <a:pt x="2069" y="1493"/>
                    </a:lnTo>
                    <a:lnTo>
                      <a:pt x="1912" y="1220"/>
                    </a:lnTo>
                    <a:lnTo>
                      <a:pt x="1842" y="1040"/>
                    </a:lnTo>
                    <a:lnTo>
                      <a:pt x="1772" y="1016"/>
                    </a:lnTo>
                    <a:lnTo>
                      <a:pt x="1726" y="1243"/>
                    </a:lnTo>
                    <a:lnTo>
                      <a:pt x="1748" y="1406"/>
                    </a:lnTo>
                    <a:lnTo>
                      <a:pt x="1842" y="1516"/>
                    </a:lnTo>
                    <a:lnTo>
                      <a:pt x="1842" y="1539"/>
                    </a:lnTo>
                    <a:lnTo>
                      <a:pt x="1748" y="1493"/>
                    </a:lnTo>
                    <a:lnTo>
                      <a:pt x="1661" y="1429"/>
                    </a:lnTo>
                    <a:lnTo>
                      <a:pt x="1476" y="1446"/>
                    </a:lnTo>
                    <a:lnTo>
                      <a:pt x="1499" y="1539"/>
                    </a:lnTo>
                    <a:lnTo>
                      <a:pt x="1499" y="1609"/>
                    </a:lnTo>
                    <a:lnTo>
                      <a:pt x="1453" y="1609"/>
                    </a:lnTo>
                    <a:lnTo>
                      <a:pt x="1436" y="1539"/>
                    </a:lnTo>
                    <a:lnTo>
                      <a:pt x="1249" y="1656"/>
                    </a:lnTo>
                    <a:lnTo>
                      <a:pt x="1209" y="1633"/>
                    </a:lnTo>
                    <a:lnTo>
                      <a:pt x="1185" y="1586"/>
                    </a:lnTo>
                    <a:lnTo>
                      <a:pt x="1022" y="1673"/>
                    </a:lnTo>
                    <a:lnTo>
                      <a:pt x="1000" y="1743"/>
                    </a:lnTo>
                    <a:lnTo>
                      <a:pt x="935" y="1743"/>
                    </a:lnTo>
                    <a:lnTo>
                      <a:pt x="866" y="1813"/>
                    </a:lnTo>
                    <a:lnTo>
                      <a:pt x="843" y="1766"/>
                    </a:lnTo>
                    <a:lnTo>
                      <a:pt x="843" y="1656"/>
                    </a:lnTo>
                    <a:lnTo>
                      <a:pt x="773" y="1673"/>
                    </a:lnTo>
                    <a:lnTo>
                      <a:pt x="749" y="1743"/>
                    </a:lnTo>
                    <a:lnTo>
                      <a:pt x="773" y="1859"/>
                    </a:lnTo>
                    <a:lnTo>
                      <a:pt x="726" y="1905"/>
                    </a:lnTo>
                    <a:lnTo>
                      <a:pt x="662" y="1923"/>
                    </a:lnTo>
                    <a:lnTo>
                      <a:pt x="592" y="2016"/>
                    </a:lnTo>
                    <a:lnTo>
                      <a:pt x="616" y="2062"/>
                    </a:lnTo>
                    <a:lnTo>
                      <a:pt x="592" y="2109"/>
                    </a:lnTo>
                    <a:lnTo>
                      <a:pt x="482" y="2039"/>
                    </a:lnTo>
                    <a:lnTo>
                      <a:pt x="459" y="2109"/>
                    </a:lnTo>
                    <a:lnTo>
                      <a:pt x="459" y="2156"/>
                    </a:lnTo>
                    <a:lnTo>
                      <a:pt x="342" y="2062"/>
                    </a:lnTo>
                    <a:lnTo>
                      <a:pt x="365" y="1952"/>
                    </a:lnTo>
                    <a:lnTo>
                      <a:pt x="273" y="1882"/>
                    </a:lnTo>
                    <a:lnTo>
                      <a:pt x="232" y="1835"/>
                    </a:lnTo>
                    <a:lnTo>
                      <a:pt x="365" y="1882"/>
                    </a:lnTo>
                    <a:lnTo>
                      <a:pt x="459" y="1905"/>
                    </a:lnTo>
                    <a:lnTo>
                      <a:pt x="546" y="1882"/>
                    </a:lnTo>
                    <a:lnTo>
                      <a:pt x="616" y="1813"/>
                    </a:lnTo>
                    <a:lnTo>
                      <a:pt x="459" y="1633"/>
                    </a:lnTo>
                    <a:lnTo>
                      <a:pt x="365" y="1586"/>
                    </a:lnTo>
                    <a:lnTo>
                      <a:pt x="232" y="1586"/>
                    </a:lnTo>
                    <a:lnTo>
                      <a:pt x="162" y="1539"/>
                    </a:lnTo>
                    <a:lnTo>
                      <a:pt x="98" y="1469"/>
                    </a:lnTo>
                    <a:lnTo>
                      <a:pt x="75" y="1469"/>
                    </a:lnTo>
                    <a:lnTo>
                      <a:pt x="23" y="1481"/>
                    </a:lnTo>
                    <a:lnTo>
                      <a:pt x="0" y="1551"/>
                    </a:lnTo>
                    <a:lnTo>
                      <a:pt x="40" y="1644"/>
                    </a:lnTo>
                    <a:lnTo>
                      <a:pt x="46" y="1743"/>
                    </a:lnTo>
                    <a:lnTo>
                      <a:pt x="104" y="1847"/>
                    </a:lnTo>
                    <a:lnTo>
                      <a:pt x="110" y="1923"/>
                    </a:lnTo>
                    <a:lnTo>
                      <a:pt x="150" y="1999"/>
                    </a:lnTo>
                    <a:lnTo>
                      <a:pt x="150" y="2086"/>
                    </a:lnTo>
                    <a:lnTo>
                      <a:pt x="255" y="2266"/>
                    </a:lnTo>
                    <a:lnTo>
                      <a:pt x="255" y="2301"/>
                    </a:lnTo>
                    <a:lnTo>
                      <a:pt x="1418" y="3125"/>
                    </a:lnTo>
                    <a:lnTo>
                      <a:pt x="7160" y="407"/>
                    </a:lnTo>
                    <a:close/>
                  </a:path>
                </a:pathLst>
              </a:custGeom>
              <a:solidFill>
                <a:srgbClr val="00B0F0"/>
              </a:solidFill>
              <a:ln w="9525" cap="flat" cmpd="sng">
                <a:solidFill>
                  <a:srgbClr val="00B0F0"/>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36" name="Google Shape;3036;g805494e7d0_2_86"/>
              <p:cNvSpPr/>
              <p:nvPr/>
            </p:nvSpPr>
            <p:spPr>
              <a:xfrm>
                <a:off x="3112" y="698"/>
                <a:ext cx="16" cy="13"/>
              </a:xfrm>
              <a:custGeom>
                <a:avLst/>
                <a:gdLst/>
                <a:ahLst/>
                <a:cxnLst/>
                <a:rect l="l" t="t" r="r" b="b"/>
                <a:pathLst>
                  <a:path w="152" h="128" extrusionOk="0">
                    <a:moveTo>
                      <a:pt x="0" y="12"/>
                    </a:moveTo>
                    <a:lnTo>
                      <a:pt x="35" y="0"/>
                    </a:lnTo>
                    <a:lnTo>
                      <a:pt x="87" y="17"/>
                    </a:lnTo>
                    <a:lnTo>
                      <a:pt x="152" y="93"/>
                    </a:lnTo>
                    <a:lnTo>
                      <a:pt x="111" y="122"/>
                    </a:lnTo>
                    <a:lnTo>
                      <a:pt x="82" y="128"/>
                    </a:lnTo>
                    <a:lnTo>
                      <a:pt x="18" y="111"/>
                    </a:lnTo>
                    <a:lnTo>
                      <a:pt x="18" y="59"/>
                    </a:lnTo>
                    <a:lnTo>
                      <a:pt x="0" y="12"/>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37" name="Google Shape;3037;g805494e7d0_2_86"/>
              <p:cNvSpPr/>
              <p:nvPr/>
            </p:nvSpPr>
            <p:spPr>
              <a:xfrm>
                <a:off x="3625" y="926"/>
                <a:ext cx="25" cy="33"/>
              </a:xfrm>
              <a:custGeom>
                <a:avLst/>
                <a:gdLst/>
                <a:ahLst/>
                <a:cxnLst/>
                <a:rect l="l" t="t" r="r" b="b"/>
                <a:pathLst>
                  <a:path w="232" h="354" extrusionOk="0">
                    <a:moveTo>
                      <a:pt x="0" y="0"/>
                    </a:moveTo>
                    <a:lnTo>
                      <a:pt x="23" y="110"/>
                    </a:lnTo>
                    <a:lnTo>
                      <a:pt x="70" y="244"/>
                    </a:lnTo>
                    <a:lnTo>
                      <a:pt x="232" y="354"/>
                    </a:lnTo>
                    <a:lnTo>
                      <a:pt x="232" y="255"/>
                    </a:lnTo>
                    <a:lnTo>
                      <a:pt x="187" y="220"/>
                    </a:lnTo>
                    <a:lnTo>
                      <a:pt x="187" y="87"/>
                    </a:lnTo>
                    <a:lnTo>
                      <a:pt x="145" y="12"/>
                    </a:lnTo>
                    <a:lnTo>
                      <a:pt x="70" y="12"/>
                    </a:lnTo>
                    <a:lnTo>
                      <a:pt x="12" y="6"/>
                    </a:lnTo>
                    <a:lnTo>
                      <a:pt x="0"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038" name="Google Shape;3038;g805494e7d0_2_86"/>
              <p:cNvSpPr/>
              <p:nvPr/>
            </p:nvSpPr>
            <p:spPr>
              <a:xfrm>
                <a:off x="3686" y="1048"/>
                <a:ext cx="252" cy="192"/>
              </a:xfrm>
              <a:custGeom>
                <a:avLst/>
                <a:gdLst/>
                <a:ahLst/>
                <a:cxnLst/>
                <a:rect l="l" t="t" r="r" b="b"/>
                <a:pathLst>
                  <a:path w="2343" h="2074" extrusionOk="0">
                    <a:moveTo>
                      <a:pt x="1337" y="0"/>
                    </a:moveTo>
                    <a:lnTo>
                      <a:pt x="1314" y="81"/>
                    </a:lnTo>
                    <a:lnTo>
                      <a:pt x="1250" y="58"/>
                    </a:lnTo>
                    <a:lnTo>
                      <a:pt x="1145" y="110"/>
                    </a:lnTo>
                    <a:lnTo>
                      <a:pt x="1145" y="191"/>
                    </a:lnTo>
                    <a:lnTo>
                      <a:pt x="1105" y="191"/>
                    </a:lnTo>
                    <a:lnTo>
                      <a:pt x="1029" y="168"/>
                    </a:lnTo>
                    <a:lnTo>
                      <a:pt x="994" y="168"/>
                    </a:lnTo>
                    <a:lnTo>
                      <a:pt x="948" y="127"/>
                    </a:lnTo>
                    <a:lnTo>
                      <a:pt x="843" y="168"/>
                    </a:lnTo>
                    <a:lnTo>
                      <a:pt x="785" y="249"/>
                    </a:lnTo>
                    <a:lnTo>
                      <a:pt x="663" y="261"/>
                    </a:lnTo>
                    <a:lnTo>
                      <a:pt x="628" y="290"/>
                    </a:lnTo>
                    <a:lnTo>
                      <a:pt x="623" y="354"/>
                    </a:lnTo>
                    <a:lnTo>
                      <a:pt x="536" y="447"/>
                    </a:lnTo>
                    <a:lnTo>
                      <a:pt x="494" y="447"/>
                    </a:lnTo>
                    <a:lnTo>
                      <a:pt x="466" y="493"/>
                    </a:lnTo>
                    <a:lnTo>
                      <a:pt x="257" y="493"/>
                    </a:lnTo>
                    <a:lnTo>
                      <a:pt x="134" y="465"/>
                    </a:lnTo>
                    <a:lnTo>
                      <a:pt x="88" y="505"/>
                    </a:lnTo>
                    <a:lnTo>
                      <a:pt x="70" y="667"/>
                    </a:lnTo>
                    <a:lnTo>
                      <a:pt x="93" y="831"/>
                    </a:lnTo>
                    <a:lnTo>
                      <a:pt x="6" y="789"/>
                    </a:lnTo>
                    <a:lnTo>
                      <a:pt x="6" y="901"/>
                    </a:lnTo>
                    <a:lnTo>
                      <a:pt x="53" y="1202"/>
                    </a:lnTo>
                    <a:lnTo>
                      <a:pt x="53" y="1278"/>
                    </a:lnTo>
                    <a:lnTo>
                      <a:pt x="0" y="1382"/>
                    </a:lnTo>
                    <a:lnTo>
                      <a:pt x="47" y="1424"/>
                    </a:lnTo>
                    <a:lnTo>
                      <a:pt x="76" y="1429"/>
                    </a:lnTo>
                    <a:lnTo>
                      <a:pt x="110" y="1476"/>
                    </a:lnTo>
                    <a:lnTo>
                      <a:pt x="180" y="1476"/>
                    </a:lnTo>
                    <a:lnTo>
                      <a:pt x="291" y="1417"/>
                    </a:lnTo>
                    <a:lnTo>
                      <a:pt x="367" y="1424"/>
                    </a:lnTo>
                    <a:lnTo>
                      <a:pt x="459" y="1452"/>
                    </a:lnTo>
                    <a:lnTo>
                      <a:pt x="518" y="1446"/>
                    </a:lnTo>
                    <a:lnTo>
                      <a:pt x="576" y="1365"/>
                    </a:lnTo>
                    <a:lnTo>
                      <a:pt x="663" y="1365"/>
                    </a:lnTo>
                    <a:lnTo>
                      <a:pt x="773" y="1336"/>
                    </a:lnTo>
                    <a:lnTo>
                      <a:pt x="965" y="1342"/>
                    </a:lnTo>
                    <a:lnTo>
                      <a:pt x="1087" y="1429"/>
                    </a:lnTo>
                    <a:lnTo>
                      <a:pt x="1162" y="1534"/>
                    </a:lnTo>
                    <a:lnTo>
                      <a:pt x="1180" y="1568"/>
                    </a:lnTo>
                    <a:lnTo>
                      <a:pt x="1209" y="1579"/>
                    </a:lnTo>
                    <a:lnTo>
                      <a:pt x="1314" y="1544"/>
                    </a:lnTo>
                    <a:lnTo>
                      <a:pt x="1424" y="1464"/>
                    </a:lnTo>
                    <a:lnTo>
                      <a:pt x="1354" y="1556"/>
                    </a:lnTo>
                    <a:lnTo>
                      <a:pt x="1314" y="1632"/>
                    </a:lnTo>
                    <a:lnTo>
                      <a:pt x="1250" y="1666"/>
                    </a:lnTo>
                    <a:lnTo>
                      <a:pt x="1354" y="1638"/>
                    </a:lnTo>
                    <a:lnTo>
                      <a:pt x="1441" y="1591"/>
                    </a:lnTo>
                    <a:lnTo>
                      <a:pt x="1378" y="1696"/>
                    </a:lnTo>
                    <a:lnTo>
                      <a:pt x="1319" y="1731"/>
                    </a:lnTo>
                    <a:lnTo>
                      <a:pt x="1413" y="1708"/>
                    </a:lnTo>
                    <a:lnTo>
                      <a:pt x="1436" y="1701"/>
                    </a:lnTo>
                    <a:lnTo>
                      <a:pt x="1418" y="1766"/>
                    </a:lnTo>
                    <a:lnTo>
                      <a:pt x="1384" y="1835"/>
                    </a:lnTo>
                    <a:lnTo>
                      <a:pt x="1406" y="1900"/>
                    </a:lnTo>
                    <a:lnTo>
                      <a:pt x="1518" y="1987"/>
                    </a:lnTo>
                    <a:lnTo>
                      <a:pt x="1546" y="2004"/>
                    </a:lnTo>
                    <a:lnTo>
                      <a:pt x="1640" y="2010"/>
                    </a:lnTo>
                    <a:lnTo>
                      <a:pt x="1720" y="1987"/>
                    </a:lnTo>
                    <a:lnTo>
                      <a:pt x="1698" y="2045"/>
                    </a:lnTo>
                    <a:lnTo>
                      <a:pt x="1738" y="2074"/>
                    </a:lnTo>
                    <a:lnTo>
                      <a:pt x="1866" y="2045"/>
                    </a:lnTo>
                    <a:lnTo>
                      <a:pt x="1930" y="2039"/>
                    </a:lnTo>
                    <a:lnTo>
                      <a:pt x="2006" y="2010"/>
                    </a:lnTo>
                    <a:lnTo>
                      <a:pt x="2081" y="1905"/>
                    </a:lnTo>
                    <a:lnTo>
                      <a:pt x="2145" y="1778"/>
                    </a:lnTo>
                    <a:lnTo>
                      <a:pt x="2198" y="1719"/>
                    </a:lnTo>
                    <a:lnTo>
                      <a:pt x="2256" y="1568"/>
                    </a:lnTo>
                    <a:lnTo>
                      <a:pt x="2343" y="1429"/>
                    </a:lnTo>
                    <a:lnTo>
                      <a:pt x="2343" y="1243"/>
                    </a:lnTo>
                    <a:lnTo>
                      <a:pt x="2313" y="1033"/>
                    </a:lnTo>
                    <a:lnTo>
                      <a:pt x="2256" y="848"/>
                    </a:lnTo>
                    <a:lnTo>
                      <a:pt x="2191" y="755"/>
                    </a:lnTo>
                    <a:lnTo>
                      <a:pt x="2134" y="691"/>
                    </a:lnTo>
                    <a:lnTo>
                      <a:pt x="2069" y="615"/>
                    </a:lnTo>
                    <a:lnTo>
                      <a:pt x="2052" y="587"/>
                    </a:lnTo>
                    <a:lnTo>
                      <a:pt x="2041" y="458"/>
                    </a:lnTo>
                    <a:lnTo>
                      <a:pt x="2029" y="383"/>
                    </a:lnTo>
                    <a:lnTo>
                      <a:pt x="1977" y="343"/>
                    </a:lnTo>
                    <a:lnTo>
                      <a:pt x="1959" y="232"/>
                    </a:lnTo>
                    <a:lnTo>
                      <a:pt x="1930" y="139"/>
                    </a:lnTo>
                    <a:lnTo>
                      <a:pt x="1895" y="179"/>
                    </a:lnTo>
                    <a:lnTo>
                      <a:pt x="1872" y="266"/>
                    </a:lnTo>
                    <a:lnTo>
                      <a:pt x="1832" y="430"/>
                    </a:lnTo>
                    <a:lnTo>
                      <a:pt x="1785" y="458"/>
                    </a:lnTo>
                    <a:lnTo>
                      <a:pt x="1744" y="458"/>
                    </a:lnTo>
                    <a:lnTo>
                      <a:pt x="1651" y="383"/>
                    </a:lnTo>
                    <a:lnTo>
                      <a:pt x="1581" y="343"/>
                    </a:lnTo>
                    <a:lnTo>
                      <a:pt x="1541" y="301"/>
                    </a:lnTo>
                    <a:lnTo>
                      <a:pt x="1523" y="249"/>
                    </a:lnTo>
                    <a:lnTo>
                      <a:pt x="1570" y="179"/>
                    </a:lnTo>
                    <a:lnTo>
                      <a:pt x="1581" y="122"/>
                    </a:lnTo>
                    <a:lnTo>
                      <a:pt x="1593" y="99"/>
                    </a:lnTo>
                    <a:lnTo>
                      <a:pt x="1546" y="110"/>
                    </a:lnTo>
                    <a:lnTo>
                      <a:pt x="1424" y="41"/>
                    </a:lnTo>
                    <a:lnTo>
                      <a:pt x="1378" y="0"/>
                    </a:lnTo>
                    <a:lnTo>
                      <a:pt x="1337" y="0"/>
                    </a:lnTo>
                    <a:close/>
                  </a:path>
                </a:pathLst>
              </a:custGeom>
              <a:solidFill>
                <a:srgbClr val="00B0F0"/>
              </a:solidFill>
              <a:ln w="9525" cap="flat" cmpd="sng">
                <a:solidFill>
                  <a:srgbClr val="FFFFFF"/>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pic>
          <p:nvPicPr>
            <p:cNvPr id="3039" name="Google Shape;3039;g805494e7d0_2_86"/>
            <p:cNvPicPr preferRelativeResize="0"/>
            <p:nvPr/>
          </p:nvPicPr>
          <p:blipFill rotWithShape="1">
            <a:blip r:embed="rId4">
              <a:alphaModFix/>
            </a:blip>
            <a:srcRect/>
            <a:stretch/>
          </p:blipFill>
          <p:spPr>
            <a:xfrm>
              <a:off x="7822938" y="3724639"/>
              <a:ext cx="899591" cy="910562"/>
            </a:xfrm>
            <a:prstGeom prst="rect">
              <a:avLst/>
            </a:prstGeom>
            <a:noFill/>
            <a:ln>
              <a:noFill/>
            </a:ln>
          </p:spPr>
        </p:pic>
        <p:sp>
          <p:nvSpPr>
            <p:cNvPr id="3040" name="Google Shape;3040;g805494e7d0_2_86"/>
            <p:cNvSpPr txBox="1"/>
            <p:nvPr/>
          </p:nvSpPr>
          <p:spPr>
            <a:xfrm>
              <a:off x="6335188" y="2802999"/>
              <a:ext cx="2837100" cy="735300"/>
            </a:xfrm>
            <a:prstGeom prst="rect">
              <a:avLst/>
            </a:prstGeom>
            <a:noFill/>
            <a:ln>
              <a:noFill/>
            </a:ln>
          </p:spPr>
          <p:txBody>
            <a:bodyPr spcFirstLastPara="1" wrap="square" lIns="91425" tIns="91425" rIns="91425" bIns="91425" anchor="t" anchorCtr="0">
              <a:noAutofit/>
            </a:bodyPr>
            <a:lstStyle/>
            <a:p>
              <a:pPr marL="171450" marR="0" lvl="0" indent="-171450" algn="l" rtl="0">
                <a:lnSpc>
                  <a:spcPct val="115000"/>
                </a:lnSpc>
                <a:spcBef>
                  <a:spcPts val="1200"/>
                </a:spcBef>
                <a:spcAft>
                  <a:spcPts val="0"/>
                </a:spcAft>
                <a:buClr>
                  <a:srgbClr val="000000"/>
                </a:buClr>
                <a:buSzPts val="1400"/>
                <a:buFont typeface="Arial"/>
                <a:buChar char="•"/>
              </a:pPr>
              <a:r>
                <a:rPr lang="es-ES" sz="1400" b="1" i="0" u="none" strike="noStrike" cap="none">
                  <a:solidFill>
                    <a:srgbClr val="000000"/>
                  </a:solidFill>
                  <a:latin typeface="Arial"/>
                  <a:ea typeface="Arial"/>
                  <a:cs typeface="Arial"/>
                  <a:sym typeface="Arial"/>
                </a:rPr>
                <a:t>Capacidades IA</a:t>
              </a:r>
              <a:r>
                <a:rPr lang="es-ES" sz="1400" b="0" i="0" u="none" strike="noStrike" cap="none">
                  <a:solidFill>
                    <a:srgbClr val="000000"/>
                  </a:solidFill>
                  <a:latin typeface="Arial"/>
                  <a:ea typeface="Arial"/>
                  <a:cs typeface="Arial"/>
                  <a:sym typeface="Arial"/>
                </a:rPr>
                <a:t>: acceso al talento IA especializado, esté donde esté</a:t>
              </a:r>
              <a:endParaRPr sz="1400" b="0" i="0" u="none" strike="noStrike" cap="none">
                <a:solidFill>
                  <a:srgbClr val="000000"/>
                </a:solidFill>
                <a:latin typeface="Arial"/>
                <a:ea typeface="Arial"/>
                <a:cs typeface="Arial"/>
                <a:sym typeface="Arial"/>
              </a:endParaRPr>
            </a:p>
          </p:txBody>
        </p:sp>
        <p:sp>
          <p:nvSpPr>
            <p:cNvPr id="3041" name="Google Shape;3041;g805494e7d0_2_86"/>
            <p:cNvSpPr txBox="1"/>
            <p:nvPr/>
          </p:nvSpPr>
          <p:spPr>
            <a:xfrm>
              <a:off x="6011312" y="3552094"/>
              <a:ext cx="1819500" cy="735300"/>
            </a:xfrm>
            <a:prstGeom prst="rect">
              <a:avLst/>
            </a:prstGeom>
            <a:noFill/>
            <a:ln>
              <a:noFill/>
            </a:ln>
          </p:spPr>
          <p:txBody>
            <a:bodyPr spcFirstLastPara="1" wrap="square" lIns="91425" tIns="91425" rIns="91425" bIns="91425" anchor="t" anchorCtr="0">
              <a:noAutofit/>
            </a:bodyPr>
            <a:lstStyle/>
            <a:p>
              <a:pPr marL="171450" marR="0" lvl="0" indent="-171450" algn="l" rtl="0">
                <a:lnSpc>
                  <a:spcPct val="115000"/>
                </a:lnSpc>
                <a:spcBef>
                  <a:spcPts val="1200"/>
                </a:spcBef>
                <a:spcAft>
                  <a:spcPts val="0"/>
                </a:spcAft>
                <a:buClr>
                  <a:srgbClr val="000000"/>
                </a:buClr>
                <a:buSzPts val="1400"/>
                <a:buFont typeface="Arial"/>
                <a:buChar char="•"/>
              </a:pPr>
              <a:r>
                <a:rPr lang="es-ES" sz="1400" b="1" i="0" u="none" strike="noStrike" cap="none">
                  <a:solidFill>
                    <a:srgbClr val="000000"/>
                  </a:solidFill>
                  <a:latin typeface="Arial"/>
                  <a:ea typeface="Arial"/>
                  <a:cs typeface="Arial"/>
                  <a:sym typeface="Arial"/>
                </a:rPr>
                <a:t>Agilidad</a:t>
              </a:r>
              <a:r>
                <a:rPr lang="es-ES" sz="1400" b="0" i="0" u="none" strike="noStrike" cap="none">
                  <a:solidFill>
                    <a:srgbClr val="000000"/>
                  </a:solidFill>
                  <a:latin typeface="Arial"/>
                  <a:ea typeface="Arial"/>
                  <a:cs typeface="Arial"/>
                  <a:sym typeface="Arial"/>
                </a:rPr>
                <a:t>: </a:t>
              </a:r>
              <a:r>
                <a:rPr lang="es-ES" sz="1400" b="0" i="1" u="none" strike="noStrike" cap="none">
                  <a:solidFill>
                    <a:srgbClr val="000000"/>
                  </a:solidFill>
                  <a:latin typeface="Arial"/>
                  <a:ea typeface="Arial"/>
                  <a:cs typeface="Arial"/>
                  <a:sym typeface="Arial"/>
                </a:rPr>
                <a:t>delivery</a:t>
              </a:r>
              <a:r>
                <a:rPr lang="es-ES" sz="1400" b="0" i="0" u="none" strike="noStrike" cap="none">
                  <a:solidFill>
                    <a:srgbClr val="000000"/>
                  </a:solidFill>
                  <a:latin typeface="Arial"/>
                  <a:ea typeface="Arial"/>
                  <a:cs typeface="Arial"/>
                  <a:sym typeface="Arial"/>
                </a:rPr>
                <a:t> en ecosistemas de talento ante necesidades dinámicas</a:t>
              </a:r>
              <a:endParaRPr sz="1400" b="0" i="0" u="none" strike="noStrike" cap="none">
                <a:solidFill>
                  <a:srgbClr val="000000"/>
                </a:solidFill>
                <a:latin typeface="Arial"/>
                <a:ea typeface="Arial"/>
                <a:cs typeface="Arial"/>
                <a:sym typeface="Arial"/>
              </a:endParaRPr>
            </a:p>
          </p:txBody>
        </p:sp>
        <p:sp>
          <p:nvSpPr>
            <p:cNvPr id="3042" name="Google Shape;3042;g805494e7d0_2_86"/>
            <p:cNvSpPr txBox="1"/>
            <p:nvPr/>
          </p:nvSpPr>
          <p:spPr>
            <a:xfrm>
              <a:off x="6348373" y="4697765"/>
              <a:ext cx="2970600" cy="735300"/>
            </a:xfrm>
            <a:prstGeom prst="rect">
              <a:avLst/>
            </a:prstGeom>
            <a:noFill/>
            <a:ln>
              <a:noFill/>
            </a:ln>
          </p:spPr>
          <p:txBody>
            <a:bodyPr spcFirstLastPara="1" wrap="square" lIns="91425" tIns="91425" rIns="91425" bIns="91425" anchor="t" anchorCtr="0">
              <a:noAutofit/>
            </a:bodyPr>
            <a:lstStyle/>
            <a:p>
              <a:pPr marL="171450" marR="0" lvl="0" indent="-171450" algn="l" rtl="0">
                <a:lnSpc>
                  <a:spcPct val="115000"/>
                </a:lnSpc>
                <a:spcBef>
                  <a:spcPts val="1200"/>
                </a:spcBef>
                <a:spcAft>
                  <a:spcPts val="0"/>
                </a:spcAft>
                <a:buClr>
                  <a:srgbClr val="000000"/>
                </a:buClr>
                <a:buSzPts val="1400"/>
                <a:buFont typeface="Arial"/>
                <a:buChar char="•"/>
              </a:pPr>
              <a:r>
                <a:rPr lang="es-ES" sz="1400" b="1" i="0" u="none" strike="noStrike" cap="none">
                  <a:solidFill>
                    <a:srgbClr val="000000"/>
                  </a:solidFill>
                  <a:latin typeface="Arial"/>
                  <a:ea typeface="Arial"/>
                  <a:cs typeface="Arial"/>
                  <a:sym typeface="Arial"/>
                </a:rPr>
                <a:t>Traductores</a:t>
              </a:r>
              <a:r>
                <a:rPr lang="es-ES" sz="1400" b="0" i="0" u="none" strike="noStrike" cap="none">
                  <a:solidFill>
                    <a:srgbClr val="000000"/>
                  </a:solidFill>
                  <a:latin typeface="Arial"/>
                  <a:ea typeface="Arial"/>
                  <a:cs typeface="Arial"/>
                  <a:sym typeface="Arial"/>
                </a:rPr>
                <a:t> entre tecnología y negocio: acercamos la IA al negocio</a:t>
              </a:r>
              <a:endParaRPr sz="1400" b="0" i="0" u="none" strike="noStrike" cap="none">
                <a:solidFill>
                  <a:srgbClr val="000000"/>
                </a:solidFill>
                <a:latin typeface="Arial"/>
                <a:ea typeface="Arial"/>
                <a:cs typeface="Arial"/>
                <a:sym typeface="Arial"/>
              </a:endParaRPr>
            </a:p>
          </p:txBody>
        </p:sp>
        <p:sp>
          <p:nvSpPr>
            <p:cNvPr id="3043" name="Google Shape;3043;g805494e7d0_2_86"/>
            <p:cNvSpPr/>
            <p:nvPr/>
          </p:nvSpPr>
          <p:spPr>
            <a:xfrm flipH="1">
              <a:off x="5682062" y="3692978"/>
              <a:ext cx="186300" cy="821700"/>
            </a:xfrm>
            <a:prstGeom prst="chevron">
              <a:avLst>
                <a:gd name="adj" fmla="val 100000"/>
              </a:avLst>
            </a:prstGeom>
            <a:solidFill>
              <a:srgbClr val="FFAB40"/>
            </a:solidFill>
            <a:ln w="25400" cap="flat" cmpd="sng">
              <a:solidFill>
                <a:srgbClr val="FFFFFF"/>
              </a:solidFill>
              <a:prstDash val="solid"/>
              <a:miter lim="800000"/>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300"/>
                <a:buFont typeface="Arial"/>
                <a:buNone/>
              </a:pPr>
              <a:endParaRPr sz="1300" b="0" i="0" u="none" strike="noStrike" cap="none">
                <a:solidFill>
                  <a:srgbClr val="000000"/>
                </a:solidFill>
                <a:latin typeface="Arial"/>
                <a:ea typeface="Arial"/>
                <a:cs typeface="Arial"/>
                <a:sym typeface="Arial"/>
              </a:endParaRPr>
            </a:p>
          </p:txBody>
        </p:sp>
        <p:pic>
          <p:nvPicPr>
            <p:cNvPr id="3044" name="Google Shape;3044;g805494e7d0_2_86"/>
            <p:cNvPicPr preferRelativeResize="0"/>
            <p:nvPr/>
          </p:nvPicPr>
          <p:blipFill rotWithShape="1">
            <a:blip r:embed="rId5">
              <a:alphaModFix/>
            </a:blip>
            <a:srcRect t="38021" b="38023"/>
            <a:stretch/>
          </p:blipFill>
          <p:spPr>
            <a:xfrm>
              <a:off x="6563946" y="2146675"/>
              <a:ext cx="1662776" cy="397749"/>
            </a:xfrm>
            <a:prstGeom prst="rect">
              <a:avLst/>
            </a:prstGeom>
            <a:noFill/>
            <a:ln>
              <a:noFill/>
            </a:ln>
          </p:spPr>
        </p:pic>
      </p:gr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sp>
        <p:nvSpPr>
          <p:cNvPr id="441" name="Google Shape;441;g8055afce9b_0_695"/>
          <p:cNvSpPr txBox="1"/>
          <p:nvPr/>
        </p:nvSpPr>
        <p:spPr>
          <a:xfrm>
            <a:off x="335998" y="649092"/>
            <a:ext cx="11232600" cy="7221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2400"/>
              <a:buFont typeface="Playfair Display"/>
              <a:buNone/>
            </a:pPr>
            <a:r>
              <a:rPr lang="es-ES" sz="2400" b="0" i="0" u="none" strike="noStrike" cap="none">
                <a:solidFill>
                  <a:schemeClr val="dk1"/>
                </a:solidFill>
                <a:latin typeface="Playfair Display"/>
                <a:ea typeface="Playfair Display"/>
                <a:cs typeface="Playfair Display"/>
                <a:sym typeface="Playfair Display"/>
              </a:rPr>
              <a:t>Proponemos el pilotaje de una app de contact tracing en colaboración con las autoridades sanitarias...</a:t>
            </a:r>
            <a:endParaRPr sz="2400" b="0" i="0" u="none" strike="noStrike" cap="none">
              <a:solidFill>
                <a:schemeClr val="dk1"/>
              </a:solidFill>
              <a:latin typeface="Playfair Display"/>
              <a:ea typeface="Playfair Display"/>
              <a:cs typeface="Playfair Display"/>
              <a:sym typeface="Playfair Display"/>
            </a:endParaRPr>
          </a:p>
        </p:txBody>
      </p:sp>
      <p:grpSp>
        <p:nvGrpSpPr>
          <p:cNvPr id="442" name="Google Shape;442;g8055afce9b_0_695"/>
          <p:cNvGrpSpPr/>
          <p:nvPr/>
        </p:nvGrpSpPr>
        <p:grpSpPr>
          <a:xfrm>
            <a:off x="5143500" y="2751292"/>
            <a:ext cx="1905000" cy="1905000"/>
            <a:chOff x="4788125" y="2598892"/>
            <a:chExt cx="1905000" cy="1905000"/>
          </a:xfrm>
        </p:grpSpPr>
        <p:pic>
          <p:nvPicPr>
            <p:cNvPr id="443" name="Google Shape;443;g8055afce9b_0_695"/>
            <p:cNvPicPr preferRelativeResize="0"/>
            <p:nvPr/>
          </p:nvPicPr>
          <p:blipFill rotWithShape="1">
            <a:blip r:embed="rId3">
              <a:alphaModFix/>
            </a:blip>
            <a:srcRect/>
            <a:stretch/>
          </p:blipFill>
          <p:spPr>
            <a:xfrm>
              <a:off x="4788125" y="2598892"/>
              <a:ext cx="1905000" cy="1905000"/>
            </a:xfrm>
            <a:prstGeom prst="rect">
              <a:avLst/>
            </a:prstGeom>
            <a:noFill/>
            <a:ln>
              <a:noFill/>
            </a:ln>
          </p:spPr>
        </p:pic>
        <p:sp>
          <p:nvSpPr>
            <p:cNvPr id="444" name="Google Shape;444;g8055afce9b_0_695"/>
            <p:cNvSpPr txBox="1"/>
            <p:nvPr/>
          </p:nvSpPr>
          <p:spPr>
            <a:xfrm>
              <a:off x="5238875" y="3190350"/>
              <a:ext cx="1003500" cy="722100"/>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s-ES" sz="1400" b="0" i="0" u="none" strike="noStrike" cap="none">
                  <a:solidFill>
                    <a:srgbClr val="000000"/>
                  </a:solidFill>
                  <a:latin typeface="Arial"/>
                  <a:ea typeface="Arial"/>
                  <a:cs typeface="Arial"/>
                  <a:sym typeface="Arial"/>
                </a:rPr>
                <a:t>Covid-19 App</a:t>
              </a:r>
              <a:endParaRPr sz="1400" b="0" i="0" u="none" strike="noStrike" cap="none">
                <a:solidFill>
                  <a:srgbClr val="000000"/>
                </a:solidFill>
                <a:latin typeface="Arial"/>
                <a:ea typeface="Arial"/>
                <a:cs typeface="Arial"/>
                <a:sym typeface="Arial"/>
              </a:endParaRPr>
            </a:p>
          </p:txBody>
        </p:sp>
      </p:grpSp>
      <p:sp>
        <p:nvSpPr>
          <p:cNvPr id="445" name="Google Shape;445;g8055afce9b_0_695"/>
          <p:cNvSpPr/>
          <p:nvPr/>
        </p:nvSpPr>
        <p:spPr>
          <a:xfrm>
            <a:off x="645175" y="1553200"/>
            <a:ext cx="4874700" cy="2174400"/>
          </a:xfrm>
          <a:prstGeom prst="roundRect">
            <a:avLst>
              <a:gd name="adj" fmla="val 16667"/>
            </a:avLst>
          </a:prstGeom>
          <a:solidFill>
            <a:srgbClr val="E3F3EF"/>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2100"/>
              <a:buFont typeface="Arial"/>
              <a:buNone/>
            </a:pPr>
            <a:r>
              <a:rPr lang="es-ES" sz="2100" b="0" i="0" u="none" strike="noStrike" cap="none">
                <a:solidFill>
                  <a:srgbClr val="000000"/>
                </a:solidFill>
                <a:latin typeface="Playfair Display"/>
                <a:ea typeface="Playfair Display"/>
                <a:cs typeface="Playfair Display"/>
                <a:sym typeface="Playfair Display"/>
              </a:rPr>
              <a:t>Funcionalidad</a:t>
            </a:r>
            <a:endParaRPr sz="2100" b="0" i="0" u="none" strike="noStrike" cap="none">
              <a:solidFill>
                <a:srgbClr val="000000"/>
              </a:solidFill>
              <a:latin typeface="Playfair Display"/>
              <a:ea typeface="Playfair Display"/>
              <a:cs typeface="Playfair Display"/>
              <a:sym typeface="Playfair Display"/>
            </a:endParaRPr>
          </a:p>
          <a:p>
            <a:pPr marL="457200" marR="0" lvl="0" indent="-330200" algn="l" rtl="0">
              <a:lnSpc>
                <a:spcPct val="100000"/>
              </a:lnSpc>
              <a:spcBef>
                <a:spcPts val="1000"/>
              </a:spcBef>
              <a:spcAft>
                <a:spcPts val="0"/>
              </a:spcAft>
              <a:buClr>
                <a:srgbClr val="000000"/>
              </a:buClr>
              <a:buSzPts val="1600"/>
              <a:buFont typeface="Arial"/>
              <a:buChar char="●"/>
            </a:pPr>
            <a:r>
              <a:rPr lang="es-ES" sz="1600" b="0" i="1" u="none" strike="noStrike" cap="none">
                <a:solidFill>
                  <a:srgbClr val="000000"/>
                </a:solidFill>
                <a:latin typeface="Arial"/>
                <a:ea typeface="Arial"/>
                <a:cs typeface="Arial"/>
                <a:sym typeface="Arial"/>
              </a:rPr>
              <a:t>Contact tracing </a:t>
            </a:r>
            <a:r>
              <a:rPr lang="es-ES" sz="1600" b="0" i="0" u="none" strike="noStrike" cap="none">
                <a:solidFill>
                  <a:srgbClr val="000000"/>
                </a:solidFill>
                <a:latin typeface="Arial"/>
                <a:ea typeface="Arial"/>
                <a:cs typeface="Arial"/>
                <a:sym typeface="Arial"/>
              </a:rPr>
              <a:t>entre dispositivos Bluetooth, con rastreo de cadena de interacciones</a:t>
            </a:r>
            <a:endParaRPr sz="1600" b="0" i="0" u="none" strike="noStrike" cap="none">
              <a:solidFill>
                <a:srgbClr val="000000"/>
              </a:solidFill>
              <a:latin typeface="Arial"/>
              <a:ea typeface="Arial"/>
              <a:cs typeface="Arial"/>
              <a:sym typeface="Arial"/>
            </a:endParaRPr>
          </a:p>
          <a:p>
            <a:pPr marL="457200" marR="0" lvl="0" indent="-330200" algn="l" rtl="0">
              <a:lnSpc>
                <a:spcPct val="100000"/>
              </a:lnSpc>
              <a:spcBef>
                <a:spcPts val="0"/>
              </a:spcBef>
              <a:spcAft>
                <a:spcPts val="0"/>
              </a:spcAft>
              <a:buClr>
                <a:srgbClr val="000000"/>
              </a:buClr>
              <a:buSzPts val="1600"/>
              <a:buFont typeface="Arial"/>
              <a:buChar char="●"/>
            </a:pPr>
            <a:r>
              <a:rPr lang="es-ES" sz="1600" b="0" i="0" u="none" strike="noStrike" cap="none">
                <a:solidFill>
                  <a:schemeClr val="dk1"/>
                </a:solidFill>
                <a:latin typeface="Arial"/>
                <a:ea typeface="Arial"/>
                <a:cs typeface="Arial"/>
                <a:sym typeface="Arial"/>
              </a:rPr>
              <a:t>Validación </a:t>
            </a:r>
            <a:r>
              <a:rPr lang="es-ES" sz="1600" b="0" i="0" u="none" strike="noStrike" cap="none">
                <a:solidFill>
                  <a:srgbClr val="000000"/>
                </a:solidFill>
                <a:latin typeface="Arial"/>
                <a:ea typeface="Arial"/>
                <a:cs typeface="Arial"/>
                <a:sym typeface="Arial"/>
              </a:rPr>
              <a:t>de casos positivos confirmados por los servicios sanitarios </a:t>
            </a:r>
            <a:endParaRPr sz="1600" b="0" i="0" u="none" strike="noStrike" cap="none">
              <a:solidFill>
                <a:srgbClr val="000000"/>
              </a:solidFill>
              <a:latin typeface="Arial"/>
              <a:ea typeface="Arial"/>
              <a:cs typeface="Arial"/>
              <a:sym typeface="Arial"/>
            </a:endParaRPr>
          </a:p>
        </p:txBody>
      </p:sp>
      <p:sp>
        <p:nvSpPr>
          <p:cNvPr id="446" name="Google Shape;446;g8055afce9b_0_695"/>
          <p:cNvSpPr/>
          <p:nvPr/>
        </p:nvSpPr>
        <p:spPr>
          <a:xfrm>
            <a:off x="6693900" y="4014425"/>
            <a:ext cx="4874700" cy="2174400"/>
          </a:xfrm>
          <a:prstGeom prst="roundRect">
            <a:avLst>
              <a:gd name="adj" fmla="val 16667"/>
            </a:avLst>
          </a:prstGeom>
          <a:solidFill>
            <a:srgbClr val="FFFAE5"/>
          </a:solidFill>
          <a:ln>
            <a:noFill/>
          </a:ln>
        </p:spPr>
        <p:txBody>
          <a:bodyPr spcFirstLastPara="1" wrap="square" lIns="91425" tIns="91425" rIns="91425" bIns="91425" anchor="t" anchorCtr="0">
            <a:noAutofit/>
          </a:bodyPr>
          <a:lstStyle/>
          <a:p>
            <a:pPr marL="0" marR="0" lvl="0" indent="0" algn="l" rtl="0">
              <a:lnSpc>
                <a:spcPct val="115000"/>
              </a:lnSpc>
              <a:spcBef>
                <a:spcPts val="0"/>
              </a:spcBef>
              <a:spcAft>
                <a:spcPts val="0"/>
              </a:spcAft>
              <a:buClr>
                <a:srgbClr val="000000"/>
              </a:buClr>
              <a:buSzPts val="2100"/>
              <a:buFont typeface="Arial"/>
              <a:buNone/>
            </a:pPr>
            <a:r>
              <a:rPr lang="es-ES" sz="2100" b="0" i="0" u="none" strike="noStrike" cap="none">
                <a:solidFill>
                  <a:srgbClr val="000000"/>
                </a:solidFill>
                <a:latin typeface="Playfair Display"/>
                <a:ea typeface="Playfair Display"/>
                <a:cs typeface="Playfair Display"/>
                <a:sym typeface="Playfair Display"/>
              </a:rPr>
              <a:t>Aprendizaje</a:t>
            </a:r>
            <a:endParaRPr sz="2100" b="0" i="0" u="none" strike="noStrike" cap="none">
              <a:solidFill>
                <a:srgbClr val="000000"/>
              </a:solidFill>
              <a:latin typeface="Playfair Display"/>
              <a:ea typeface="Playfair Display"/>
              <a:cs typeface="Playfair Display"/>
              <a:sym typeface="Playfair Display"/>
            </a:endParaRPr>
          </a:p>
          <a:p>
            <a:pPr marL="457200" marR="0" lvl="0" indent="-330200" algn="l" rtl="0">
              <a:lnSpc>
                <a:spcPct val="115000"/>
              </a:lnSpc>
              <a:spcBef>
                <a:spcPts val="1000"/>
              </a:spcBef>
              <a:spcAft>
                <a:spcPts val="0"/>
              </a:spcAft>
              <a:buClr>
                <a:srgbClr val="000000"/>
              </a:buClr>
              <a:buSzPts val="1600"/>
              <a:buFont typeface="Arial"/>
              <a:buChar char="●"/>
            </a:pPr>
            <a:r>
              <a:rPr lang="es-ES" sz="1600" b="0" i="0" u="none" strike="noStrike" cap="none">
                <a:solidFill>
                  <a:srgbClr val="000000"/>
                </a:solidFill>
                <a:latin typeface="Arial"/>
                <a:ea typeface="Arial"/>
                <a:cs typeface="Arial"/>
                <a:sym typeface="Arial"/>
              </a:rPr>
              <a:t>Optimización de capacidad de aprendizaje con diferentes supuestos de información centralizada para reconocer los patrones de contagio</a:t>
            </a:r>
            <a:endParaRPr sz="1400" b="0" i="0" u="none" strike="noStrike" cap="none">
              <a:solidFill>
                <a:srgbClr val="000000"/>
              </a:solidFill>
              <a:latin typeface="Arial"/>
              <a:ea typeface="Arial"/>
              <a:cs typeface="Arial"/>
              <a:sym typeface="Arial"/>
            </a:endParaRPr>
          </a:p>
        </p:txBody>
      </p:sp>
      <p:sp>
        <p:nvSpPr>
          <p:cNvPr id="447" name="Google Shape;447;g8055afce9b_0_695"/>
          <p:cNvSpPr/>
          <p:nvPr/>
        </p:nvSpPr>
        <p:spPr>
          <a:xfrm>
            <a:off x="6693900" y="1553200"/>
            <a:ext cx="4874700" cy="2174400"/>
          </a:xfrm>
          <a:prstGeom prst="roundRect">
            <a:avLst>
              <a:gd name="adj" fmla="val 16667"/>
            </a:avLst>
          </a:prstGeom>
          <a:solidFill>
            <a:srgbClr val="FDEDE0"/>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2100"/>
              <a:buFont typeface="Arial"/>
              <a:buNone/>
            </a:pPr>
            <a:r>
              <a:rPr lang="es-ES" sz="2100" b="0" i="0" u="none" strike="noStrike" cap="none">
                <a:solidFill>
                  <a:srgbClr val="000000"/>
                </a:solidFill>
                <a:latin typeface="Playfair Display"/>
                <a:ea typeface="Playfair Display"/>
                <a:cs typeface="Playfair Display"/>
                <a:sym typeface="Playfair Display"/>
              </a:rPr>
              <a:t>Adopción de la app</a:t>
            </a:r>
            <a:endParaRPr sz="2100" b="0" i="0" u="none" strike="noStrike" cap="none">
              <a:solidFill>
                <a:srgbClr val="000000"/>
              </a:solidFill>
              <a:latin typeface="Playfair Display"/>
              <a:ea typeface="Playfair Display"/>
              <a:cs typeface="Playfair Display"/>
              <a:sym typeface="Playfair Display"/>
            </a:endParaRPr>
          </a:p>
          <a:p>
            <a:pPr marL="457200" marR="0" lvl="0" indent="-330200" algn="l" rtl="0">
              <a:lnSpc>
                <a:spcPct val="115000"/>
              </a:lnSpc>
              <a:spcBef>
                <a:spcPts val="1000"/>
              </a:spcBef>
              <a:spcAft>
                <a:spcPts val="0"/>
              </a:spcAft>
              <a:buClr>
                <a:srgbClr val="000000"/>
              </a:buClr>
              <a:buSzPts val="1600"/>
              <a:buFont typeface="Arial"/>
              <a:buChar char="●"/>
            </a:pPr>
            <a:r>
              <a:rPr lang="es-ES" sz="1600" b="0" i="0" u="none" strike="noStrike" cap="none">
                <a:solidFill>
                  <a:srgbClr val="000000"/>
                </a:solidFill>
                <a:latin typeface="Arial"/>
                <a:ea typeface="Arial"/>
                <a:cs typeface="Arial"/>
                <a:sym typeface="Arial"/>
              </a:rPr>
              <a:t>Testeo de funcionalidad multidispositivo</a:t>
            </a:r>
            <a:endParaRPr sz="1600" b="0" i="0" u="none" strike="noStrike" cap="none">
              <a:solidFill>
                <a:srgbClr val="000000"/>
              </a:solidFill>
              <a:latin typeface="Arial"/>
              <a:ea typeface="Arial"/>
              <a:cs typeface="Arial"/>
              <a:sym typeface="Arial"/>
            </a:endParaRPr>
          </a:p>
          <a:p>
            <a:pPr marL="457200" marR="0" lvl="0" indent="-330200" algn="l" rtl="0">
              <a:lnSpc>
                <a:spcPct val="115000"/>
              </a:lnSpc>
              <a:spcBef>
                <a:spcPts val="0"/>
              </a:spcBef>
              <a:spcAft>
                <a:spcPts val="0"/>
              </a:spcAft>
              <a:buClr>
                <a:srgbClr val="000000"/>
              </a:buClr>
              <a:buSzPts val="1600"/>
              <a:buFont typeface="Arial"/>
              <a:buChar char="●"/>
            </a:pPr>
            <a:r>
              <a:rPr lang="es-ES" sz="1600" b="0" i="0" u="none" strike="noStrike" cap="none">
                <a:solidFill>
                  <a:srgbClr val="000000"/>
                </a:solidFill>
                <a:latin typeface="Arial"/>
                <a:ea typeface="Arial"/>
                <a:cs typeface="Arial"/>
                <a:sym typeface="Arial"/>
              </a:rPr>
              <a:t>Optimización de la adopción: </a:t>
            </a:r>
            <a:endParaRPr sz="1600" b="0" i="0" u="none" strike="noStrike" cap="none">
              <a:solidFill>
                <a:srgbClr val="000000"/>
              </a:solidFill>
              <a:latin typeface="Arial"/>
              <a:ea typeface="Arial"/>
              <a:cs typeface="Arial"/>
              <a:sym typeface="Arial"/>
            </a:endParaRPr>
          </a:p>
          <a:p>
            <a:pPr marL="914400" marR="0" lvl="1" indent="-330200" algn="l" rtl="0">
              <a:lnSpc>
                <a:spcPct val="115000"/>
              </a:lnSpc>
              <a:spcBef>
                <a:spcPts val="0"/>
              </a:spcBef>
              <a:spcAft>
                <a:spcPts val="0"/>
              </a:spcAft>
              <a:buClr>
                <a:srgbClr val="000000"/>
              </a:buClr>
              <a:buSzPts val="1600"/>
              <a:buFont typeface="Arial"/>
              <a:buChar char="○"/>
            </a:pPr>
            <a:r>
              <a:rPr lang="es-ES" sz="1600" b="0" i="0" u="none" strike="noStrike" cap="none">
                <a:solidFill>
                  <a:srgbClr val="000000"/>
                </a:solidFill>
                <a:latin typeface="Arial"/>
                <a:ea typeface="Arial"/>
                <a:cs typeface="Arial"/>
                <a:sym typeface="Arial"/>
              </a:rPr>
              <a:t>Diseño de campaña promocional </a:t>
            </a:r>
            <a:endParaRPr sz="1600" b="0" i="0" u="none" strike="noStrike" cap="none">
              <a:solidFill>
                <a:srgbClr val="000000"/>
              </a:solidFill>
              <a:latin typeface="Arial"/>
              <a:ea typeface="Arial"/>
              <a:cs typeface="Arial"/>
              <a:sym typeface="Arial"/>
            </a:endParaRPr>
          </a:p>
          <a:p>
            <a:pPr marL="914400" marR="0" lvl="1" indent="-330200" algn="l" rtl="0">
              <a:lnSpc>
                <a:spcPct val="115000"/>
              </a:lnSpc>
              <a:spcBef>
                <a:spcPts val="0"/>
              </a:spcBef>
              <a:spcAft>
                <a:spcPts val="0"/>
              </a:spcAft>
              <a:buClr>
                <a:srgbClr val="000000"/>
              </a:buClr>
              <a:buSzPts val="1600"/>
              <a:buFont typeface="Arial"/>
              <a:buChar char="○"/>
            </a:pPr>
            <a:r>
              <a:rPr lang="es-ES" sz="1600" b="0" i="0" u="none" strike="noStrike" cap="none">
                <a:solidFill>
                  <a:srgbClr val="000000"/>
                </a:solidFill>
                <a:latin typeface="Arial"/>
                <a:ea typeface="Arial"/>
                <a:cs typeface="Arial"/>
                <a:sym typeface="Arial"/>
              </a:rPr>
              <a:t>Diseño UX para minimizar barreras de entrada</a:t>
            </a:r>
            <a:endParaRPr sz="1600" b="0" i="0" u="none" strike="noStrike" cap="none">
              <a:solidFill>
                <a:srgbClr val="000000"/>
              </a:solidFill>
              <a:latin typeface="Arial"/>
              <a:ea typeface="Arial"/>
              <a:cs typeface="Arial"/>
              <a:sym typeface="Arial"/>
            </a:endParaRPr>
          </a:p>
        </p:txBody>
      </p:sp>
      <p:sp>
        <p:nvSpPr>
          <p:cNvPr id="448" name="Google Shape;448;g8055afce9b_0_695"/>
          <p:cNvSpPr/>
          <p:nvPr/>
        </p:nvSpPr>
        <p:spPr>
          <a:xfrm>
            <a:off x="645175" y="4014425"/>
            <a:ext cx="4874700" cy="2174400"/>
          </a:xfrm>
          <a:prstGeom prst="roundRect">
            <a:avLst>
              <a:gd name="adj" fmla="val 16667"/>
            </a:avLst>
          </a:prstGeom>
          <a:solidFill>
            <a:srgbClr val="E9E2F8"/>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2100"/>
              <a:buFont typeface="Arial"/>
              <a:buNone/>
            </a:pPr>
            <a:r>
              <a:rPr lang="es-ES" sz="2100" b="0" i="0" u="none" strike="noStrike" cap="none">
                <a:solidFill>
                  <a:srgbClr val="000000"/>
                </a:solidFill>
                <a:latin typeface="Playfair Display"/>
                <a:ea typeface="Playfair Display"/>
                <a:cs typeface="Playfair Display"/>
                <a:sym typeface="Playfair Display"/>
              </a:rPr>
              <a:t>Arquitectura y seguridad</a:t>
            </a:r>
            <a:endParaRPr sz="2100" b="0" i="0" u="none" strike="noStrike" cap="none">
              <a:solidFill>
                <a:srgbClr val="000000"/>
              </a:solidFill>
              <a:latin typeface="Playfair Display"/>
              <a:ea typeface="Playfair Display"/>
              <a:cs typeface="Playfair Display"/>
              <a:sym typeface="Playfair Display"/>
            </a:endParaRPr>
          </a:p>
          <a:p>
            <a:pPr marL="457200" marR="0" lvl="0" indent="-330200" algn="l" rtl="0">
              <a:lnSpc>
                <a:spcPct val="100000"/>
              </a:lnSpc>
              <a:spcBef>
                <a:spcPts val="1000"/>
              </a:spcBef>
              <a:spcAft>
                <a:spcPts val="0"/>
              </a:spcAft>
              <a:buClr>
                <a:srgbClr val="000000"/>
              </a:buClr>
              <a:buSzPts val="1600"/>
              <a:buFont typeface="Arial"/>
              <a:buChar char="●"/>
            </a:pPr>
            <a:r>
              <a:rPr lang="es-ES" sz="1600" b="0" i="0" u="none" strike="noStrike" cap="none">
                <a:solidFill>
                  <a:srgbClr val="000000"/>
                </a:solidFill>
                <a:latin typeface="Arial"/>
                <a:ea typeface="Arial"/>
                <a:cs typeface="Arial"/>
                <a:sym typeface="Arial"/>
              </a:rPr>
              <a:t>Análisis de la interoperatividad e integración con servicios de salud para la certificación de casos confirmados</a:t>
            </a:r>
            <a:endParaRPr sz="1600" b="0" i="0" u="none" strike="noStrike" cap="none">
              <a:solidFill>
                <a:srgbClr val="000000"/>
              </a:solidFill>
              <a:latin typeface="Arial"/>
              <a:ea typeface="Arial"/>
              <a:cs typeface="Arial"/>
              <a:sym typeface="Arial"/>
            </a:endParaRPr>
          </a:p>
          <a:p>
            <a:pPr marL="457200" marR="0" lvl="0" indent="-330200" algn="l" rtl="0">
              <a:lnSpc>
                <a:spcPct val="100000"/>
              </a:lnSpc>
              <a:spcBef>
                <a:spcPts val="0"/>
              </a:spcBef>
              <a:spcAft>
                <a:spcPts val="0"/>
              </a:spcAft>
              <a:buClr>
                <a:srgbClr val="000000"/>
              </a:buClr>
              <a:buSzPts val="1600"/>
              <a:buFont typeface="Arial"/>
              <a:buChar char="●"/>
            </a:pPr>
            <a:r>
              <a:rPr lang="es-ES" sz="1600" b="0" i="0" u="none" strike="noStrike" cap="none">
                <a:solidFill>
                  <a:srgbClr val="000000"/>
                </a:solidFill>
                <a:latin typeface="Arial"/>
                <a:ea typeface="Arial"/>
                <a:cs typeface="Arial"/>
                <a:sym typeface="Arial"/>
              </a:rPr>
              <a:t>Auditoría de privacidad/ciberseguridad</a:t>
            </a:r>
            <a:endParaRPr sz="1600" b="0" i="0" u="none" strike="noStrike" cap="none">
              <a:solidFill>
                <a:srgbClr val="000000"/>
              </a:solidFill>
              <a:latin typeface="Arial"/>
              <a:ea typeface="Arial"/>
              <a:cs typeface="Arial"/>
              <a:sym typeface="Arial"/>
            </a:endParaRPr>
          </a:p>
        </p:txBody>
      </p:sp>
      <p:sp>
        <p:nvSpPr>
          <p:cNvPr id="449" name="Google Shape;449;g8055afce9b_0_695"/>
          <p:cNvSpPr txBox="1">
            <a:spLocks noGrp="1"/>
          </p:cNvSpPr>
          <p:nvPr>
            <p:ph type="body" idx="1"/>
          </p:nvPr>
        </p:nvSpPr>
        <p:spPr>
          <a:xfrm>
            <a:off x="336000" y="128400"/>
            <a:ext cx="11519400" cy="251400"/>
          </a:xfrm>
          <a:prstGeom prst="rect">
            <a:avLst/>
          </a:prstGeom>
          <a:noFill/>
          <a:ln>
            <a:noFill/>
          </a:ln>
        </p:spPr>
        <p:txBody>
          <a:bodyPr spcFirstLastPara="1" wrap="square" lIns="0" tIns="45700" rIns="91425" bIns="45700" anchor="t" anchorCtr="0">
            <a:noAutofit/>
          </a:bodyPr>
          <a:lstStyle/>
          <a:p>
            <a:pPr marL="0" lvl="0" indent="0" algn="l" rtl="0">
              <a:lnSpc>
                <a:spcPct val="90000"/>
              </a:lnSpc>
              <a:spcBef>
                <a:spcPts val="0"/>
              </a:spcBef>
              <a:spcAft>
                <a:spcPts val="0"/>
              </a:spcAft>
              <a:buClr>
                <a:srgbClr val="1A3B47"/>
              </a:buClr>
              <a:buSzPts val="1400"/>
              <a:buNone/>
            </a:pPr>
            <a:r>
              <a:rPr lang="en-US" sz="1400" dirty="0" smtClean="0">
                <a:latin typeface="Playfair Display"/>
                <a:ea typeface="Playfair Display"/>
                <a:cs typeface="Playfair Display"/>
                <a:sym typeface="Playfair Display"/>
              </a:rPr>
              <a:t>Covid-19 app - </a:t>
            </a:r>
            <a:r>
              <a:rPr lang="en-US" sz="1400" dirty="0" err="1" smtClean="0">
                <a:latin typeface="Playfair Display"/>
                <a:ea typeface="Playfair Display"/>
                <a:cs typeface="Playfair Display"/>
                <a:sym typeface="Playfair Display"/>
              </a:rPr>
              <a:t>Piloto</a:t>
            </a:r>
            <a:r>
              <a:rPr lang="en-US" sz="1400" dirty="0" smtClean="0">
                <a:latin typeface="Playfair Display"/>
                <a:ea typeface="Playfair Display"/>
                <a:cs typeface="Playfair Display"/>
                <a:sym typeface="Playfair Display"/>
              </a:rPr>
              <a:t> App Contact Tracing Covid-19 </a:t>
            </a:r>
            <a:endParaRPr dirty="0"/>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3048"/>
        <p:cNvGrpSpPr/>
        <p:nvPr/>
      </p:nvGrpSpPr>
      <p:grpSpPr>
        <a:xfrm>
          <a:off x="0" y="0"/>
          <a:ext cx="0" cy="0"/>
          <a:chOff x="0" y="0"/>
          <a:chExt cx="0" cy="0"/>
        </a:xfrm>
      </p:grpSpPr>
      <p:pic>
        <p:nvPicPr>
          <p:cNvPr id="3049" name="Google Shape;3049;p9"/>
          <p:cNvPicPr preferRelativeResize="0"/>
          <p:nvPr/>
        </p:nvPicPr>
        <p:blipFill rotWithShape="1">
          <a:blip r:embed="rId3">
            <a:alphaModFix/>
          </a:blip>
          <a:srcRect/>
          <a:stretch/>
        </p:blipFill>
        <p:spPr>
          <a:xfrm>
            <a:off x="3537014" y="2585145"/>
            <a:ext cx="5094279" cy="3063337"/>
          </a:xfrm>
          <a:prstGeom prst="rect">
            <a:avLst/>
          </a:prstGeom>
          <a:noFill/>
          <a:ln>
            <a:noFill/>
          </a:ln>
        </p:spPr>
      </p:pic>
      <p:sp>
        <p:nvSpPr>
          <p:cNvPr id="3050" name="Google Shape;3050;p9"/>
          <p:cNvSpPr/>
          <p:nvPr/>
        </p:nvSpPr>
        <p:spPr>
          <a:xfrm>
            <a:off x="5974813" y="3244398"/>
            <a:ext cx="242374" cy="36920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799"/>
              <a:buFont typeface="Arial"/>
              <a:buNone/>
            </a:pPr>
            <a:r>
              <a:rPr lang="es-ES" sz="1799" b="0" i="0" u="none" strike="noStrike" cap="none">
                <a:solidFill>
                  <a:srgbClr val="000000"/>
                </a:solidFill>
                <a:latin typeface="Times New Roman"/>
                <a:ea typeface="Times New Roman"/>
                <a:cs typeface="Times New Roman"/>
                <a:sym typeface="Times New Roman"/>
              </a:rPr>
              <a:t> </a:t>
            </a:r>
            <a:endParaRPr sz="1799" b="0" i="0" u="none" strike="noStrike" cap="none">
              <a:solidFill>
                <a:schemeClr val="dk1"/>
              </a:solidFill>
              <a:latin typeface="Arial"/>
              <a:ea typeface="Arial"/>
              <a:cs typeface="Arial"/>
              <a:sym typeface="Arial"/>
            </a:endParaRPr>
          </a:p>
        </p:txBody>
      </p:sp>
      <p:sp>
        <p:nvSpPr>
          <p:cNvPr id="3051" name="Google Shape;3051;p9"/>
          <p:cNvSpPr/>
          <p:nvPr/>
        </p:nvSpPr>
        <p:spPr>
          <a:xfrm>
            <a:off x="5974813" y="3244398"/>
            <a:ext cx="242374" cy="36920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799"/>
              <a:buFont typeface="Arial"/>
              <a:buNone/>
            </a:pPr>
            <a:r>
              <a:rPr lang="es-ES" sz="1799" b="0" i="0" u="none" strike="noStrike" cap="none">
                <a:solidFill>
                  <a:srgbClr val="000000"/>
                </a:solidFill>
                <a:latin typeface="Times New Roman"/>
                <a:ea typeface="Times New Roman"/>
                <a:cs typeface="Times New Roman"/>
                <a:sym typeface="Times New Roman"/>
              </a:rPr>
              <a:t> </a:t>
            </a:r>
            <a:endParaRPr sz="1799" b="0" i="0" u="none" strike="noStrike" cap="none">
              <a:solidFill>
                <a:schemeClr val="dk1"/>
              </a:solidFill>
              <a:latin typeface="Arial"/>
              <a:ea typeface="Arial"/>
              <a:cs typeface="Arial"/>
              <a:sym typeface="Aria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453"/>
        <p:cNvGrpSpPr/>
        <p:nvPr/>
      </p:nvGrpSpPr>
      <p:grpSpPr>
        <a:xfrm>
          <a:off x="0" y="0"/>
          <a:ext cx="0" cy="0"/>
          <a:chOff x="0" y="0"/>
          <a:chExt cx="0" cy="0"/>
        </a:xfrm>
      </p:grpSpPr>
      <p:sp>
        <p:nvSpPr>
          <p:cNvPr id="454" name="Google Shape;454;g8055afce9b_0_707"/>
          <p:cNvSpPr txBox="1"/>
          <p:nvPr/>
        </p:nvSpPr>
        <p:spPr>
          <a:xfrm>
            <a:off x="335998" y="649092"/>
            <a:ext cx="11232600" cy="7221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2400"/>
              <a:buFont typeface="Playfair Display"/>
              <a:buNone/>
            </a:pPr>
            <a:r>
              <a:rPr lang="es-ES" sz="2400" b="0" i="0" u="none" strike="noStrike" cap="none" dirty="0">
                <a:solidFill>
                  <a:schemeClr val="dk1"/>
                </a:solidFill>
                <a:latin typeface="Playfair Display"/>
                <a:ea typeface="Playfair Display"/>
                <a:cs typeface="Playfair Display"/>
                <a:sym typeface="Playfair Display"/>
              </a:rPr>
              <a:t>… con un enfoque evolutivo bajo metodología iterativa y de experimentación</a:t>
            </a:r>
            <a:endParaRPr sz="2400" b="0" i="0" u="none" strike="noStrike" cap="none" dirty="0">
              <a:solidFill>
                <a:schemeClr val="dk1"/>
              </a:solidFill>
              <a:latin typeface="Playfair Display"/>
              <a:ea typeface="Playfair Display"/>
              <a:cs typeface="Playfair Display"/>
              <a:sym typeface="Playfair Display"/>
            </a:endParaRPr>
          </a:p>
        </p:txBody>
      </p:sp>
      <p:sp>
        <p:nvSpPr>
          <p:cNvPr id="455" name="Google Shape;455;g8055afce9b_0_707"/>
          <p:cNvSpPr txBox="1">
            <a:spLocks noGrp="1"/>
          </p:cNvSpPr>
          <p:nvPr>
            <p:ph type="body" idx="1"/>
          </p:nvPr>
        </p:nvSpPr>
        <p:spPr>
          <a:xfrm>
            <a:off x="336000" y="128400"/>
            <a:ext cx="11519400" cy="251400"/>
          </a:xfrm>
          <a:prstGeom prst="rect">
            <a:avLst/>
          </a:prstGeom>
          <a:noFill/>
          <a:ln>
            <a:noFill/>
          </a:ln>
        </p:spPr>
        <p:txBody>
          <a:bodyPr spcFirstLastPara="1" wrap="square" lIns="0" tIns="45700" rIns="91425" bIns="45700" anchor="t" anchorCtr="0">
            <a:noAutofit/>
          </a:bodyPr>
          <a:lstStyle/>
          <a:p>
            <a:pPr marL="0" lvl="0" indent="0" algn="l" rtl="0">
              <a:lnSpc>
                <a:spcPct val="90000"/>
              </a:lnSpc>
              <a:spcBef>
                <a:spcPts val="0"/>
              </a:spcBef>
              <a:spcAft>
                <a:spcPts val="0"/>
              </a:spcAft>
              <a:buClr>
                <a:srgbClr val="1A3B47"/>
              </a:buClr>
              <a:buSzPts val="1400"/>
              <a:buNone/>
            </a:pPr>
            <a:r>
              <a:rPr lang="en-US" sz="1400" dirty="0" smtClean="0">
                <a:latin typeface="Playfair Display"/>
                <a:ea typeface="Playfair Display"/>
                <a:cs typeface="Playfair Display"/>
                <a:sym typeface="Playfair Display"/>
              </a:rPr>
              <a:t>Covid-19 app - </a:t>
            </a:r>
            <a:r>
              <a:rPr lang="en-US" sz="1400" dirty="0" err="1" smtClean="0">
                <a:latin typeface="Playfair Display"/>
                <a:ea typeface="Playfair Display"/>
                <a:cs typeface="Playfair Display"/>
                <a:sym typeface="Playfair Display"/>
              </a:rPr>
              <a:t>Piloto</a:t>
            </a:r>
            <a:r>
              <a:rPr lang="en-US" sz="1400" dirty="0" smtClean="0">
                <a:latin typeface="Playfair Display"/>
                <a:ea typeface="Playfair Display"/>
                <a:cs typeface="Playfair Display"/>
                <a:sym typeface="Playfair Display"/>
              </a:rPr>
              <a:t> App Contact Tracing Covid-19 </a:t>
            </a:r>
            <a:endParaRPr dirty="0"/>
          </a:p>
        </p:txBody>
      </p:sp>
      <p:sp>
        <p:nvSpPr>
          <p:cNvPr id="456" name="Google Shape;456;g8055afce9b_0_707"/>
          <p:cNvSpPr/>
          <p:nvPr/>
        </p:nvSpPr>
        <p:spPr>
          <a:xfrm flipH="1">
            <a:off x="7451374" y="2448997"/>
            <a:ext cx="4881313" cy="4694026"/>
          </a:xfrm>
          <a:custGeom>
            <a:avLst/>
            <a:gdLst/>
            <a:ahLst/>
            <a:cxnLst/>
            <a:rect l="l" t="t" r="r" b="b"/>
            <a:pathLst>
              <a:path w="2173" h="963" extrusionOk="0">
                <a:moveTo>
                  <a:pt x="2173" y="963"/>
                </a:moveTo>
                <a:lnTo>
                  <a:pt x="2173" y="0"/>
                </a:lnTo>
                <a:lnTo>
                  <a:pt x="0" y="0"/>
                </a:lnTo>
              </a:path>
            </a:pathLst>
          </a:custGeom>
          <a:solidFill>
            <a:srgbClr val="E3F3EF"/>
          </a:solidFill>
          <a:ln w="22225" cap="flat" cmpd="sng">
            <a:solidFill>
              <a:schemeClr val="accent4"/>
            </a:solidFill>
            <a:prstDash val="solid"/>
            <a:round/>
            <a:headEnd type="none" w="sm" len="sm"/>
            <a:tailEnd type="none" w="sm" len="sm"/>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799"/>
              <a:buFont typeface="Arial"/>
              <a:buNone/>
            </a:pPr>
            <a:endParaRPr sz="1799" b="0" i="0" u="none" strike="noStrike" cap="none">
              <a:solidFill>
                <a:schemeClr val="dk1"/>
              </a:solidFill>
              <a:latin typeface="Arial"/>
              <a:ea typeface="Arial"/>
              <a:cs typeface="Arial"/>
              <a:sym typeface="Arial"/>
            </a:endParaRPr>
          </a:p>
        </p:txBody>
      </p:sp>
      <p:sp>
        <p:nvSpPr>
          <p:cNvPr id="457" name="Google Shape;457;g8055afce9b_0_707"/>
          <p:cNvSpPr/>
          <p:nvPr/>
        </p:nvSpPr>
        <p:spPr>
          <a:xfrm>
            <a:off x="8181124" y="1969095"/>
            <a:ext cx="1907700" cy="3078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000"/>
              <a:buFont typeface="Arial"/>
              <a:buNone/>
            </a:pPr>
            <a:r>
              <a:rPr lang="es-ES" sz="2000" b="0" i="0" u="none" strike="noStrike" cap="none">
                <a:solidFill>
                  <a:schemeClr val="dk1"/>
                </a:solidFill>
                <a:latin typeface="Playfair Display"/>
                <a:ea typeface="Playfair Display"/>
                <a:cs typeface="Playfair Display"/>
                <a:sym typeface="Playfair Display"/>
              </a:rPr>
              <a:t>Líneas de acción</a:t>
            </a:r>
            <a:endParaRPr sz="2000" b="0" i="0" u="none" strike="noStrike" cap="none">
              <a:solidFill>
                <a:schemeClr val="dk1"/>
              </a:solidFill>
              <a:latin typeface="Playfair Display"/>
              <a:ea typeface="Playfair Display"/>
              <a:cs typeface="Playfair Display"/>
              <a:sym typeface="Playfair Display"/>
            </a:endParaRPr>
          </a:p>
        </p:txBody>
      </p:sp>
      <p:sp>
        <p:nvSpPr>
          <p:cNvPr id="458" name="Google Shape;458;g8055afce9b_0_707"/>
          <p:cNvSpPr/>
          <p:nvPr/>
        </p:nvSpPr>
        <p:spPr>
          <a:xfrm>
            <a:off x="7766627" y="2620513"/>
            <a:ext cx="3987300" cy="3908700"/>
          </a:xfrm>
          <a:prstGeom prst="rect">
            <a:avLst/>
          </a:prstGeom>
          <a:noFill/>
          <a:ln>
            <a:noFill/>
          </a:ln>
        </p:spPr>
        <p:txBody>
          <a:bodyPr spcFirstLastPara="1" wrap="square" lIns="0" tIns="0" rIns="0" bIns="0" anchor="t" anchorCtr="0">
            <a:noAutofit/>
          </a:bodyPr>
          <a:lstStyle/>
          <a:p>
            <a:pPr marL="1587" marR="0" lvl="1" indent="0" algn="l" rtl="0">
              <a:lnSpc>
                <a:spcPct val="100000"/>
              </a:lnSpc>
              <a:spcBef>
                <a:spcPts val="0"/>
              </a:spcBef>
              <a:spcAft>
                <a:spcPts val="0"/>
              </a:spcAft>
              <a:buClr>
                <a:schemeClr val="dk1"/>
              </a:buClr>
              <a:buSzPts val="1100"/>
              <a:buFont typeface="Arial"/>
              <a:buNone/>
            </a:pPr>
            <a:r>
              <a:rPr lang="es-ES" sz="1100" b="0" i="0" u="none" strike="noStrike" cap="none" dirty="0">
                <a:solidFill>
                  <a:schemeClr val="dk1"/>
                </a:solidFill>
                <a:latin typeface="Arial"/>
                <a:ea typeface="Arial"/>
                <a:cs typeface="Arial"/>
                <a:sym typeface="Arial"/>
              </a:rPr>
              <a:t>Tanto el diseño y creación del MVP como su posterior evolución funcional se desarrollará en función de estas líneas de acción:</a:t>
            </a:r>
            <a:endParaRPr sz="1100" b="1" i="0" u="none" strike="noStrike" cap="none" dirty="0">
              <a:solidFill>
                <a:schemeClr val="dk1"/>
              </a:solidFill>
              <a:latin typeface="Arial"/>
              <a:ea typeface="Arial"/>
              <a:cs typeface="Arial"/>
              <a:sym typeface="Arial"/>
            </a:endParaRPr>
          </a:p>
          <a:p>
            <a:pPr marL="344487" marR="0" lvl="1" indent="-342900" algn="l" rtl="0">
              <a:lnSpc>
                <a:spcPct val="100000"/>
              </a:lnSpc>
              <a:spcBef>
                <a:spcPts val="600"/>
              </a:spcBef>
              <a:spcAft>
                <a:spcPts val="0"/>
              </a:spcAft>
              <a:buClr>
                <a:schemeClr val="dk1"/>
              </a:buClr>
              <a:buSzPts val="1200"/>
              <a:buFont typeface="Playfair Display"/>
              <a:buAutoNum type="arabicPeriod"/>
            </a:pPr>
            <a:r>
              <a:rPr lang="es-ES" sz="1200" b="1" i="0" u="none" strike="noStrike" cap="none" dirty="0">
                <a:solidFill>
                  <a:schemeClr val="dk1"/>
                </a:solidFill>
                <a:latin typeface="Arial"/>
                <a:ea typeface="Arial"/>
                <a:cs typeface="Arial"/>
                <a:sym typeface="Arial"/>
              </a:rPr>
              <a:t>Optimización de la privacidad/seguridad</a:t>
            </a:r>
            <a:r>
              <a:rPr lang="es-ES" sz="1200" b="0" i="0" u="none" strike="noStrike" cap="none" dirty="0">
                <a:solidFill>
                  <a:schemeClr val="dk1"/>
                </a:solidFill>
                <a:latin typeface="Arial"/>
                <a:ea typeface="Arial"/>
                <a:cs typeface="Arial"/>
                <a:sym typeface="Arial"/>
              </a:rPr>
              <a:t>. </a:t>
            </a:r>
            <a:r>
              <a:rPr lang="es-ES" sz="1100" b="0" i="0" u="none" strike="noStrike" cap="none" dirty="0">
                <a:solidFill>
                  <a:schemeClr val="dk1"/>
                </a:solidFill>
                <a:latin typeface="Arial"/>
                <a:ea typeface="Arial"/>
                <a:cs typeface="Arial"/>
                <a:sym typeface="Arial"/>
              </a:rPr>
              <a:t>Evitar almacenar datos personales del usuario, especialmente los que sean identificativos, y asegurar políticas de protección de los datos y robustez</a:t>
            </a:r>
            <a:endParaRPr sz="1400" b="0" i="0" u="none" strike="sngStrike" cap="none" dirty="0">
              <a:solidFill>
                <a:schemeClr val="dk1"/>
              </a:solidFill>
              <a:latin typeface="Arial"/>
              <a:ea typeface="Arial"/>
              <a:cs typeface="Arial"/>
              <a:sym typeface="Arial"/>
            </a:endParaRPr>
          </a:p>
          <a:p>
            <a:pPr marL="344487" lvl="1" indent="-342900">
              <a:spcBef>
                <a:spcPts val="600"/>
              </a:spcBef>
              <a:buClr>
                <a:schemeClr val="dk1"/>
              </a:buClr>
              <a:buSzPts val="1200"/>
              <a:buFont typeface="Playfair Display"/>
              <a:buAutoNum type="arabicPeriod"/>
            </a:pPr>
            <a:r>
              <a:rPr lang="es-ES" sz="1200" b="1" dirty="0">
                <a:solidFill>
                  <a:schemeClr val="dk1"/>
                </a:solidFill>
              </a:rPr>
              <a:t>Optimización de la adopción</a:t>
            </a:r>
            <a:r>
              <a:rPr lang="es-ES" sz="1200" dirty="0">
                <a:solidFill>
                  <a:schemeClr val="dk1"/>
                </a:solidFill>
              </a:rPr>
              <a:t>. De cara a maximizar su efectividad, la aplicación depende del efecto red, que se impulsará mediante estrategia de </a:t>
            </a:r>
            <a:r>
              <a:rPr lang="es-ES" sz="1200" dirty="0" err="1">
                <a:solidFill>
                  <a:schemeClr val="dk1"/>
                </a:solidFill>
              </a:rPr>
              <a:t>User</a:t>
            </a:r>
            <a:r>
              <a:rPr lang="es-ES" sz="1200" dirty="0">
                <a:solidFill>
                  <a:schemeClr val="dk1"/>
                </a:solidFill>
              </a:rPr>
              <a:t> Experience</a:t>
            </a:r>
          </a:p>
          <a:p>
            <a:pPr marL="344487" marR="0" lvl="1" indent="-342900" algn="l" rtl="0">
              <a:lnSpc>
                <a:spcPct val="100000"/>
              </a:lnSpc>
              <a:spcBef>
                <a:spcPts val="600"/>
              </a:spcBef>
              <a:spcAft>
                <a:spcPts val="0"/>
              </a:spcAft>
              <a:buClr>
                <a:schemeClr val="dk1"/>
              </a:buClr>
              <a:buSzPts val="1200"/>
              <a:buFont typeface="Playfair Display"/>
              <a:buAutoNum type="arabicPeriod" startAt="3"/>
            </a:pPr>
            <a:r>
              <a:rPr lang="es-ES" sz="1200" b="1" i="0" u="none" strike="noStrike" cap="none" dirty="0" smtClean="0">
                <a:solidFill>
                  <a:schemeClr val="dk1"/>
                </a:solidFill>
                <a:latin typeface="Arial"/>
                <a:ea typeface="Arial"/>
                <a:cs typeface="Arial"/>
                <a:sym typeface="Arial"/>
              </a:rPr>
              <a:t>Optimización </a:t>
            </a:r>
            <a:r>
              <a:rPr lang="es-ES" sz="1200" b="1" i="0" u="none" strike="noStrike" cap="none" dirty="0">
                <a:solidFill>
                  <a:schemeClr val="dk1"/>
                </a:solidFill>
                <a:latin typeface="Arial"/>
                <a:ea typeface="Arial"/>
                <a:cs typeface="Arial"/>
                <a:sym typeface="Arial"/>
              </a:rPr>
              <a:t>de la capacidad de aprendizaje</a:t>
            </a:r>
            <a:r>
              <a:rPr lang="es-ES" sz="1200" b="0" i="0" u="none" strike="noStrike" cap="none" dirty="0">
                <a:solidFill>
                  <a:schemeClr val="dk1"/>
                </a:solidFill>
                <a:latin typeface="Arial"/>
                <a:ea typeface="Arial"/>
                <a:cs typeface="Arial"/>
                <a:sym typeface="Arial"/>
              </a:rPr>
              <a:t>. </a:t>
            </a:r>
            <a:r>
              <a:rPr lang="es-ES" sz="1100" b="0" i="0" u="none" strike="noStrike" cap="none" dirty="0">
                <a:solidFill>
                  <a:schemeClr val="dk1"/>
                </a:solidFill>
                <a:latin typeface="Arial"/>
                <a:ea typeface="Arial"/>
                <a:cs typeface="Arial"/>
                <a:sym typeface="Arial"/>
              </a:rPr>
              <a:t>Laboratorio de análisis epidemiológico en  función de resultados de la app*</a:t>
            </a:r>
            <a:endParaRPr sz="1100" b="0" i="0" u="none" strike="noStrike" cap="none" dirty="0">
              <a:solidFill>
                <a:schemeClr val="dk1"/>
              </a:solidFill>
              <a:latin typeface="Arial"/>
              <a:ea typeface="Arial"/>
              <a:cs typeface="Arial"/>
              <a:sym typeface="Arial"/>
            </a:endParaRPr>
          </a:p>
          <a:p>
            <a:pPr marL="344487" marR="0" lvl="1" indent="-342900" algn="l" rtl="0">
              <a:lnSpc>
                <a:spcPct val="100000"/>
              </a:lnSpc>
              <a:spcBef>
                <a:spcPts val="600"/>
              </a:spcBef>
              <a:spcAft>
                <a:spcPts val="0"/>
              </a:spcAft>
              <a:buClr>
                <a:schemeClr val="dk1"/>
              </a:buClr>
              <a:buSzPts val="1200"/>
              <a:buFont typeface="Playfair Display"/>
              <a:buAutoNum type="arabicPeriod" startAt="3"/>
            </a:pPr>
            <a:r>
              <a:rPr lang="es-ES" sz="1200" b="1" i="0" u="none" strike="noStrike" cap="none" dirty="0">
                <a:solidFill>
                  <a:schemeClr val="dk1"/>
                </a:solidFill>
                <a:latin typeface="Arial"/>
                <a:ea typeface="Arial"/>
                <a:cs typeface="Arial"/>
                <a:sym typeface="Arial"/>
              </a:rPr>
              <a:t>Optimización de la interoperabilidad</a:t>
            </a:r>
            <a:r>
              <a:rPr lang="es-ES" sz="1200" b="0" i="0" u="none" strike="noStrike" cap="none" dirty="0">
                <a:solidFill>
                  <a:schemeClr val="dk1"/>
                </a:solidFill>
                <a:latin typeface="Arial"/>
                <a:ea typeface="Arial"/>
                <a:cs typeface="Arial"/>
                <a:sym typeface="Arial"/>
              </a:rPr>
              <a:t>. </a:t>
            </a:r>
            <a:r>
              <a:rPr lang="es-ES" sz="1100" b="0" i="0" u="none" strike="noStrike" cap="none" dirty="0">
                <a:solidFill>
                  <a:schemeClr val="dk1"/>
                </a:solidFill>
                <a:latin typeface="Arial"/>
                <a:ea typeface="Arial"/>
                <a:cs typeface="Arial"/>
                <a:sym typeface="Arial"/>
              </a:rPr>
              <a:t>Para maximizar su valor añadido, la evolución de la app contemplará siempre la compatibilidad con otras soluciones europeas</a:t>
            </a:r>
            <a:endParaRPr sz="1100" b="0" i="0" u="none" strike="noStrike" cap="none" dirty="0">
              <a:solidFill>
                <a:schemeClr val="dk1"/>
              </a:solidFill>
              <a:latin typeface="Arial"/>
              <a:ea typeface="Arial"/>
              <a:cs typeface="Arial"/>
              <a:sym typeface="Arial"/>
            </a:endParaRPr>
          </a:p>
        </p:txBody>
      </p:sp>
      <p:sp>
        <p:nvSpPr>
          <p:cNvPr id="459" name="Google Shape;459;g8055afce9b_0_707"/>
          <p:cNvSpPr/>
          <p:nvPr/>
        </p:nvSpPr>
        <p:spPr>
          <a:xfrm>
            <a:off x="6804483" y="3582988"/>
            <a:ext cx="298500" cy="339600"/>
          </a:xfrm>
          <a:prstGeom prst="rightArrow">
            <a:avLst>
              <a:gd name="adj1" fmla="val 45796"/>
              <a:gd name="adj2" fmla="val 55319"/>
            </a:avLst>
          </a:prstGeom>
          <a:solidFill>
            <a:schemeClr val="dk1"/>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300"/>
              <a:buFont typeface="Arial"/>
              <a:buNone/>
            </a:pPr>
            <a:endParaRPr sz="1300" b="0" i="0" u="none" strike="noStrike" cap="none">
              <a:solidFill>
                <a:schemeClr val="dk1"/>
              </a:solidFill>
              <a:latin typeface="Arial"/>
              <a:ea typeface="Arial"/>
              <a:cs typeface="Arial"/>
              <a:sym typeface="Arial"/>
            </a:endParaRPr>
          </a:p>
        </p:txBody>
      </p:sp>
      <p:grpSp>
        <p:nvGrpSpPr>
          <p:cNvPr id="460" name="Google Shape;460;g8055afce9b_0_707"/>
          <p:cNvGrpSpPr/>
          <p:nvPr/>
        </p:nvGrpSpPr>
        <p:grpSpPr>
          <a:xfrm>
            <a:off x="479367" y="2564799"/>
            <a:ext cx="5976394" cy="3361846"/>
            <a:chOff x="479376" y="2276872"/>
            <a:chExt cx="6855235" cy="4068062"/>
          </a:xfrm>
        </p:grpSpPr>
        <p:sp>
          <p:nvSpPr>
            <p:cNvPr id="461" name="Google Shape;461;g8055afce9b_0_707"/>
            <p:cNvSpPr/>
            <p:nvPr/>
          </p:nvSpPr>
          <p:spPr>
            <a:xfrm>
              <a:off x="2665661" y="3207147"/>
              <a:ext cx="1511400" cy="1308000"/>
            </a:xfrm>
            <a:prstGeom prst="triangle">
              <a:avLst>
                <a:gd name="adj" fmla="val 50000"/>
              </a:avLst>
            </a:prstGeom>
            <a:solidFill>
              <a:srgbClr val="E3F3EF"/>
            </a:solidFill>
            <a:ln>
              <a:noFill/>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200"/>
                <a:buFont typeface="Arial"/>
                <a:buNone/>
              </a:pPr>
              <a:endParaRPr sz="1200" b="0" i="0" u="none" strike="noStrike" cap="none">
                <a:solidFill>
                  <a:schemeClr val="dk1"/>
                </a:solidFill>
                <a:latin typeface="Arial"/>
                <a:ea typeface="Arial"/>
                <a:cs typeface="Arial"/>
                <a:sym typeface="Arial"/>
              </a:endParaRPr>
            </a:p>
          </p:txBody>
        </p:sp>
        <p:sp>
          <p:nvSpPr>
            <p:cNvPr id="462" name="Google Shape;462;g8055afce9b_0_707"/>
            <p:cNvSpPr/>
            <p:nvPr/>
          </p:nvSpPr>
          <p:spPr>
            <a:xfrm>
              <a:off x="1919536" y="2645172"/>
              <a:ext cx="1682750" cy="2392363"/>
            </a:xfrm>
            <a:custGeom>
              <a:avLst/>
              <a:gdLst/>
              <a:ahLst/>
              <a:cxnLst/>
              <a:rect l="l" t="t" r="r" b="b"/>
              <a:pathLst>
                <a:path w="986" h="1404" extrusionOk="0">
                  <a:moveTo>
                    <a:pt x="0" y="1404"/>
                  </a:moveTo>
                  <a:lnTo>
                    <a:pt x="814" y="0"/>
                  </a:lnTo>
                  <a:lnTo>
                    <a:pt x="986" y="329"/>
                  </a:lnTo>
                </a:path>
              </a:pathLst>
            </a:custGeom>
            <a:noFill/>
            <a:ln w="28575" cap="flat" cmpd="sng">
              <a:solidFill>
                <a:schemeClr val="accent4"/>
              </a:solidFill>
              <a:prstDash val="solid"/>
              <a:round/>
              <a:headEnd type="none" w="sm" len="sm"/>
              <a:tailEnd type="triangle" w="med" len="med"/>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463" name="Google Shape;463;g8055afce9b_0_707"/>
            <p:cNvSpPr/>
            <p:nvPr/>
          </p:nvSpPr>
          <p:spPr>
            <a:xfrm>
              <a:off x="2252911" y="4427935"/>
              <a:ext cx="2770189" cy="481012"/>
            </a:xfrm>
            <a:custGeom>
              <a:avLst/>
              <a:gdLst/>
              <a:ahLst/>
              <a:cxnLst/>
              <a:rect l="l" t="t" r="r" b="b"/>
              <a:pathLst>
                <a:path w="1623" h="281" extrusionOk="0">
                  <a:moveTo>
                    <a:pt x="1623" y="281"/>
                  </a:moveTo>
                  <a:lnTo>
                    <a:pt x="0" y="277"/>
                  </a:lnTo>
                  <a:lnTo>
                    <a:pt x="174" y="0"/>
                  </a:lnTo>
                </a:path>
              </a:pathLst>
            </a:custGeom>
            <a:noFill/>
            <a:ln w="28575" cap="flat" cmpd="sng">
              <a:solidFill>
                <a:schemeClr val="accent4"/>
              </a:solidFill>
              <a:prstDash val="solid"/>
              <a:round/>
              <a:headEnd type="none" w="sm" len="sm"/>
              <a:tailEnd type="triangle" w="med" len="med"/>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464" name="Google Shape;464;g8055afce9b_0_707"/>
            <p:cNvSpPr/>
            <p:nvPr/>
          </p:nvSpPr>
          <p:spPr>
            <a:xfrm>
              <a:off x="3345111" y="2276872"/>
              <a:ext cx="1379539" cy="2400299"/>
            </a:xfrm>
            <a:custGeom>
              <a:avLst/>
              <a:gdLst/>
              <a:ahLst/>
              <a:cxnLst/>
              <a:rect l="l" t="t" r="r" b="b"/>
              <a:pathLst>
                <a:path w="808" h="1408" extrusionOk="0">
                  <a:moveTo>
                    <a:pt x="0" y="0"/>
                  </a:moveTo>
                  <a:lnTo>
                    <a:pt x="808" y="1408"/>
                  </a:lnTo>
                  <a:lnTo>
                    <a:pt x="430" y="1407"/>
                  </a:lnTo>
                </a:path>
              </a:pathLst>
            </a:custGeom>
            <a:noFill/>
            <a:ln w="28575" cap="flat" cmpd="sng">
              <a:solidFill>
                <a:schemeClr val="accent4"/>
              </a:solidFill>
              <a:prstDash val="solid"/>
              <a:round/>
              <a:headEnd type="none" w="sm" len="sm"/>
              <a:tailEnd type="triangle" w="med" len="med"/>
            </a:ln>
          </p:spPr>
          <p:txBody>
            <a:bodyPr spcFirstLastPara="1" wrap="square" lIns="0" tIns="0" rIns="0" bIns="0" anchor="ctr"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p:txBody>
        </p:sp>
        <p:sp>
          <p:nvSpPr>
            <p:cNvPr id="465" name="Google Shape;465;g8055afce9b_0_707"/>
            <p:cNvSpPr/>
            <p:nvPr/>
          </p:nvSpPr>
          <p:spPr>
            <a:xfrm>
              <a:off x="2974688" y="3814218"/>
              <a:ext cx="923400" cy="4923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rgbClr val="000000"/>
                </a:buClr>
                <a:buSzPts val="1600"/>
                <a:buFont typeface="Arial"/>
                <a:buNone/>
              </a:pPr>
              <a:r>
                <a:rPr lang="es-ES" sz="1600" b="1" i="0" u="none" strike="noStrike" cap="none">
                  <a:solidFill>
                    <a:schemeClr val="dk1"/>
                  </a:solidFill>
                  <a:latin typeface="Arial"/>
                  <a:ea typeface="Arial"/>
                  <a:cs typeface="Arial"/>
                  <a:sym typeface="Arial"/>
                </a:rPr>
                <a:t>App</a:t>
              </a:r>
              <a:endParaRPr sz="1400" b="0"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600"/>
                <a:buFont typeface="Arial"/>
                <a:buNone/>
              </a:pPr>
              <a:r>
                <a:rPr lang="es-ES" sz="1600" b="1" i="0" u="none" strike="noStrike" cap="none">
                  <a:solidFill>
                    <a:schemeClr val="dk1"/>
                  </a:solidFill>
                  <a:latin typeface="Arial"/>
                  <a:ea typeface="Arial"/>
                  <a:cs typeface="Arial"/>
                  <a:sym typeface="Arial"/>
                </a:rPr>
                <a:t>Covid-19 </a:t>
              </a:r>
              <a:endParaRPr sz="1400" b="0" i="0" u="none" strike="noStrike" cap="none">
                <a:solidFill>
                  <a:srgbClr val="000000"/>
                </a:solidFill>
                <a:latin typeface="Arial"/>
                <a:ea typeface="Arial"/>
                <a:cs typeface="Arial"/>
                <a:sym typeface="Arial"/>
              </a:endParaRPr>
            </a:p>
          </p:txBody>
        </p:sp>
        <p:sp>
          <p:nvSpPr>
            <p:cNvPr id="466" name="Google Shape;466;g8055afce9b_0_707"/>
            <p:cNvSpPr/>
            <p:nvPr/>
          </p:nvSpPr>
          <p:spPr>
            <a:xfrm>
              <a:off x="479376" y="2691210"/>
              <a:ext cx="2470200" cy="9849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r>
                <a:rPr lang="es-ES" sz="1800" b="0" i="0" u="none" strike="noStrike" cap="none">
                  <a:solidFill>
                    <a:schemeClr val="dk1"/>
                  </a:solidFill>
                  <a:latin typeface="Playfair Display"/>
                  <a:ea typeface="Playfair Display"/>
                  <a:cs typeface="Playfair Display"/>
                  <a:sym typeface="Playfair Display"/>
                </a:rPr>
                <a:t>Iteraciones</a:t>
              </a:r>
              <a:endParaRPr sz="1400" b="0" i="0" u="none" strike="noStrike" cap="none">
                <a:solidFill>
                  <a:srgbClr val="000000"/>
                </a:solidFill>
                <a:latin typeface="Arial"/>
                <a:ea typeface="Arial"/>
                <a:cs typeface="Arial"/>
                <a:sym typeface="Arial"/>
              </a:endParaRPr>
            </a:p>
            <a:p>
              <a:pPr marL="0" marR="0" lvl="0" indent="0" algn="l" rtl="0">
                <a:lnSpc>
                  <a:spcPct val="100000"/>
                </a:lnSpc>
                <a:spcBef>
                  <a:spcPts val="1200"/>
                </a:spcBef>
                <a:spcAft>
                  <a:spcPts val="0"/>
                </a:spcAft>
                <a:buClr>
                  <a:srgbClr val="000000"/>
                </a:buClr>
                <a:buSzPts val="1200"/>
                <a:buFont typeface="Arial"/>
                <a:buNone/>
              </a:pPr>
              <a:r>
                <a:rPr lang="es-ES" sz="1200" b="0" i="0" u="none" strike="noStrike" cap="none">
                  <a:solidFill>
                    <a:schemeClr val="dk1"/>
                  </a:solidFill>
                  <a:latin typeface="Arial"/>
                  <a:ea typeface="Arial"/>
                  <a:cs typeface="Arial"/>
                  <a:sym typeface="Arial"/>
                </a:rPr>
                <a:t>Metodología iterativa como garante de flexibilidad y agilidad de respuesta</a:t>
              </a:r>
              <a:endParaRPr sz="1200" b="0" i="0" u="none" strike="noStrike" cap="none" baseline="30000">
                <a:solidFill>
                  <a:schemeClr val="dk1"/>
                </a:solidFill>
                <a:latin typeface="Arial"/>
                <a:ea typeface="Arial"/>
                <a:cs typeface="Arial"/>
                <a:sym typeface="Arial"/>
              </a:endParaRPr>
            </a:p>
          </p:txBody>
        </p:sp>
        <p:sp>
          <p:nvSpPr>
            <p:cNvPr id="467" name="Google Shape;467;g8055afce9b_0_707"/>
            <p:cNvSpPr/>
            <p:nvPr/>
          </p:nvSpPr>
          <p:spPr>
            <a:xfrm>
              <a:off x="4763011" y="2625197"/>
              <a:ext cx="2571600" cy="13542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r>
                <a:rPr lang="es-ES" sz="1800" b="0" i="0" u="none" strike="noStrike" cap="none" dirty="0">
                  <a:solidFill>
                    <a:schemeClr val="dk1"/>
                  </a:solidFill>
                  <a:latin typeface="Playfair Display"/>
                  <a:ea typeface="Playfair Display"/>
                  <a:cs typeface="Playfair Display"/>
                  <a:sym typeface="Playfair Display"/>
                </a:rPr>
                <a:t>Experimentos</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1200"/>
                </a:spcBef>
                <a:spcAft>
                  <a:spcPts val="0"/>
                </a:spcAft>
                <a:buClr>
                  <a:srgbClr val="000000"/>
                </a:buClr>
                <a:buSzPts val="1200"/>
                <a:buFont typeface="Arial"/>
                <a:buNone/>
              </a:pPr>
              <a:r>
                <a:rPr lang="es-ES" sz="1200" b="0" i="0" u="none" strike="noStrike" cap="none" dirty="0">
                  <a:solidFill>
                    <a:schemeClr val="dk1"/>
                  </a:solidFill>
                  <a:latin typeface="Arial"/>
                  <a:ea typeface="Arial"/>
                  <a:cs typeface="Arial"/>
                  <a:sym typeface="Arial"/>
                </a:rPr>
                <a:t>Creación de funcionalidad </a:t>
              </a:r>
              <a:r>
                <a:rPr lang="es-ES" sz="1200" b="0" i="0" u="none" strike="noStrike" cap="none" dirty="0" err="1">
                  <a:solidFill>
                    <a:schemeClr val="dk1"/>
                  </a:solidFill>
                  <a:latin typeface="Arial"/>
                  <a:ea typeface="Arial"/>
                  <a:cs typeface="Arial"/>
                  <a:sym typeface="Arial"/>
                </a:rPr>
                <a:t>contact</a:t>
              </a:r>
              <a:r>
                <a:rPr lang="es-ES" sz="1200" b="0" i="0" u="none" strike="noStrike" cap="none" dirty="0">
                  <a:solidFill>
                    <a:schemeClr val="dk1"/>
                  </a:solidFill>
                  <a:latin typeface="Arial"/>
                  <a:ea typeface="Arial"/>
                  <a:cs typeface="Arial"/>
                  <a:sym typeface="Arial"/>
                </a:rPr>
                <a:t> </a:t>
              </a:r>
              <a:r>
                <a:rPr lang="es-ES" sz="1200" b="0" i="0" u="none" strike="noStrike" cap="none" dirty="0" err="1">
                  <a:solidFill>
                    <a:schemeClr val="dk1"/>
                  </a:solidFill>
                  <a:latin typeface="Arial"/>
                  <a:ea typeface="Arial"/>
                  <a:cs typeface="Arial"/>
                  <a:sym typeface="Arial"/>
                </a:rPr>
                <a:t>tracing</a:t>
              </a:r>
              <a:r>
                <a:rPr lang="es-ES" sz="1200" b="0" i="0" u="none" strike="noStrike" cap="none" dirty="0">
                  <a:solidFill>
                    <a:schemeClr val="dk1"/>
                  </a:solidFill>
                  <a:latin typeface="Arial"/>
                  <a:ea typeface="Arial"/>
                  <a:cs typeface="Arial"/>
                  <a:sym typeface="Arial"/>
                </a:rPr>
                <a:t> básica, sobre la que se realizarán pruebas para valorar adopción de funcionalidades y posibles evolutivos</a:t>
              </a:r>
              <a:endParaRPr sz="1200" b="0" i="0" u="none" strike="noStrike" cap="none" dirty="0">
                <a:solidFill>
                  <a:schemeClr val="dk1"/>
                </a:solidFill>
                <a:latin typeface="Arial"/>
                <a:ea typeface="Arial"/>
                <a:cs typeface="Arial"/>
                <a:sym typeface="Arial"/>
              </a:endParaRPr>
            </a:p>
          </p:txBody>
        </p:sp>
        <p:sp>
          <p:nvSpPr>
            <p:cNvPr id="468" name="Google Shape;468;g8055afce9b_0_707"/>
            <p:cNvSpPr/>
            <p:nvPr/>
          </p:nvSpPr>
          <p:spPr>
            <a:xfrm>
              <a:off x="2152897" y="5153334"/>
              <a:ext cx="2870100" cy="11916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r>
                <a:rPr lang="es-ES" sz="1800" b="0" i="0" u="none" strike="noStrike" cap="none" dirty="0">
                  <a:solidFill>
                    <a:schemeClr val="dk1"/>
                  </a:solidFill>
                  <a:latin typeface="Playfair Display"/>
                  <a:ea typeface="Playfair Display"/>
                  <a:cs typeface="Playfair Display"/>
                  <a:sym typeface="Playfair Display"/>
                </a:rPr>
                <a:t>Contraste de hipótesis</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1200"/>
                </a:spcBef>
                <a:spcAft>
                  <a:spcPts val="0"/>
                </a:spcAft>
                <a:buClr>
                  <a:srgbClr val="000000"/>
                </a:buClr>
                <a:buSzPts val="1200"/>
                <a:buFont typeface="Arial"/>
                <a:buNone/>
              </a:pPr>
              <a:r>
                <a:rPr lang="es-ES" sz="1200" b="0" i="0" u="none" strike="noStrike" cap="none" dirty="0">
                  <a:solidFill>
                    <a:schemeClr val="dk1"/>
                  </a:solidFill>
                  <a:latin typeface="Arial"/>
                  <a:ea typeface="Arial"/>
                  <a:cs typeface="Arial"/>
                  <a:sym typeface="Arial"/>
                </a:rPr>
                <a:t>Captura y analítica de datos como soporte de toma de decisiones y contrate de los experimentos</a:t>
              </a:r>
              <a:endParaRPr sz="1200" b="0" i="0" u="none" strike="noStrike" cap="none" dirty="0">
                <a:solidFill>
                  <a:schemeClr val="dk1"/>
                </a:solidFill>
                <a:latin typeface="Arial"/>
                <a:ea typeface="Arial"/>
                <a:cs typeface="Arial"/>
                <a:sym typeface="Arial"/>
              </a:endParaRPr>
            </a:p>
          </p:txBody>
        </p:sp>
      </p:grpSp>
      <p:sp>
        <p:nvSpPr>
          <p:cNvPr id="469" name="Google Shape;469;g8055afce9b_0_707"/>
          <p:cNvSpPr txBox="1"/>
          <p:nvPr/>
        </p:nvSpPr>
        <p:spPr>
          <a:xfrm>
            <a:off x="228312" y="1224491"/>
            <a:ext cx="11448000" cy="379800"/>
          </a:xfrm>
          <a:prstGeom prst="rect">
            <a:avLst/>
          </a:prstGeom>
          <a:noFill/>
          <a:ln>
            <a:noFill/>
          </a:ln>
        </p:spPr>
        <p:txBody>
          <a:bodyPr spcFirstLastPara="1" wrap="square" lIns="91425" tIns="91425" rIns="91425" bIns="91425" anchor="t" anchorCtr="0">
            <a:noAutofit/>
          </a:bodyPr>
          <a:lstStyle/>
          <a:p>
            <a:pPr marL="0" marR="0" lvl="0" indent="0" algn="l" rtl="0">
              <a:lnSpc>
                <a:spcPct val="90000"/>
              </a:lnSpc>
              <a:spcBef>
                <a:spcPts val="0"/>
              </a:spcBef>
              <a:spcAft>
                <a:spcPts val="0"/>
              </a:spcAft>
              <a:buClr>
                <a:schemeClr val="dk1"/>
              </a:buClr>
              <a:buSzPts val="1600"/>
              <a:buFont typeface="Arial"/>
              <a:buNone/>
            </a:pPr>
            <a:r>
              <a:rPr lang="es-ES" sz="1600" b="0" i="0" u="none" strike="noStrike" cap="none">
                <a:solidFill>
                  <a:schemeClr val="dk1"/>
                </a:solidFill>
                <a:latin typeface="Arial"/>
                <a:ea typeface="Arial"/>
                <a:cs typeface="Arial"/>
                <a:sym typeface="Arial"/>
              </a:rPr>
              <a:t>Proponemos una metodología iterativa de diseño y desarrollo de la aplicación de contact tracing, y su posterior evolución en torno a líneas de trabajo definidas</a:t>
            </a:r>
            <a:endParaRPr sz="1400" b="0" i="0" u="none" strike="noStrike" cap="none">
              <a:solidFill>
                <a:srgbClr val="000000"/>
              </a:solidFill>
              <a:latin typeface="Arial"/>
              <a:ea typeface="Arial"/>
              <a:cs typeface="Arial"/>
              <a:sym typeface="Arial"/>
            </a:endParaRPr>
          </a:p>
          <a:p>
            <a:pPr marL="0" marR="0" lvl="0" indent="0" algn="l" rtl="0">
              <a:lnSpc>
                <a:spcPct val="90000"/>
              </a:lnSpc>
              <a:spcBef>
                <a:spcPts val="0"/>
              </a:spcBef>
              <a:spcAft>
                <a:spcPts val="0"/>
              </a:spcAft>
              <a:buClr>
                <a:schemeClr val="dk1"/>
              </a:buClr>
              <a:buSzPts val="1600"/>
              <a:buFont typeface="Playfair Display"/>
              <a:buNone/>
            </a:pPr>
            <a:endParaRPr sz="1600" b="0" i="0" u="none" strike="noStrike" cap="none">
              <a:solidFill>
                <a:srgbClr val="4A86E8"/>
              </a:solidFill>
              <a:latin typeface="Arial"/>
              <a:ea typeface="Arial"/>
              <a:cs typeface="Arial"/>
              <a:sym typeface="Arial"/>
            </a:endParaRPr>
          </a:p>
        </p:txBody>
      </p:sp>
      <p:sp>
        <p:nvSpPr>
          <p:cNvPr id="470" name="Google Shape;470;g8055afce9b_0_707"/>
          <p:cNvSpPr txBox="1"/>
          <p:nvPr/>
        </p:nvSpPr>
        <p:spPr>
          <a:xfrm>
            <a:off x="1421592" y="6517911"/>
            <a:ext cx="5106600" cy="2154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800"/>
              <a:buFont typeface="Arial"/>
              <a:buNone/>
            </a:pPr>
            <a:r>
              <a:rPr lang="es-ES" sz="800" b="0" i="0" u="none" strike="noStrike" cap="none">
                <a:solidFill>
                  <a:schemeClr val="dk1"/>
                </a:solidFill>
                <a:latin typeface="Arial"/>
                <a:ea typeface="Arial"/>
                <a:cs typeface="Arial"/>
                <a:sym typeface="Arial"/>
              </a:rPr>
              <a:t>* Requiere determinar datos a centralizar para el análisis epidemiológico por parte de autoridades sanitarias</a:t>
            </a:r>
            <a:endParaRPr sz="800" b="0" i="0" u="none" strike="noStrike" cap="none">
              <a:solidFill>
                <a:schemeClr val="dk1"/>
              </a:solidFill>
              <a:latin typeface="Arial"/>
              <a:ea typeface="Arial"/>
              <a:cs typeface="Arial"/>
              <a:sym typeface="Aria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474"/>
        <p:cNvGrpSpPr/>
        <p:nvPr/>
      </p:nvGrpSpPr>
      <p:grpSpPr>
        <a:xfrm>
          <a:off x="0" y="0"/>
          <a:ext cx="0" cy="0"/>
          <a:chOff x="0" y="0"/>
          <a:chExt cx="0" cy="0"/>
        </a:xfrm>
      </p:grpSpPr>
      <p:sp>
        <p:nvSpPr>
          <p:cNvPr id="475" name="Google Shape;475;g8055afce9b_0_727"/>
          <p:cNvSpPr txBox="1">
            <a:spLocks noGrp="1"/>
          </p:cNvSpPr>
          <p:nvPr>
            <p:ph type="body" idx="1"/>
          </p:nvPr>
        </p:nvSpPr>
        <p:spPr>
          <a:xfrm>
            <a:off x="336000" y="128400"/>
            <a:ext cx="11519400" cy="251400"/>
          </a:xfrm>
          <a:prstGeom prst="rect">
            <a:avLst/>
          </a:prstGeom>
          <a:noFill/>
          <a:ln>
            <a:noFill/>
          </a:ln>
        </p:spPr>
        <p:txBody>
          <a:bodyPr spcFirstLastPara="1" wrap="square" lIns="0" tIns="45700" rIns="91425" bIns="45700" anchor="t" anchorCtr="0">
            <a:noAutofit/>
          </a:bodyPr>
          <a:lstStyle/>
          <a:p>
            <a:pPr marL="0" lvl="0" indent="0" algn="l" rtl="0">
              <a:lnSpc>
                <a:spcPct val="90000"/>
              </a:lnSpc>
              <a:spcBef>
                <a:spcPts val="0"/>
              </a:spcBef>
              <a:spcAft>
                <a:spcPts val="0"/>
              </a:spcAft>
              <a:buClr>
                <a:srgbClr val="1A3B47"/>
              </a:buClr>
              <a:buSzPts val="1400"/>
              <a:buNone/>
            </a:pPr>
            <a:r>
              <a:rPr lang="en-US" sz="1400" dirty="0" smtClean="0">
                <a:latin typeface="Playfair Display"/>
                <a:ea typeface="Playfair Display"/>
                <a:cs typeface="Playfair Display"/>
                <a:sym typeface="Playfair Display"/>
              </a:rPr>
              <a:t>Covid-19 app - </a:t>
            </a:r>
            <a:r>
              <a:rPr lang="en-US" sz="1400" dirty="0" err="1" smtClean="0">
                <a:latin typeface="Playfair Display"/>
                <a:ea typeface="Playfair Display"/>
                <a:cs typeface="Playfair Display"/>
                <a:sym typeface="Playfair Display"/>
              </a:rPr>
              <a:t>Piloto</a:t>
            </a:r>
            <a:r>
              <a:rPr lang="en-US" sz="1400" dirty="0" smtClean="0">
                <a:latin typeface="Playfair Display"/>
                <a:ea typeface="Playfair Display"/>
                <a:cs typeface="Playfair Display"/>
                <a:sym typeface="Playfair Display"/>
              </a:rPr>
              <a:t> App Contact Tracing Covid-19 </a:t>
            </a:r>
            <a:endParaRPr dirty="0"/>
          </a:p>
        </p:txBody>
      </p:sp>
      <p:sp>
        <p:nvSpPr>
          <p:cNvPr id="476" name="Google Shape;476;g8055afce9b_0_727"/>
          <p:cNvSpPr txBox="1"/>
          <p:nvPr/>
        </p:nvSpPr>
        <p:spPr>
          <a:xfrm>
            <a:off x="335998" y="649092"/>
            <a:ext cx="11232600" cy="7221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2400"/>
              <a:buFont typeface="Playfair Display"/>
              <a:buNone/>
            </a:pPr>
            <a:r>
              <a:rPr lang="es-ES" sz="2400" b="0" i="0" u="none" strike="noStrike" cap="none">
                <a:solidFill>
                  <a:schemeClr val="dk1"/>
                </a:solidFill>
                <a:latin typeface="Playfair Display"/>
                <a:ea typeface="Playfair Display"/>
                <a:cs typeface="Playfair Display"/>
                <a:sym typeface="Playfair Display"/>
              </a:rPr>
              <a:t>El objetivo es pilotar una app contact tracing básica con un user journey sencillo y fácilmente adoptable, para poder evolucionarla</a:t>
            </a:r>
            <a:endParaRPr sz="2400" b="0" i="0" u="none" strike="noStrike" cap="none">
              <a:solidFill>
                <a:schemeClr val="dk1"/>
              </a:solidFill>
              <a:latin typeface="Playfair Display"/>
              <a:ea typeface="Playfair Display"/>
              <a:cs typeface="Playfair Display"/>
              <a:sym typeface="Playfair Display"/>
            </a:endParaRPr>
          </a:p>
        </p:txBody>
      </p:sp>
      <p:sp>
        <p:nvSpPr>
          <p:cNvPr id="477" name="Google Shape;477;g8055afce9b_0_727"/>
          <p:cNvSpPr/>
          <p:nvPr/>
        </p:nvSpPr>
        <p:spPr>
          <a:xfrm>
            <a:off x="-968200" y="4205725"/>
            <a:ext cx="12847500" cy="2199900"/>
          </a:xfrm>
          <a:prstGeom prst="parallelogram">
            <a:avLst>
              <a:gd name="adj" fmla="val 25000"/>
            </a:avLst>
          </a:prstGeom>
          <a:solidFill>
            <a:srgbClr val="EFEFEF"/>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799"/>
              <a:buFont typeface="Arial"/>
              <a:buNone/>
            </a:pPr>
            <a:r>
              <a:rPr lang="es-ES" sz="1799" b="0" i="0" u="none" strike="noStrike" cap="none">
                <a:solidFill>
                  <a:srgbClr val="1A3B47"/>
                </a:solidFill>
                <a:latin typeface="Playfair Display"/>
                <a:ea typeface="Playfair Display"/>
                <a:cs typeface="Playfair Display"/>
                <a:sym typeface="Playfair Display"/>
              </a:rPr>
              <a:t>¿Cómo se soporta técnicamente?</a:t>
            </a:r>
            <a:endParaRPr sz="1400" b="0" i="0" u="none" strike="noStrike" cap="none">
              <a:solidFill>
                <a:srgbClr val="000000"/>
              </a:solidFill>
              <a:latin typeface="Arial"/>
              <a:ea typeface="Arial"/>
              <a:cs typeface="Arial"/>
              <a:sym typeface="Arial"/>
            </a:endParaRPr>
          </a:p>
        </p:txBody>
      </p:sp>
      <p:sp>
        <p:nvSpPr>
          <p:cNvPr id="478" name="Google Shape;478;g8055afce9b_0_727"/>
          <p:cNvSpPr/>
          <p:nvPr/>
        </p:nvSpPr>
        <p:spPr>
          <a:xfrm>
            <a:off x="9896100" y="3239250"/>
            <a:ext cx="2053500" cy="836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r>
              <a:rPr lang="es-ES" sz="1100" b="0" i="0" u="none" strike="noStrike" cap="none">
                <a:solidFill>
                  <a:srgbClr val="1A3B47"/>
                </a:solidFill>
                <a:latin typeface="Helvetica Neue"/>
                <a:ea typeface="Helvetica Neue"/>
                <a:cs typeface="Helvetica Neue"/>
                <a:sym typeface="Helvetica Neue"/>
              </a:rPr>
              <a:t>Beatriz recibe una notificación en su teléfono móvil indicando su riesgo de contagio y cómo actuar</a:t>
            </a:r>
            <a:endParaRPr sz="1100" b="0" i="0" u="none" strike="noStrike" cap="none">
              <a:solidFill>
                <a:srgbClr val="1A3B47"/>
              </a:solidFill>
              <a:latin typeface="Helvetica Neue"/>
              <a:ea typeface="Helvetica Neue"/>
              <a:cs typeface="Helvetica Neue"/>
              <a:sym typeface="Helvetica Neue"/>
            </a:endParaRPr>
          </a:p>
        </p:txBody>
      </p:sp>
      <p:sp>
        <p:nvSpPr>
          <p:cNvPr id="479" name="Google Shape;479;g8055afce9b_0_727"/>
          <p:cNvSpPr/>
          <p:nvPr/>
        </p:nvSpPr>
        <p:spPr>
          <a:xfrm>
            <a:off x="6947425" y="3239250"/>
            <a:ext cx="2053500" cy="836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r>
              <a:rPr lang="es-ES" sz="1100" b="0" i="0" u="none" strike="noStrike" cap="none">
                <a:solidFill>
                  <a:srgbClr val="1A3B47"/>
                </a:solidFill>
                <a:latin typeface="Helvetica Neue"/>
                <a:ea typeface="Helvetica Neue"/>
                <a:cs typeface="Helvetica Neue"/>
                <a:sym typeface="Helvetica Neue"/>
              </a:rPr>
              <a:t>Beatriz continúa su día sin saber que ha estado cerca de una persona contagiada</a:t>
            </a:r>
            <a:endParaRPr sz="1100" b="0" i="0" u="none" strike="noStrike" cap="none">
              <a:solidFill>
                <a:srgbClr val="1A3B47"/>
              </a:solidFill>
              <a:latin typeface="Helvetica Neue"/>
              <a:ea typeface="Helvetica Neue"/>
              <a:cs typeface="Helvetica Neue"/>
              <a:sym typeface="Helvetica Neue"/>
            </a:endParaRPr>
          </a:p>
        </p:txBody>
      </p:sp>
      <p:sp>
        <p:nvSpPr>
          <p:cNvPr id="480" name="Google Shape;480;g8055afce9b_0_727"/>
          <p:cNvSpPr/>
          <p:nvPr/>
        </p:nvSpPr>
        <p:spPr>
          <a:xfrm>
            <a:off x="3984925" y="3239250"/>
            <a:ext cx="2053500" cy="836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r>
              <a:rPr lang="es-ES" sz="1100" b="0" i="0" u="none" strike="noStrike" cap="none">
                <a:solidFill>
                  <a:srgbClr val="1A3B47"/>
                </a:solidFill>
                <a:latin typeface="Helvetica Neue"/>
                <a:ea typeface="Helvetica Neue"/>
                <a:cs typeface="Helvetica Neue"/>
                <a:sym typeface="Helvetica Neue"/>
              </a:rPr>
              <a:t>Carlos recibe su test del Covid-19 con resultado </a:t>
            </a:r>
            <a:r>
              <a:rPr lang="es-ES" sz="1100" b="0" i="0" u="none" strike="noStrike" cap="none">
                <a:solidFill>
                  <a:schemeClr val="dk1"/>
                </a:solidFill>
                <a:latin typeface="Helvetica Neue"/>
                <a:ea typeface="Helvetica Neue"/>
                <a:cs typeface="Helvetica Neue"/>
                <a:sym typeface="Helvetica Neue"/>
              </a:rPr>
              <a:t>positivo</a:t>
            </a:r>
            <a:r>
              <a:rPr lang="es-ES" sz="1100" b="0" i="0" u="none" strike="noStrike" cap="none">
                <a:solidFill>
                  <a:srgbClr val="1A3B47"/>
                </a:solidFill>
                <a:latin typeface="Helvetica Neue"/>
                <a:ea typeface="Helvetica Neue"/>
                <a:cs typeface="Helvetica Neue"/>
                <a:sym typeface="Helvetica Neue"/>
              </a:rPr>
              <a:t>, e introduce el diagnóstico en su app</a:t>
            </a:r>
            <a:endParaRPr sz="1100" b="0" i="0" u="none" strike="noStrike" cap="none">
              <a:solidFill>
                <a:srgbClr val="1A3B47"/>
              </a:solidFill>
              <a:latin typeface="Helvetica Neue"/>
              <a:ea typeface="Helvetica Neue"/>
              <a:cs typeface="Helvetica Neue"/>
              <a:sym typeface="Helvetica Neue"/>
            </a:endParaRPr>
          </a:p>
        </p:txBody>
      </p:sp>
      <p:pic>
        <p:nvPicPr>
          <p:cNvPr id="481" name="Google Shape;481;g8055afce9b_0_727"/>
          <p:cNvPicPr preferRelativeResize="0"/>
          <p:nvPr/>
        </p:nvPicPr>
        <p:blipFill rotWithShape="1">
          <a:blip r:embed="rId3">
            <a:alphaModFix/>
          </a:blip>
          <a:srcRect l="5126" t="85419" r="65463" b="2493"/>
          <a:stretch/>
        </p:blipFill>
        <p:spPr>
          <a:xfrm>
            <a:off x="7163450" y="4904000"/>
            <a:ext cx="1605725" cy="722100"/>
          </a:xfrm>
          <a:prstGeom prst="rect">
            <a:avLst/>
          </a:prstGeom>
          <a:noFill/>
          <a:ln>
            <a:noFill/>
          </a:ln>
        </p:spPr>
      </p:pic>
      <p:pic>
        <p:nvPicPr>
          <p:cNvPr id="482" name="Google Shape;482;g8055afce9b_0_727"/>
          <p:cNvPicPr preferRelativeResize="0"/>
          <p:nvPr/>
        </p:nvPicPr>
        <p:blipFill rotWithShape="1">
          <a:blip r:embed="rId4">
            <a:alphaModFix/>
          </a:blip>
          <a:srcRect l="64585"/>
          <a:stretch/>
        </p:blipFill>
        <p:spPr>
          <a:xfrm>
            <a:off x="4637150" y="2116250"/>
            <a:ext cx="466025" cy="1123000"/>
          </a:xfrm>
          <a:prstGeom prst="rect">
            <a:avLst/>
          </a:prstGeom>
          <a:noFill/>
          <a:ln>
            <a:noFill/>
          </a:ln>
        </p:spPr>
      </p:pic>
      <p:pic>
        <p:nvPicPr>
          <p:cNvPr id="483" name="Google Shape;483;g8055afce9b_0_727"/>
          <p:cNvPicPr preferRelativeResize="0"/>
          <p:nvPr/>
        </p:nvPicPr>
        <p:blipFill rotWithShape="1">
          <a:blip r:embed="rId5">
            <a:alphaModFix/>
          </a:blip>
          <a:srcRect/>
          <a:stretch/>
        </p:blipFill>
        <p:spPr>
          <a:xfrm>
            <a:off x="4255750" y="1965465"/>
            <a:ext cx="527125" cy="527125"/>
          </a:xfrm>
          <a:prstGeom prst="rect">
            <a:avLst/>
          </a:prstGeom>
          <a:noFill/>
          <a:ln>
            <a:noFill/>
          </a:ln>
        </p:spPr>
      </p:pic>
      <p:grpSp>
        <p:nvGrpSpPr>
          <p:cNvPr id="484" name="Google Shape;484;g8055afce9b_0_727"/>
          <p:cNvGrpSpPr/>
          <p:nvPr/>
        </p:nvGrpSpPr>
        <p:grpSpPr>
          <a:xfrm>
            <a:off x="1322456" y="2100541"/>
            <a:ext cx="1307070" cy="1263960"/>
            <a:chOff x="1093250" y="1484175"/>
            <a:chExt cx="1605737" cy="1644925"/>
          </a:xfrm>
        </p:grpSpPr>
        <p:pic>
          <p:nvPicPr>
            <p:cNvPr id="485" name="Google Shape;485;g8055afce9b_0_727"/>
            <p:cNvPicPr preferRelativeResize="0"/>
            <p:nvPr/>
          </p:nvPicPr>
          <p:blipFill rotWithShape="1">
            <a:blip r:embed="rId6">
              <a:alphaModFix/>
            </a:blip>
            <a:srcRect r="33603"/>
            <a:stretch/>
          </p:blipFill>
          <p:spPr>
            <a:xfrm>
              <a:off x="1093250" y="1640500"/>
              <a:ext cx="988350" cy="1488600"/>
            </a:xfrm>
            <a:prstGeom prst="rect">
              <a:avLst/>
            </a:prstGeom>
            <a:noFill/>
            <a:ln>
              <a:noFill/>
            </a:ln>
          </p:spPr>
        </p:pic>
        <p:pic>
          <p:nvPicPr>
            <p:cNvPr id="486" name="Google Shape;486;g8055afce9b_0_727"/>
            <p:cNvPicPr preferRelativeResize="0"/>
            <p:nvPr/>
          </p:nvPicPr>
          <p:blipFill rotWithShape="1">
            <a:blip r:embed="rId4">
              <a:alphaModFix/>
            </a:blip>
            <a:srcRect l="64585"/>
            <a:stretch/>
          </p:blipFill>
          <p:spPr>
            <a:xfrm>
              <a:off x="2171850" y="1484175"/>
              <a:ext cx="527137" cy="1488600"/>
            </a:xfrm>
            <a:prstGeom prst="rect">
              <a:avLst/>
            </a:prstGeom>
            <a:noFill/>
            <a:ln>
              <a:noFill/>
            </a:ln>
          </p:spPr>
        </p:pic>
      </p:grpSp>
      <p:sp>
        <p:nvSpPr>
          <p:cNvPr id="487" name="Google Shape;487;g8055afce9b_0_727"/>
          <p:cNvSpPr/>
          <p:nvPr/>
        </p:nvSpPr>
        <p:spPr>
          <a:xfrm>
            <a:off x="1022425" y="3239250"/>
            <a:ext cx="2053500" cy="836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r>
              <a:rPr lang="es-ES" sz="1100" b="0" i="0" u="none" strike="noStrike" cap="none">
                <a:solidFill>
                  <a:srgbClr val="1A3B47"/>
                </a:solidFill>
                <a:latin typeface="Helvetica Neue"/>
                <a:ea typeface="Helvetica Neue"/>
                <a:cs typeface="Helvetica Neue"/>
                <a:sym typeface="Helvetica Neue"/>
              </a:rPr>
              <a:t>Beatriz y Carlos mantienen una conversación a poca distancia </a:t>
            </a:r>
            <a:endParaRPr sz="1100" b="0" i="0" u="none" strike="noStrike" cap="none">
              <a:solidFill>
                <a:srgbClr val="1A3B47"/>
              </a:solidFill>
              <a:latin typeface="Helvetica Neue"/>
              <a:ea typeface="Helvetica Neue"/>
              <a:cs typeface="Helvetica Neue"/>
              <a:sym typeface="Helvetica Neue"/>
            </a:endParaRPr>
          </a:p>
        </p:txBody>
      </p:sp>
      <p:pic>
        <p:nvPicPr>
          <p:cNvPr id="488" name="Google Shape;488;g8055afce9b_0_727"/>
          <p:cNvPicPr preferRelativeResize="0"/>
          <p:nvPr/>
        </p:nvPicPr>
        <p:blipFill rotWithShape="1">
          <a:blip r:embed="rId6">
            <a:alphaModFix/>
          </a:blip>
          <a:srcRect r="64585"/>
          <a:stretch/>
        </p:blipFill>
        <p:spPr>
          <a:xfrm>
            <a:off x="10550300" y="2156551"/>
            <a:ext cx="466020" cy="1122999"/>
          </a:xfrm>
          <a:prstGeom prst="rect">
            <a:avLst/>
          </a:prstGeom>
          <a:noFill/>
          <a:ln>
            <a:noFill/>
          </a:ln>
        </p:spPr>
      </p:pic>
      <p:pic>
        <p:nvPicPr>
          <p:cNvPr id="489" name="Google Shape;489;g8055afce9b_0_727"/>
          <p:cNvPicPr preferRelativeResize="0"/>
          <p:nvPr/>
        </p:nvPicPr>
        <p:blipFill rotWithShape="1">
          <a:blip r:embed="rId7">
            <a:alphaModFix/>
          </a:blip>
          <a:srcRect/>
          <a:stretch/>
        </p:blipFill>
        <p:spPr>
          <a:xfrm>
            <a:off x="10916441" y="2049350"/>
            <a:ext cx="739709" cy="631206"/>
          </a:xfrm>
          <a:prstGeom prst="rect">
            <a:avLst/>
          </a:prstGeom>
          <a:noFill/>
          <a:ln>
            <a:noFill/>
          </a:ln>
        </p:spPr>
      </p:pic>
      <p:pic>
        <p:nvPicPr>
          <p:cNvPr id="490" name="Google Shape;490;g8055afce9b_0_727"/>
          <p:cNvPicPr preferRelativeResize="0"/>
          <p:nvPr/>
        </p:nvPicPr>
        <p:blipFill rotWithShape="1">
          <a:blip r:embed="rId5">
            <a:alphaModFix/>
          </a:blip>
          <a:srcRect/>
          <a:stretch/>
        </p:blipFill>
        <p:spPr>
          <a:xfrm>
            <a:off x="11053286" y="2166115"/>
            <a:ext cx="466020" cy="397663"/>
          </a:xfrm>
          <a:prstGeom prst="rect">
            <a:avLst/>
          </a:prstGeom>
          <a:noFill/>
          <a:ln>
            <a:noFill/>
          </a:ln>
        </p:spPr>
      </p:pic>
      <p:pic>
        <p:nvPicPr>
          <p:cNvPr id="491" name="Google Shape;491;g8055afce9b_0_727"/>
          <p:cNvPicPr preferRelativeResize="0"/>
          <p:nvPr/>
        </p:nvPicPr>
        <p:blipFill rotWithShape="1">
          <a:blip r:embed="rId3">
            <a:alphaModFix/>
          </a:blip>
          <a:srcRect l="8179" t="33468" r="67881" b="52525"/>
          <a:stretch/>
        </p:blipFill>
        <p:spPr>
          <a:xfrm>
            <a:off x="1395650" y="4789397"/>
            <a:ext cx="1307050" cy="836700"/>
          </a:xfrm>
          <a:prstGeom prst="rect">
            <a:avLst/>
          </a:prstGeom>
          <a:noFill/>
          <a:ln>
            <a:noFill/>
          </a:ln>
        </p:spPr>
      </p:pic>
      <p:pic>
        <p:nvPicPr>
          <p:cNvPr id="492" name="Google Shape;492;g8055afce9b_0_727"/>
          <p:cNvPicPr preferRelativeResize="0"/>
          <p:nvPr/>
        </p:nvPicPr>
        <p:blipFill rotWithShape="1">
          <a:blip r:embed="rId3">
            <a:alphaModFix/>
          </a:blip>
          <a:srcRect l="65157" t="33670" r="7651" b="54241"/>
          <a:stretch/>
        </p:blipFill>
        <p:spPr>
          <a:xfrm>
            <a:off x="4204100" y="4822597"/>
            <a:ext cx="1484550" cy="722100"/>
          </a:xfrm>
          <a:prstGeom prst="rect">
            <a:avLst/>
          </a:prstGeom>
          <a:noFill/>
          <a:ln>
            <a:noFill/>
          </a:ln>
        </p:spPr>
      </p:pic>
      <p:pic>
        <p:nvPicPr>
          <p:cNvPr id="493" name="Google Shape;493;g8055afce9b_0_727"/>
          <p:cNvPicPr preferRelativeResize="0"/>
          <p:nvPr/>
        </p:nvPicPr>
        <p:blipFill rotWithShape="1">
          <a:blip r:embed="rId3">
            <a:alphaModFix/>
          </a:blip>
          <a:srcRect l="59407" t="83269" r="30936" b="2725"/>
          <a:stretch/>
        </p:blipFill>
        <p:spPr>
          <a:xfrm>
            <a:off x="10278288" y="4846700"/>
            <a:ext cx="527125" cy="836700"/>
          </a:xfrm>
          <a:prstGeom prst="rect">
            <a:avLst/>
          </a:prstGeom>
          <a:noFill/>
          <a:ln>
            <a:noFill/>
          </a:ln>
        </p:spPr>
      </p:pic>
      <p:sp>
        <p:nvSpPr>
          <p:cNvPr id="494" name="Google Shape;494;g8055afce9b_0_727"/>
          <p:cNvSpPr/>
          <p:nvPr/>
        </p:nvSpPr>
        <p:spPr>
          <a:xfrm rot="5400000">
            <a:off x="2750050" y="2745900"/>
            <a:ext cx="1484550" cy="91463"/>
          </a:xfrm>
          <a:prstGeom prst="flowChartExtract">
            <a:avLst/>
          </a:prstGeom>
          <a:solidFill>
            <a:srgbClr val="E3F3E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95" name="Google Shape;495;g8055afce9b_0_727"/>
          <p:cNvSpPr/>
          <p:nvPr/>
        </p:nvSpPr>
        <p:spPr>
          <a:xfrm rot="5400000">
            <a:off x="5712550" y="2745900"/>
            <a:ext cx="1484550" cy="91463"/>
          </a:xfrm>
          <a:prstGeom prst="flowChartExtract">
            <a:avLst/>
          </a:prstGeom>
          <a:solidFill>
            <a:srgbClr val="E3F3E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96" name="Google Shape;496;g8055afce9b_0_727"/>
          <p:cNvSpPr/>
          <p:nvPr/>
        </p:nvSpPr>
        <p:spPr>
          <a:xfrm rot="5400000">
            <a:off x="8735525" y="2745900"/>
            <a:ext cx="1484550" cy="91463"/>
          </a:xfrm>
          <a:prstGeom prst="flowChartExtract">
            <a:avLst/>
          </a:prstGeom>
          <a:solidFill>
            <a:srgbClr val="E3F3E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97" name="Google Shape;497;g8055afce9b_0_727"/>
          <p:cNvSpPr/>
          <p:nvPr/>
        </p:nvSpPr>
        <p:spPr>
          <a:xfrm>
            <a:off x="-312700" y="1366728"/>
            <a:ext cx="5976600" cy="453900"/>
          </a:xfrm>
          <a:prstGeom prst="parallelogram">
            <a:avLst>
              <a:gd name="adj" fmla="val 25000"/>
            </a:avLst>
          </a:prstGeom>
          <a:solidFill>
            <a:srgbClr val="C8E7E0"/>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799"/>
              <a:buFont typeface="Arial"/>
              <a:buNone/>
            </a:pPr>
            <a:r>
              <a:rPr lang="es-ES" sz="1799" b="0" i="1" u="none" strike="noStrike" cap="none">
                <a:solidFill>
                  <a:srgbClr val="1A3B47"/>
                </a:solidFill>
                <a:latin typeface="Playfair Display"/>
                <a:ea typeface="Playfair Display"/>
                <a:cs typeface="Playfair Display"/>
                <a:sym typeface="Playfair Display"/>
              </a:rPr>
              <a:t>User journey </a:t>
            </a:r>
            <a:r>
              <a:rPr lang="es-ES" sz="1799" b="0" i="0" u="none" strike="noStrike" cap="none">
                <a:solidFill>
                  <a:srgbClr val="1A3B47"/>
                </a:solidFill>
                <a:latin typeface="Playfair Display"/>
                <a:ea typeface="Playfair Display"/>
                <a:cs typeface="Playfair Display"/>
                <a:sym typeface="Playfair Display"/>
              </a:rPr>
              <a:t>- ¿Qué ocurre para el usuario?</a:t>
            </a:r>
            <a:endParaRPr sz="1400" b="0" i="0" u="none" strike="noStrike" cap="none">
              <a:solidFill>
                <a:srgbClr val="000000"/>
              </a:solidFill>
              <a:latin typeface="Arial"/>
              <a:ea typeface="Arial"/>
              <a:cs typeface="Arial"/>
              <a:sym typeface="Arial"/>
            </a:endParaRPr>
          </a:p>
        </p:txBody>
      </p:sp>
      <p:pic>
        <p:nvPicPr>
          <p:cNvPr id="498" name="Google Shape;498;g8055afce9b_0_727"/>
          <p:cNvPicPr preferRelativeResize="0"/>
          <p:nvPr/>
        </p:nvPicPr>
        <p:blipFill rotWithShape="1">
          <a:blip r:embed="rId6">
            <a:alphaModFix/>
          </a:blip>
          <a:srcRect r="64585"/>
          <a:stretch/>
        </p:blipFill>
        <p:spPr>
          <a:xfrm>
            <a:off x="7733300" y="2156551"/>
            <a:ext cx="466020" cy="1122999"/>
          </a:xfrm>
          <a:prstGeom prst="rect">
            <a:avLst/>
          </a:prstGeom>
          <a:noFill/>
          <a:ln>
            <a:noFill/>
          </a:ln>
        </p:spPr>
      </p:pic>
      <p:sp>
        <p:nvSpPr>
          <p:cNvPr id="499" name="Google Shape;499;g8055afce9b_0_727"/>
          <p:cNvSpPr/>
          <p:nvPr/>
        </p:nvSpPr>
        <p:spPr>
          <a:xfrm>
            <a:off x="1022425" y="5570775"/>
            <a:ext cx="2053500" cy="836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r>
              <a:rPr lang="es-ES" sz="1100" b="0" i="0" u="none" strike="noStrike" cap="none">
                <a:solidFill>
                  <a:srgbClr val="1A3B47"/>
                </a:solidFill>
                <a:latin typeface="Helvetica Neue"/>
                <a:ea typeface="Helvetica Neue"/>
                <a:cs typeface="Helvetica Neue"/>
                <a:sym typeface="Helvetica Neue"/>
              </a:rPr>
              <a:t>Los teléfonos intercambian identificadores Bluetooth aleatorios, que están en constante cambio</a:t>
            </a:r>
            <a:endParaRPr sz="1100" b="0" i="0" u="none" strike="noStrike" cap="none">
              <a:solidFill>
                <a:srgbClr val="1A3B47"/>
              </a:solidFill>
              <a:latin typeface="Helvetica Neue"/>
              <a:ea typeface="Helvetica Neue"/>
              <a:cs typeface="Helvetica Neue"/>
              <a:sym typeface="Helvetica Neue"/>
            </a:endParaRPr>
          </a:p>
        </p:txBody>
      </p:sp>
      <p:sp>
        <p:nvSpPr>
          <p:cNvPr id="500" name="Google Shape;500;g8055afce9b_0_727"/>
          <p:cNvSpPr/>
          <p:nvPr/>
        </p:nvSpPr>
        <p:spPr>
          <a:xfrm>
            <a:off x="9896101" y="5570775"/>
            <a:ext cx="1415700" cy="836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r>
              <a:rPr lang="es-ES" sz="1100" b="0" i="0" u="none" strike="noStrike" cap="none">
                <a:solidFill>
                  <a:srgbClr val="1A3B47"/>
                </a:solidFill>
                <a:latin typeface="Helvetica Neue"/>
                <a:ea typeface="Helvetica Neue"/>
                <a:cs typeface="Helvetica Neue"/>
                <a:sym typeface="Helvetica Neue"/>
              </a:rPr>
              <a:t>El teléfono de Beatriz recibe una notificación informativa</a:t>
            </a:r>
            <a:endParaRPr sz="1100" b="0" i="0" u="none" strike="noStrike" cap="none">
              <a:solidFill>
                <a:srgbClr val="1A3B47"/>
              </a:solidFill>
              <a:latin typeface="Helvetica Neue"/>
              <a:ea typeface="Helvetica Neue"/>
              <a:cs typeface="Helvetica Neue"/>
              <a:sym typeface="Helvetica Neue"/>
            </a:endParaRPr>
          </a:p>
        </p:txBody>
      </p:sp>
      <p:sp>
        <p:nvSpPr>
          <p:cNvPr id="501" name="Google Shape;501;g8055afce9b_0_727"/>
          <p:cNvSpPr/>
          <p:nvPr/>
        </p:nvSpPr>
        <p:spPr>
          <a:xfrm>
            <a:off x="3984926" y="5570775"/>
            <a:ext cx="2292000" cy="836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r>
              <a:rPr lang="es-ES" sz="1100" b="0" i="0" u="none" strike="noStrike" cap="none">
                <a:solidFill>
                  <a:srgbClr val="1A3B47"/>
                </a:solidFill>
                <a:latin typeface="Helvetica Neue"/>
                <a:ea typeface="Helvetica Neue"/>
                <a:cs typeface="Helvetica Neue"/>
                <a:sym typeface="Helvetica Neue"/>
              </a:rPr>
              <a:t>Con el consentimiento de Carlos, su teléfono carga el histórico de los últimos 14 días de claves Bluetooth en el servidor central</a:t>
            </a:r>
            <a:endParaRPr sz="1100" b="0" i="0" u="none" strike="noStrike" cap="none">
              <a:solidFill>
                <a:srgbClr val="1A3B47"/>
              </a:solidFill>
              <a:latin typeface="Helvetica Neue"/>
              <a:ea typeface="Helvetica Neue"/>
              <a:cs typeface="Helvetica Neue"/>
              <a:sym typeface="Helvetica Neue"/>
            </a:endParaRPr>
          </a:p>
        </p:txBody>
      </p:sp>
      <p:sp>
        <p:nvSpPr>
          <p:cNvPr id="502" name="Google Shape;502;g8055afce9b_0_727"/>
          <p:cNvSpPr/>
          <p:nvPr/>
        </p:nvSpPr>
        <p:spPr>
          <a:xfrm>
            <a:off x="6718825" y="5570775"/>
            <a:ext cx="2948700" cy="8367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100"/>
              <a:buFont typeface="Arial"/>
              <a:buNone/>
            </a:pPr>
            <a:r>
              <a:rPr lang="es-ES" sz="1100" b="0" i="0" u="none" strike="noStrike" cap="none">
                <a:solidFill>
                  <a:srgbClr val="1A3B47"/>
                </a:solidFill>
                <a:latin typeface="Helvetica Neue"/>
                <a:ea typeface="Helvetica Neue"/>
                <a:cs typeface="Helvetica Neue"/>
                <a:sym typeface="Helvetica Neue"/>
              </a:rPr>
              <a:t>El teléfono de Beatriz descarga periódicamente las claves Bluetooth de todas las personas diagnosticadas en su área. Un identificador de Carlos hace </a:t>
            </a:r>
            <a:r>
              <a:rPr lang="es-ES" sz="1100" b="0" i="1" u="none" strike="noStrike" cap="none">
                <a:solidFill>
                  <a:srgbClr val="1A3B47"/>
                </a:solidFill>
                <a:latin typeface="Helvetica Neue"/>
                <a:ea typeface="Helvetica Neue"/>
                <a:cs typeface="Helvetica Neue"/>
                <a:sym typeface="Helvetica Neue"/>
              </a:rPr>
              <a:t>match</a:t>
            </a:r>
            <a:endParaRPr sz="1100" b="0" i="1" u="none" strike="noStrike" cap="none">
              <a:solidFill>
                <a:srgbClr val="1A3B47"/>
              </a:solidFill>
              <a:latin typeface="Helvetica Neue"/>
              <a:ea typeface="Helvetica Neue"/>
              <a:cs typeface="Helvetica Neue"/>
              <a:sym typeface="Helvetica Neue"/>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506"/>
        <p:cNvGrpSpPr/>
        <p:nvPr/>
      </p:nvGrpSpPr>
      <p:grpSpPr>
        <a:xfrm>
          <a:off x="0" y="0"/>
          <a:ext cx="0" cy="0"/>
          <a:chOff x="0" y="0"/>
          <a:chExt cx="0" cy="0"/>
        </a:xfrm>
      </p:grpSpPr>
      <p:sp>
        <p:nvSpPr>
          <p:cNvPr id="507" name="Google Shape;507;g8055afce9b_0_758"/>
          <p:cNvSpPr txBox="1">
            <a:spLocks noGrp="1"/>
          </p:cNvSpPr>
          <p:nvPr>
            <p:ph type="body" idx="1"/>
          </p:nvPr>
        </p:nvSpPr>
        <p:spPr>
          <a:xfrm>
            <a:off x="336000" y="128400"/>
            <a:ext cx="11519400" cy="251400"/>
          </a:xfrm>
          <a:prstGeom prst="rect">
            <a:avLst/>
          </a:prstGeom>
          <a:noFill/>
          <a:ln>
            <a:noFill/>
          </a:ln>
        </p:spPr>
        <p:txBody>
          <a:bodyPr spcFirstLastPara="1" wrap="square" lIns="0" tIns="45700" rIns="91425" bIns="45700" anchor="t" anchorCtr="0">
            <a:noAutofit/>
          </a:bodyPr>
          <a:lstStyle/>
          <a:p>
            <a:pPr marL="0" lvl="0" indent="0" algn="l" rtl="0">
              <a:lnSpc>
                <a:spcPct val="90000"/>
              </a:lnSpc>
              <a:spcBef>
                <a:spcPts val="0"/>
              </a:spcBef>
              <a:spcAft>
                <a:spcPts val="0"/>
              </a:spcAft>
              <a:buClr>
                <a:srgbClr val="1A3B47"/>
              </a:buClr>
              <a:buSzPts val="1400"/>
              <a:buNone/>
            </a:pPr>
            <a:r>
              <a:rPr lang="en-US" sz="1400" dirty="0" smtClean="0">
                <a:latin typeface="Playfair Display"/>
                <a:ea typeface="Playfair Display"/>
                <a:cs typeface="Playfair Display"/>
                <a:sym typeface="Playfair Display"/>
              </a:rPr>
              <a:t>Covid-19 app - </a:t>
            </a:r>
            <a:r>
              <a:rPr lang="en-US" sz="1400" dirty="0" err="1" smtClean="0">
                <a:latin typeface="Playfair Display"/>
                <a:ea typeface="Playfair Display"/>
                <a:cs typeface="Playfair Display"/>
                <a:sym typeface="Playfair Display"/>
              </a:rPr>
              <a:t>Piloto</a:t>
            </a:r>
            <a:r>
              <a:rPr lang="en-US" sz="1400" dirty="0" smtClean="0">
                <a:latin typeface="Playfair Display"/>
                <a:ea typeface="Playfair Display"/>
                <a:cs typeface="Playfair Display"/>
                <a:sym typeface="Playfair Display"/>
              </a:rPr>
              <a:t> App Contact Tracing Covid-19 </a:t>
            </a:r>
            <a:endParaRPr dirty="0"/>
          </a:p>
        </p:txBody>
      </p:sp>
      <p:sp>
        <p:nvSpPr>
          <p:cNvPr id="508" name="Google Shape;508;g8055afce9b_0_758"/>
          <p:cNvSpPr txBox="1"/>
          <p:nvPr/>
        </p:nvSpPr>
        <p:spPr>
          <a:xfrm>
            <a:off x="335998" y="649092"/>
            <a:ext cx="11232600" cy="722100"/>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dk1"/>
              </a:buClr>
              <a:buSzPts val="2400"/>
              <a:buFont typeface="Playfair Display"/>
              <a:buNone/>
            </a:pPr>
            <a:r>
              <a:rPr lang="es-ES" sz="2400" b="0" i="0" u="none" strike="noStrike" cap="none">
                <a:solidFill>
                  <a:schemeClr val="dk1"/>
                </a:solidFill>
                <a:latin typeface="Playfair Display"/>
                <a:ea typeface="Playfair Display"/>
                <a:cs typeface="Playfair Display"/>
                <a:sym typeface="Playfair Display"/>
              </a:rPr>
              <a:t>Esta aplicación apoyaría su funcionalidad Bluetooth en SDKs Google/Apple...</a:t>
            </a:r>
            <a:endParaRPr sz="2400" b="0" i="0" u="none" strike="noStrike" cap="none">
              <a:solidFill>
                <a:schemeClr val="dk1"/>
              </a:solidFill>
              <a:latin typeface="Playfair Display"/>
              <a:ea typeface="Playfair Display"/>
              <a:cs typeface="Playfair Display"/>
              <a:sym typeface="Playfair Display"/>
            </a:endParaRPr>
          </a:p>
        </p:txBody>
      </p:sp>
      <p:sp>
        <p:nvSpPr>
          <p:cNvPr id="509" name="Google Shape;509;g8055afce9b_0_758"/>
          <p:cNvSpPr txBox="1"/>
          <p:nvPr/>
        </p:nvSpPr>
        <p:spPr>
          <a:xfrm>
            <a:off x="2177575" y="1401275"/>
            <a:ext cx="9916500" cy="50979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s-ES" sz="1600" b="0" i="0" u="none" strike="noStrike" cap="none" dirty="0">
                <a:solidFill>
                  <a:srgbClr val="000000"/>
                </a:solidFill>
                <a:latin typeface="Playfair Display"/>
                <a:ea typeface="Playfair Display"/>
                <a:cs typeface="Playfair Display"/>
                <a:sym typeface="Playfair Display"/>
              </a:rPr>
              <a:t>App Móvil</a:t>
            </a:r>
            <a:endParaRPr sz="1100" b="0" i="1" u="none" strike="noStrike" cap="none" dirty="0">
              <a:solidFill>
                <a:srgbClr val="000000"/>
              </a:solidFill>
              <a:latin typeface="Arial"/>
              <a:ea typeface="Arial"/>
              <a:cs typeface="Arial"/>
              <a:sym typeface="Arial"/>
            </a:endParaRPr>
          </a:p>
          <a:p>
            <a:pPr marL="457200" marR="0" lvl="0" indent="-298450" algn="l" rtl="0">
              <a:lnSpc>
                <a:spcPct val="100000"/>
              </a:lnSpc>
              <a:spcBef>
                <a:spcPts val="100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Verificar el código de autorización por parte de la autoridad sanitaria ante positivo por COVID-19</a:t>
            </a:r>
            <a:endParaRPr sz="1100" b="0" i="0" u="none" strike="sngStrike" cap="none" dirty="0">
              <a:solidFill>
                <a:srgbClr val="FF0000"/>
              </a:solidFill>
              <a:latin typeface="Arial"/>
              <a:ea typeface="Arial"/>
              <a:cs typeface="Arial"/>
              <a:sym typeface="Arial"/>
            </a:endParaRPr>
          </a:p>
          <a:p>
            <a:pPr marL="914400" marR="0" lvl="1" indent="-298450" algn="l" rtl="0">
              <a:lnSpc>
                <a:spcPct val="100000"/>
              </a:lnSpc>
              <a:spcBef>
                <a:spcPts val="0"/>
              </a:spcBef>
              <a:spcAft>
                <a:spcPts val="0"/>
              </a:spcAft>
              <a:buClr>
                <a:schemeClr val="dk1"/>
              </a:buClr>
              <a:buSzPts val="1100"/>
              <a:buFont typeface="Arial"/>
              <a:buChar char="○"/>
            </a:pPr>
            <a:r>
              <a:rPr lang="es-ES" sz="1100" b="0" i="0" u="none" strike="noStrike" cap="none" dirty="0">
                <a:solidFill>
                  <a:schemeClr val="dk1"/>
                </a:solidFill>
                <a:latin typeface="Arial"/>
                <a:ea typeface="Arial"/>
                <a:cs typeface="Arial"/>
                <a:sym typeface="Arial"/>
              </a:rPr>
              <a:t>Como no se dispone de servicio de la autoridad sanitaria se simulará la validación del positivo que desencadene el proceso de </a:t>
            </a:r>
            <a:r>
              <a:rPr lang="es-ES" sz="1100" b="0" i="0" u="none" strike="noStrike" cap="none" dirty="0" err="1">
                <a:solidFill>
                  <a:schemeClr val="dk1"/>
                </a:solidFill>
                <a:latin typeface="Arial"/>
                <a:ea typeface="Arial"/>
                <a:cs typeface="Arial"/>
                <a:sym typeface="Arial"/>
              </a:rPr>
              <a:t>tracing</a:t>
            </a:r>
            <a:r>
              <a:rPr lang="es-ES" sz="1100" b="0" i="0" u="none" strike="noStrike" cap="none" dirty="0">
                <a:solidFill>
                  <a:schemeClr val="dk1"/>
                </a:solidFill>
                <a:latin typeface="Arial"/>
                <a:ea typeface="Arial"/>
                <a:cs typeface="Arial"/>
                <a:sym typeface="Arial"/>
              </a:rPr>
              <a:t> y se pueda pilotar.</a:t>
            </a:r>
            <a:endParaRPr sz="1100" b="0" i="0" u="none" strike="sngStrike" cap="none" dirty="0">
              <a:solidFill>
                <a:schemeClr val="dk1"/>
              </a:solidFill>
              <a:latin typeface="Arial"/>
              <a:ea typeface="Arial"/>
              <a:cs typeface="Arial"/>
              <a:sym typeface="Arial"/>
            </a:endParaRPr>
          </a:p>
          <a:p>
            <a:pPr marL="457200" marR="0" lvl="0"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Permite al usuario la transmisión y recepción de identificadores aleatorios a través del Bluetooth </a:t>
            </a:r>
            <a:endParaRPr sz="1100" b="0" i="0" u="none" strike="noStrike" cap="none" dirty="0">
              <a:solidFill>
                <a:srgbClr val="000000"/>
              </a:solidFill>
              <a:latin typeface="Arial"/>
              <a:ea typeface="Arial"/>
              <a:cs typeface="Arial"/>
              <a:sym typeface="Arial"/>
            </a:endParaRPr>
          </a:p>
          <a:p>
            <a:pPr marL="457200" marR="0" lvl="0"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Envía al servidor su baliza generadora de claves efímeras en caso de positivo</a:t>
            </a:r>
            <a:endParaRPr sz="1100" b="0" i="0" u="none" strike="noStrike" cap="none" dirty="0">
              <a:solidFill>
                <a:srgbClr val="000000"/>
              </a:solidFill>
              <a:latin typeface="Arial"/>
              <a:ea typeface="Arial"/>
              <a:cs typeface="Arial"/>
              <a:sym typeface="Arial"/>
            </a:endParaRPr>
          </a:p>
          <a:p>
            <a:pPr marL="457200" marR="0" lvl="0"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Pide al servidor las claves anónimas de usuarios contagiados de manera periódica</a:t>
            </a:r>
            <a:endParaRPr sz="1100" b="0" i="0" u="none" strike="noStrike" cap="none" dirty="0">
              <a:solidFill>
                <a:srgbClr val="FF0000"/>
              </a:solidFill>
              <a:latin typeface="Arial"/>
              <a:ea typeface="Arial"/>
              <a:cs typeface="Arial"/>
              <a:sym typeface="Arial"/>
            </a:endParaRPr>
          </a:p>
          <a:p>
            <a:pPr marL="457200" marR="0" lvl="0"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Mostrar notificaciones al usuario con instrucciones de qué hacer en caso de que haya estado en contacto a otro usuario positivo COVID-19</a:t>
            </a:r>
            <a:endParaRPr sz="1100" b="0" i="0" u="none" strike="noStrike" cap="none" dirty="0">
              <a:solidFill>
                <a:srgbClr val="000000"/>
              </a:solidFill>
              <a:latin typeface="Arial"/>
              <a:ea typeface="Arial"/>
              <a:cs typeface="Arial"/>
              <a:sym typeface="Arial"/>
            </a:endParaRPr>
          </a:p>
          <a:p>
            <a:pPr marL="457200" marR="0" lvl="0"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Pantallas estáticas informativas</a:t>
            </a:r>
            <a:endParaRPr sz="1100" b="0" i="0" u="none" strike="noStrike" cap="none" dirty="0">
              <a:solidFill>
                <a:srgbClr val="000000"/>
              </a:solidFill>
              <a:latin typeface="Arial"/>
              <a:ea typeface="Arial"/>
              <a:cs typeface="Arial"/>
              <a:sym typeface="Arial"/>
            </a:endParaRPr>
          </a:p>
          <a:p>
            <a:pPr marL="0" marR="0" lvl="0" indent="0" algn="l" rtl="0">
              <a:lnSpc>
                <a:spcPct val="100000"/>
              </a:lnSpc>
              <a:spcBef>
                <a:spcPts val="1000"/>
              </a:spcBef>
              <a:spcAft>
                <a:spcPts val="0"/>
              </a:spcAft>
              <a:buClr>
                <a:srgbClr val="000000"/>
              </a:buClr>
              <a:buSzPts val="1600"/>
              <a:buFont typeface="Arial"/>
              <a:buNone/>
            </a:pPr>
            <a:r>
              <a:rPr lang="es-ES" sz="1600" b="0" i="0" u="none" strike="noStrike" cap="none" dirty="0">
                <a:solidFill>
                  <a:srgbClr val="000000"/>
                </a:solidFill>
                <a:latin typeface="Playfair Display"/>
                <a:ea typeface="Playfair Display"/>
                <a:cs typeface="Playfair Display"/>
                <a:sym typeface="Playfair Display"/>
              </a:rPr>
              <a:t>SDK google/</a:t>
            </a:r>
            <a:r>
              <a:rPr lang="es-ES" sz="1600" b="0" i="0" u="none" strike="noStrike" cap="none" dirty="0" err="1">
                <a:solidFill>
                  <a:srgbClr val="000000"/>
                </a:solidFill>
                <a:latin typeface="Playfair Display"/>
                <a:ea typeface="Playfair Display"/>
                <a:cs typeface="Playfair Display"/>
                <a:sym typeface="Playfair Display"/>
              </a:rPr>
              <a:t>apple</a:t>
            </a:r>
            <a:endParaRPr sz="1600" b="0" i="0" u="none" strike="noStrike" cap="none" dirty="0">
              <a:solidFill>
                <a:srgbClr val="000000"/>
              </a:solidFill>
              <a:latin typeface="Playfair Display"/>
              <a:ea typeface="Playfair Display"/>
              <a:cs typeface="Playfair Display"/>
              <a:sym typeface="Playfair Display"/>
            </a:endParaRPr>
          </a:p>
          <a:p>
            <a:pPr marL="0" marR="0" lvl="0" indent="0" algn="l" rtl="0">
              <a:lnSpc>
                <a:spcPct val="100000"/>
              </a:lnSpc>
              <a:spcBef>
                <a:spcPts val="1000"/>
              </a:spcBef>
              <a:spcAft>
                <a:spcPts val="0"/>
              </a:spcAft>
              <a:buClr>
                <a:srgbClr val="000000"/>
              </a:buClr>
              <a:buSzPts val="1100"/>
              <a:buFont typeface="Arial"/>
              <a:buNone/>
            </a:pPr>
            <a:r>
              <a:rPr lang="es-ES" sz="1100" b="0" i="0" u="none" strike="noStrike" cap="none" dirty="0">
                <a:solidFill>
                  <a:srgbClr val="000000"/>
                </a:solidFill>
                <a:latin typeface="Arial"/>
                <a:ea typeface="Arial"/>
                <a:cs typeface="Arial"/>
                <a:sym typeface="Arial"/>
              </a:rPr>
              <a:t>Funcionalidad proporcionada por el </a:t>
            </a:r>
            <a:r>
              <a:rPr lang="es-ES" sz="1100" b="0" i="0" u="none" strike="noStrike" cap="none" dirty="0" err="1">
                <a:solidFill>
                  <a:srgbClr val="000000"/>
                </a:solidFill>
                <a:latin typeface="Arial"/>
                <a:ea typeface="Arial"/>
                <a:cs typeface="Arial"/>
                <a:sym typeface="Arial"/>
              </a:rPr>
              <a:t>sdk</a:t>
            </a:r>
            <a:endParaRPr sz="1100" b="0" i="0" u="none" strike="noStrike" cap="none" dirty="0">
              <a:solidFill>
                <a:srgbClr val="000000"/>
              </a:solidFill>
              <a:latin typeface="Arial"/>
              <a:ea typeface="Arial"/>
              <a:cs typeface="Arial"/>
              <a:sym typeface="Arial"/>
            </a:endParaRPr>
          </a:p>
          <a:p>
            <a:pPr marL="457200" marR="0" lvl="0" indent="-298450" algn="l" rtl="0">
              <a:lnSpc>
                <a:spcPct val="100000"/>
              </a:lnSpc>
              <a:spcBef>
                <a:spcPts val="100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Gestionar las claves aleatorias diarias:</a:t>
            </a:r>
            <a:endParaRPr sz="1200" b="0" i="0" u="none" strike="noStrike" cap="none" dirty="0">
              <a:solidFill>
                <a:srgbClr val="000000"/>
              </a:solidFill>
              <a:latin typeface="Arial"/>
              <a:ea typeface="Arial"/>
              <a:cs typeface="Arial"/>
              <a:sym typeface="Arial"/>
            </a:endParaRPr>
          </a:p>
          <a:p>
            <a:pPr marL="914400" marR="0" lvl="1"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Generar diariamente las claves de exposición temporales y rotar los </a:t>
            </a:r>
            <a:r>
              <a:rPr lang="es-ES" sz="1100" b="0" i="0" u="none" strike="noStrike" cap="none" dirty="0" err="1">
                <a:solidFill>
                  <a:srgbClr val="000000"/>
                </a:solidFill>
                <a:latin typeface="Arial"/>
                <a:ea typeface="Arial"/>
                <a:cs typeface="Arial"/>
                <a:sym typeface="Arial"/>
              </a:rPr>
              <a:t>ids</a:t>
            </a:r>
            <a:r>
              <a:rPr lang="es-ES" sz="1100" b="0" i="0" u="none" strike="noStrike" cap="none" dirty="0">
                <a:solidFill>
                  <a:srgbClr val="000000"/>
                </a:solidFill>
                <a:latin typeface="Arial"/>
                <a:ea typeface="Arial"/>
                <a:cs typeface="Arial"/>
                <a:sym typeface="Arial"/>
              </a:rPr>
              <a:t> efímeros basados en ellos</a:t>
            </a:r>
            <a:endParaRPr sz="1100" b="0" i="0" u="none" strike="noStrike" cap="none" dirty="0">
              <a:solidFill>
                <a:srgbClr val="000000"/>
              </a:solidFill>
              <a:latin typeface="Arial"/>
              <a:ea typeface="Arial"/>
              <a:cs typeface="Arial"/>
              <a:sym typeface="Arial"/>
            </a:endParaRPr>
          </a:p>
          <a:p>
            <a:pPr marL="914400" marR="0" lvl="1"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Provee las claves a la aplicación para usuario diagnosticados, incluyendo los valores temporales</a:t>
            </a:r>
            <a:endParaRPr sz="1100" b="0" i="0" u="none" strike="noStrike" cap="none" dirty="0">
              <a:solidFill>
                <a:srgbClr val="000000"/>
              </a:solidFill>
              <a:latin typeface="Arial"/>
              <a:ea typeface="Arial"/>
              <a:cs typeface="Arial"/>
              <a:sym typeface="Arial"/>
            </a:endParaRPr>
          </a:p>
          <a:p>
            <a:pPr marL="914400" marR="0" lvl="1"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Acepta las claves de la app para la detección de exposición, incluyendo las fechas y los niveles de riesgo de transmisión</a:t>
            </a:r>
            <a:endParaRPr sz="1100" b="0" i="0" u="none" strike="noStrike" cap="none" dirty="0">
              <a:solidFill>
                <a:srgbClr val="000000"/>
              </a:solidFill>
              <a:latin typeface="Arial"/>
              <a:ea typeface="Arial"/>
              <a:cs typeface="Arial"/>
              <a:sym typeface="Arial"/>
            </a:endParaRPr>
          </a:p>
          <a:p>
            <a:pPr marL="914400" marR="0" lvl="1"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Almacena claves en el dispositivo</a:t>
            </a:r>
            <a:endParaRPr sz="1100" b="0" i="0" u="none" strike="noStrike" cap="none" dirty="0">
              <a:solidFill>
                <a:srgbClr val="000000"/>
              </a:solidFill>
              <a:latin typeface="Arial"/>
              <a:ea typeface="Arial"/>
              <a:cs typeface="Arial"/>
              <a:sym typeface="Arial"/>
            </a:endParaRPr>
          </a:p>
          <a:p>
            <a:pPr marL="457200" marR="0" lvl="0"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Gestiona el envío y escaneo Bluetooth:</a:t>
            </a:r>
            <a:endParaRPr sz="1100" b="0" i="0" u="none" strike="noStrike" cap="none" dirty="0">
              <a:solidFill>
                <a:srgbClr val="000000"/>
              </a:solidFill>
              <a:latin typeface="Arial"/>
              <a:ea typeface="Arial"/>
              <a:cs typeface="Arial"/>
              <a:sym typeface="Arial"/>
            </a:endParaRPr>
          </a:p>
          <a:p>
            <a:pPr marL="914400" marR="0" lvl="1"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Gestión el envío de claves</a:t>
            </a:r>
            <a:endParaRPr sz="1100" b="0" i="0" u="none" strike="noStrike" cap="none" dirty="0">
              <a:solidFill>
                <a:srgbClr val="000000"/>
              </a:solidFill>
              <a:latin typeface="Arial"/>
              <a:ea typeface="Arial"/>
              <a:cs typeface="Arial"/>
              <a:sym typeface="Arial"/>
            </a:endParaRPr>
          </a:p>
          <a:p>
            <a:pPr marL="914400" marR="0" lvl="1"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Escanea claves emitidas por otros dispositivos</a:t>
            </a:r>
            <a:endParaRPr sz="1100" b="0" i="0" u="none" strike="noStrike" cap="none" dirty="0">
              <a:solidFill>
                <a:srgbClr val="000000"/>
              </a:solidFill>
              <a:latin typeface="Arial"/>
              <a:ea typeface="Arial"/>
              <a:cs typeface="Arial"/>
              <a:sym typeface="Arial"/>
            </a:endParaRPr>
          </a:p>
          <a:p>
            <a:pPr marL="914400" marR="0" lvl="1"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Almacena las claves observadas en un almacenamiento en el dispositivo</a:t>
            </a:r>
            <a:endParaRPr sz="1100" b="0" i="0" u="none" strike="noStrike" cap="none" dirty="0">
              <a:solidFill>
                <a:srgbClr val="000000"/>
              </a:solidFill>
              <a:latin typeface="Arial"/>
              <a:ea typeface="Arial"/>
              <a:cs typeface="Arial"/>
              <a:sym typeface="Arial"/>
            </a:endParaRPr>
          </a:p>
          <a:p>
            <a:pPr marL="914400" marR="0" lvl="1"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Identifica cuando otro usuario en contacto ha sido un caso confirmado</a:t>
            </a:r>
            <a:endParaRPr sz="1100" b="0" i="0" u="none" strike="noStrike" cap="none" dirty="0">
              <a:solidFill>
                <a:srgbClr val="000000"/>
              </a:solidFill>
              <a:latin typeface="Arial"/>
              <a:ea typeface="Arial"/>
              <a:cs typeface="Arial"/>
              <a:sym typeface="Arial"/>
            </a:endParaRPr>
          </a:p>
          <a:p>
            <a:pPr marL="914400" marR="0" lvl="1"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Cálculo y provee el riesgo de exposición a la aplicación</a:t>
            </a:r>
            <a:endParaRPr sz="1100" b="0" i="0" u="none" strike="noStrike" cap="none" dirty="0">
              <a:solidFill>
                <a:srgbClr val="000000"/>
              </a:solidFill>
              <a:latin typeface="Arial"/>
              <a:ea typeface="Arial"/>
              <a:cs typeface="Arial"/>
              <a:sym typeface="Arial"/>
            </a:endParaRPr>
          </a:p>
          <a:p>
            <a:pPr marL="914400" marR="0" lvl="1"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Presenta las siguientes peticiones de permiso al usuario:</a:t>
            </a:r>
            <a:endParaRPr sz="1100" b="0" i="0" u="none" strike="noStrike" cap="none" dirty="0">
              <a:solidFill>
                <a:srgbClr val="000000"/>
              </a:solidFill>
              <a:latin typeface="Arial"/>
              <a:ea typeface="Arial"/>
              <a:cs typeface="Arial"/>
              <a:sym typeface="Arial"/>
            </a:endParaRPr>
          </a:p>
          <a:p>
            <a:pPr marL="1371600" marR="0" lvl="2"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Antes de empezar a escanear y enviar las claves</a:t>
            </a:r>
            <a:endParaRPr sz="1100" b="0" i="0" u="none" strike="noStrike" cap="none" dirty="0">
              <a:solidFill>
                <a:srgbClr val="000000"/>
              </a:solidFill>
              <a:latin typeface="Arial"/>
              <a:ea typeface="Arial"/>
              <a:cs typeface="Arial"/>
              <a:sym typeface="Arial"/>
            </a:endParaRPr>
          </a:p>
          <a:p>
            <a:pPr marL="1371600" marR="0" lvl="2" indent="-298450" algn="l" rtl="0">
              <a:lnSpc>
                <a:spcPct val="100000"/>
              </a:lnSpc>
              <a:spcBef>
                <a:spcPts val="0"/>
              </a:spcBef>
              <a:spcAft>
                <a:spcPts val="0"/>
              </a:spcAft>
              <a:buClr>
                <a:srgbClr val="000000"/>
              </a:buClr>
              <a:buSzPts val="1100"/>
              <a:buFont typeface="Arial"/>
              <a:buChar char="■"/>
            </a:pPr>
            <a:r>
              <a:rPr lang="es-ES" sz="1100" b="0" i="0" u="none" strike="noStrike" cap="none" dirty="0">
                <a:solidFill>
                  <a:srgbClr val="000000"/>
                </a:solidFill>
                <a:latin typeface="Arial"/>
                <a:ea typeface="Arial"/>
                <a:cs typeface="Arial"/>
                <a:sym typeface="Arial"/>
              </a:rPr>
              <a:t>Antes de proveer al servidor las claves al servidor central tras haber sido contagiado</a:t>
            </a:r>
            <a:endParaRPr sz="1100" b="0" i="0" u="none" strike="noStrike" cap="none" dirty="0">
              <a:solidFill>
                <a:srgbClr val="000000"/>
              </a:solidFill>
              <a:latin typeface="Arial"/>
              <a:ea typeface="Arial"/>
              <a:cs typeface="Arial"/>
              <a:sym typeface="Arial"/>
            </a:endParaRPr>
          </a:p>
        </p:txBody>
      </p:sp>
      <p:grpSp>
        <p:nvGrpSpPr>
          <p:cNvPr id="510" name="Google Shape;510;g8055afce9b_0_758"/>
          <p:cNvGrpSpPr/>
          <p:nvPr/>
        </p:nvGrpSpPr>
        <p:grpSpPr>
          <a:xfrm>
            <a:off x="35462" y="1904724"/>
            <a:ext cx="2144839" cy="2379536"/>
            <a:chOff x="4788125" y="2598892"/>
            <a:chExt cx="1905000" cy="1905000"/>
          </a:xfrm>
        </p:grpSpPr>
        <p:pic>
          <p:nvPicPr>
            <p:cNvPr id="511" name="Google Shape;511;g8055afce9b_0_758"/>
            <p:cNvPicPr preferRelativeResize="0"/>
            <p:nvPr/>
          </p:nvPicPr>
          <p:blipFill rotWithShape="1">
            <a:blip r:embed="rId3">
              <a:alphaModFix/>
            </a:blip>
            <a:srcRect/>
            <a:stretch/>
          </p:blipFill>
          <p:spPr>
            <a:xfrm>
              <a:off x="4788125" y="2598892"/>
              <a:ext cx="1905000" cy="1905000"/>
            </a:xfrm>
            <a:prstGeom prst="rect">
              <a:avLst/>
            </a:prstGeom>
            <a:noFill/>
            <a:ln>
              <a:noFill/>
            </a:ln>
          </p:spPr>
        </p:pic>
        <p:sp>
          <p:nvSpPr>
            <p:cNvPr id="512" name="Google Shape;512;g8055afce9b_0_758"/>
            <p:cNvSpPr txBox="1"/>
            <p:nvPr/>
          </p:nvSpPr>
          <p:spPr>
            <a:xfrm>
              <a:off x="5238875" y="3190350"/>
              <a:ext cx="1003500" cy="722100"/>
            </a:xfrm>
            <a:prstGeom prst="rect">
              <a:avLst/>
            </a:prstGeom>
            <a:no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s-ES" sz="1400" b="0" i="0" u="none" strike="noStrike" cap="none">
                  <a:solidFill>
                    <a:srgbClr val="000000"/>
                  </a:solidFill>
                  <a:latin typeface="Arial"/>
                  <a:ea typeface="Arial"/>
                  <a:cs typeface="Arial"/>
                  <a:sym typeface="Arial"/>
                </a:rPr>
                <a:t>Covid-19 App</a:t>
              </a:r>
              <a:endParaRPr sz="1400" b="0" i="0" u="none" strike="noStrike" cap="none">
                <a:solidFill>
                  <a:srgbClr val="000000"/>
                </a:solidFill>
                <a:latin typeface="Arial"/>
                <a:ea typeface="Arial"/>
                <a:cs typeface="Arial"/>
                <a:sym typeface="Arial"/>
              </a:endParaRPr>
            </a:p>
          </p:txBody>
        </p:sp>
      </p:grpSp>
    </p:spTree>
  </p:cSld>
  <p:clrMapOvr>
    <a:masterClrMapping/>
  </p:clrMapOvr>
  <p:timing>
    <p:tnLst>
      <p:par>
        <p:cTn id="1" dur="indefinite" restart="never" nodeType="tmRoot"/>
      </p:par>
    </p:tnLst>
  </p:timing>
</p:sld>
</file>

<file path=ppt/theme/theme1.xml><?xml version="1.0" encoding="utf-8"?>
<a:theme xmlns:a="http://schemas.openxmlformats.org/drawingml/2006/main" name="Portadas">
  <a:themeElements>
    <a:clrScheme name="Minsait">
      <a:dk1>
        <a:srgbClr val="1A3B47"/>
      </a:dk1>
      <a:lt1>
        <a:srgbClr val="FFFFFF"/>
      </a:lt1>
      <a:dk2>
        <a:srgbClr val="FDE3D3"/>
      </a:dk2>
      <a:lt2>
        <a:srgbClr val="E7E6E6"/>
      </a:lt2>
      <a:accent1>
        <a:srgbClr val="FFEA80"/>
      </a:accent1>
      <a:accent2>
        <a:srgbClr val="F7AC6F"/>
      </a:accent2>
      <a:accent3>
        <a:srgbClr val="E88AA2"/>
      </a:accent3>
      <a:accent4>
        <a:srgbClr val="79C5B3"/>
      </a:accent4>
      <a:accent5>
        <a:srgbClr val="639FCB"/>
      </a:accent5>
      <a:accent6>
        <a:srgbClr val="7874B3"/>
      </a:accent6>
      <a:hlink>
        <a:srgbClr val="E88AA2"/>
      </a:hlink>
      <a:folHlink>
        <a:srgbClr val="F7AC6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e Offic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790</TotalTime>
  <Words>5512</Words>
  <Application>Microsoft Office PowerPoint</Application>
  <PresentationFormat>Personalizado</PresentationFormat>
  <Paragraphs>638</Paragraphs>
  <Slides>60</Slides>
  <Notes>60</Notes>
  <HiddenSlides>0</HiddenSlides>
  <MMClips>0</MMClips>
  <ScaleCrop>false</ScaleCrop>
  <HeadingPairs>
    <vt:vector size="8" baseType="variant">
      <vt:variant>
        <vt:lpstr>Fuentes usadas</vt:lpstr>
      </vt:variant>
      <vt:variant>
        <vt:i4>10</vt:i4>
      </vt:variant>
      <vt:variant>
        <vt:lpstr>Tema</vt:lpstr>
      </vt:variant>
      <vt:variant>
        <vt:i4>1</vt:i4>
      </vt:variant>
      <vt:variant>
        <vt:lpstr>Servidores OLE incrustados</vt:lpstr>
      </vt:variant>
      <vt:variant>
        <vt:i4>1</vt:i4>
      </vt:variant>
      <vt:variant>
        <vt:lpstr>Títulos de diapositiva</vt:lpstr>
      </vt:variant>
      <vt:variant>
        <vt:i4>60</vt:i4>
      </vt:variant>
    </vt:vector>
  </HeadingPairs>
  <TitlesOfParts>
    <vt:vector size="72" baseType="lpstr">
      <vt:lpstr>Arial</vt:lpstr>
      <vt:lpstr>Playfair Display</vt:lpstr>
      <vt:lpstr>Hiragino Kaku Gothic ProN W3</vt:lpstr>
      <vt:lpstr>Calibri</vt:lpstr>
      <vt:lpstr>Noto Sans Symbols</vt:lpstr>
      <vt:lpstr>Georgia</vt:lpstr>
      <vt:lpstr>Helvetica Neue</vt:lpstr>
      <vt:lpstr>Wingdings</vt:lpstr>
      <vt:lpstr>Times New Roman</vt:lpstr>
      <vt:lpstr>Calibri Light</vt:lpstr>
      <vt:lpstr>Portadas</vt:lpstr>
      <vt:lpstr>TCLayout.ActiveDocument.1</vt:lpstr>
      <vt:lpstr>Covid-19 App Secretaría General de Administración Digital</vt:lpstr>
      <vt:lpstr>Objetivos</vt:lpstr>
      <vt:lpstr>Presentación de PowerPoint</vt:lpstr>
      <vt:lpstr>Presentación de PowerPoint</vt:lpstr>
      <vt:lpstr>Entendimiento de la colaboración</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misa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Metodología iterativa: flexibilidad y contraste de hipótesis ante un entorno incierto</vt:lpstr>
      <vt:lpstr>“Compartir con contactos” Botón de difusión</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id-19 App</dc:title>
  <dc:creator>diroman@minsait.com</dc:creator>
  <cp:lastModifiedBy>JORGE LUIS BARALLAT QUINCOSES</cp:lastModifiedBy>
  <cp:revision>67</cp:revision>
  <dcterms:created xsi:type="dcterms:W3CDTF">2020-02-28T09:39:24Z</dcterms:created>
  <dcterms:modified xsi:type="dcterms:W3CDTF">2021-02-05T14:34: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D6AAC50239731458E466E768A94FC35</vt:lpwstr>
  </property>
</Properties>
</file>